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notesSlides/notesSlide1.xml" ContentType="application/vnd.openxmlformats-officedocument.presentationml.notesSlide+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notesSlides/notesSlide2.xml" ContentType="application/vnd.openxmlformats-officedocument.presentationml.notesSlide+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48" r:id="rId5"/>
  </p:sldMasterIdLst>
  <p:notesMasterIdLst>
    <p:notesMasterId r:id="rId32"/>
  </p:notesMasterIdLst>
  <p:sldIdLst>
    <p:sldId id="2146849003" r:id="rId6"/>
    <p:sldId id="2146849810" r:id="rId7"/>
    <p:sldId id="2146849815" r:id="rId8"/>
    <p:sldId id="2146849010" r:id="rId9"/>
    <p:sldId id="2146849816" r:id="rId10"/>
    <p:sldId id="2147373274" r:id="rId11"/>
    <p:sldId id="2146849007" r:id="rId12"/>
    <p:sldId id="2146849006" r:id="rId13"/>
    <p:sldId id="2146848759" r:id="rId14"/>
    <p:sldId id="2147373276" r:id="rId15"/>
    <p:sldId id="2147373261" r:id="rId16"/>
    <p:sldId id="2147373278" r:id="rId17"/>
    <p:sldId id="2147373266" r:id="rId18"/>
    <p:sldId id="2147373277" r:id="rId19"/>
    <p:sldId id="2145708111" r:id="rId20"/>
    <p:sldId id="2145707928" r:id="rId21"/>
    <p:sldId id="2146848756" r:id="rId22"/>
    <p:sldId id="2146848769" r:id="rId23"/>
    <p:sldId id="2145707937" r:id="rId24"/>
    <p:sldId id="2146849812" r:id="rId25"/>
    <p:sldId id="2145707938" r:id="rId26"/>
    <p:sldId id="2145707939" r:id="rId27"/>
    <p:sldId id="2146849803" r:id="rId28"/>
    <p:sldId id="2146849811" r:id="rId29"/>
    <p:sldId id="2146849813" r:id="rId30"/>
    <p:sldId id="2146849814" r:id="rId31"/>
  </p:sldIdLst>
  <p:sldSz cx="12192000" cy="6858000"/>
  <p:notesSz cx="6858000" cy="9144000"/>
  <p:defaultTex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179422-780C-A036-C759-DFD76B474A1F}" name="Nik Sluijs" initials="NS" userId="S::nik@happiness-anywhere.com::09512621-ae40-4fad-b224-85007ed5243c" providerId="AD"/>
  <p188:author id="{D66E7D4F-589F-EB64-D750-9350EE0E3461}" name="Daan de Raaf" initials="Dd" userId="S::daan@happiness-anywhere.com::8f1d1b22-4765-4ea9-9b86-40dc701933f0" providerId="AD"/>
  <p188:author id="{24507298-AD66-B0DD-E8B6-543158C4641D}" name="Iris Minnema" initials="IM" userId="S::iris@happiness-anywhere.com::5cff94b1-6c0b-4c1f-a712-473b84d89636" providerId="AD"/>
  <p188:author id="{AC4FCEA7-77BD-89D6-5BEC-3BCB0BCC0BD9}" name="Joey Boeters" initials="JB" userId="S::joey@happiness-anywhere.com::7d7b6226-a873-4578-afb9-e91876783442" providerId="AD"/>
  <p188:author id="{EBA87CF7-3794-0E21-7835-F2EC1022626A}" name="Manuel De Vos" initials="MD" userId="S::manuel@happiness-anywhere.com::5d0e0c73-042a-4bc0-abe4-bf82ec95606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B89B57"/>
    <a:srgbClr val="004AA8"/>
    <a:srgbClr val="DCD081"/>
    <a:srgbClr val="28DC78"/>
    <a:srgbClr val="65E2FF"/>
    <a:srgbClr val="0C4DA2"/>
    <a:srgbClr val="FDE021"/>
    <a:srgbClr val="7F2323"/>
    <a:srgbClr val="007800"/>
    <a:srgbClr val="FC5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F3FCF3-6486-EC4A-A7E3-69985F299E54}" v="10" dt="2024-02-15T07:59:13.598"/>
    <p1510:client id="{028736F4-493E-9E46-88E7-861CB7A07834}" v="2307" dt="2024-02-14T16:13:54.575"/>
    <p1510:client id="{2241B70F-52D9-114F-9685-A00E61590079}" v="1335" dt="2024-02-15T13:56:17.919"/>
    <p1510:client id="{2A62680B-FAB5-ED4E-BB88-17A083725689}" v="213" dt="2024-02-14T15:31:26.302"/>
    <p1510:client id="{2F92398C-F02E-BB2E-9998-6EB8B23AC945}" v="18" dt="2024-02-15T10:26:25.467"/>
    <p1510:client id="{38C0BF8A-4A91-58CF-6FAC-56E706F9883C}" v="458" dt="2024-02-15T10:39:45.506"/>
    <p1510:client id="{5B0E4F9E-5B44-C542-AC59-C2E41B3823FE}" v="87" dt="2024-02-14T15:01:36.130"/>
    <p1510:client id="{91FF6BB2-7BE3-EC07-F7A9-B30313E6FBB0}" v="49" dt="2024-02-14T15:14:08.629"/>
    <p1510:client id="{AC103322-9BC3-C80C-AE42-D037922A90E6}" v="24" dt="2024-02-14T14:39:41.140"/>
    <p1510:client id="{B48CD4EF-DEEC-EEF3-9726-1719D5DE555A}" v="20" dt="2024-02-15T07:23:25.070"/>
    <p1510:client id="{B7B2C978-F2AB-234B-B797-232674CF87FB}" v="63" dt="2024-02-14T18:52:39.190"/>
    <p1510:client id="{D3D70648-7F05-1B6C-F7ED-AD3128DD271D}" v="1" dt="2024-02-14T18:44:36.159"/>
    <p1510:client id="{ED405823-9A19-A940-BF7E-5438A0163F27}" v="27" dt="2024-02-15T10:25:44.7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8/10/relationships/authors" Target="authors.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ris Minnema" userId="S::iris@happiness-anywhere.com::5cff94b1-6c0b-4c1f-a712-473b84d89636" providerId="AD" clId="Web-{E6319EA2-D1B9-541E-EFB6-962B56F593D1}"/>
    <pc:docChg chg="addSld">
      <pc:chgData name="Iris Minnema" userId="S::iris@happiness-anywhere.com::5cff94b1-6c0b-4c1f-a712-473b84d89636" providerId="AD" clId="Web-{E6319EA2-D1B9-541E-EFB6-962B56F593D1}" dt="2024-02-11T18:31:21.468" v="4"/>
      <pc:docMkLst>
        <pc:docMk/>
      </pc:docMkLst>
      <pc:sldChg chg="add">
        <pc:chgData name="Iris Minnema" userId="S::iris@happiness-anywhere.com::5cff94b1-6c0b-4c1f-a712-473b84d89636" providerId="AD" clId="Web-{E6319EA2-D1B9-541E-EFB6-962B56F593D1}" dt="2024-02-11T18:31:18.250" v="0"/>
        <pc:sldMkLst>
          <pc:docMk/>
          <pc:sldMk cId="357896241" sldId="2146849005"/>
        </pc:sldMkLst>
      </pc:sldChg>
      <pc:sldChg chg="add">
        <pc:chgData name="Iris Minnema" userId="S::iris@happiness-anywhere.com::5cff94b1-6c0b-4c1f-a712-473b84d89636" providerId="AD" clId="Web-{E6319EA2-D1B9-541E-EFB6-962B56F593D1}" dt="2024-02-11T18:31:20.500" v="1"/>
        <pc:sldMkLst>
          <pc:docMk/>
          <pc:sldMk cId="1025774212" sldId="2146849006"/>
        </pc:sldMkLst>
      </pc:sldChg>
      <pc:sldChg chg="add">
        <pc:chgData name="Iris Minnema" userId="S::iris@happiness-anywhere.com::5cff94b1-6c0b-4c1f-a712-473b84d89636" providerId="AD" clId="Web-{E6319EA2-D1B9-541E-EFB6-962B56F593D1}" dt="2024-02-11T18:31:20.656" v="2"/>
        <pc:sldMkLst>
          <pc:docMk/>
          <pc:sldMk cId="3853740128" sldId="2146849007"/>
        </pc:sldMkLst>
      </pc:sldChg>
      <pc:sldChg chg="add">
        <pc:chgData name="Iris Minnema" userId="S::iris@happiness-anywhere.com::5cff94b1-6c0b-4c1f-a712-473b84d89636" providerId="AD" clId="Web-{E6319EA2-D1B9-541E-EFB6-962B56F593D1}" dt="2024-02-11T18:31:20.687" v="3"/>
        <pc:sldMkLst>
          <pc:docMk/>
          <pc:sldMk cId="2175468528" sldId="2146849008"/>
        </pc:sldMkLst>
      </pc:sldChg>
      <pc:sldChg chg="add">
        <pc:chgData name="Iris Minnema" userId="S::iris@happiness-anywhere.com::5cff94b1-6c0b-4c1f-a712-473b84d89636" providerId="AD" clId="Web-{E6319EA2-D1B9-541E-EFB6-962B56F593D1}" dt="2024-02-11T18:31:21.468" v="4"/>
        <pc:sldMkLst>
          <pc:docMk/>
          <pc:sldMk cId="1954958240" sldId="2146849009"/>
        </pc:sldMkLst>
      </pc:sldChg>
      <pc:sldMasterChg chg="addSldLayout">
        <pc:chgData name="Iris Minnema" userId="S::iris@happiness-anywhere.com::5cff94b1-6c0b-4c1f-a712-473b84d89636" providerId="AD" clId="Web-{E6319EA2-D1B9-541E-EFB6-962B56F593D1}" dt="2024-02-11T18:31:18.250" v="0"/>
        <pc:sldMasterMkLst>
          <pc:docMk/>
          <pc:sldMasterMk cId="689156119" sldId="2147483664"/>
        </pc:sldMasterMkLst>
        <pc:sldLayoutChg chg="add">
          <pc:chgData name="Iris Minnema" userId="S::iris@happiness-anywhere.com::5cff94b1-6c0b-4c1f-a712-473b84d89636" providerId="AD" clId="Web-{E6319EA2-D1B9-541E-EFB6-962B56F593D1}" dt="2024-02-11T18:31:18.250" v="0"/>
          <pc:sldLayoutMkLst>
            <pc:docMk/>
            <pc:sldMasterMk cId="689156119" sldId="2147483664"/>
            <pc:sldLayoutMk cId="4225677375" sldId="2147483712"/>
          </pc:sldLayoutMkLst>
        </pc:sldLayoutChg>
      </pc:sldMasterChg>
    </pc:docChg>
  </pc:docChgLst>
  <pc:docChgLst>
    <pc:chgData name="Morgane Juget" userId="S::morgane.juget@happiness-anywhere.com::e87d8a31-7c00-4034-86d7-c8472353ae3e" providerId="AD" clId="Web-{91FF6BB2-7BE3-EC07-F7A9-B30313E6FBB0}"/>
    <pc:docChg chg="modSld">
      <pc:chgData name="Morgane Juget" userId="S::morgane.juget@happiness-anywhere.com::e87d8a31-7c00-4034-86d7-c8472353ae3e" providerId="AD" clId="Web-{91FF6BB2-7BE3-EC07-F7A9-B30313E6FBB0}" dt="2024-02-14T15:14:07.097" v="40" actId="20577"/>
      <pc:docMkLst>
        <pc:docMk/>
      </pc:docMkLst>
      <pc:sldChg chg="delSp modSp">
        <pc:chgData name="Morgane Juget" userId="S::morgane.juget@happiness-anywhere.com::e87d8a31-7c00-4034-86d7-c8472353ae3e" providerId="AD" clId="Web-{91FF6BB2-7BE3-EC07-F7A9-B30313E6FBB0}" dt="2024-02-14T15:14:07.097" v="40" actId="20577"/>
        <pc:sldMkLst>
          <pc:docMk/>
          <pc:sldMk cId="2228196799" sldId="2146849813"/>
        </pc:sldMkLst>
        <pc:spChg chg="mod">
          <ac:chgData name="Morgane Juget" userId="S::morgane.juget@happiness-anywhere.com::e87d8a31-7c00-4034-86d7-c8472353ae3e" providerId="AD" clId="Web-{91FF6BB2-7BE3-EC07-F7A9-B30313E6FBB0}" dt="2024-02-14T15:13:52.581" v="39" actId="20577"/>
          <ac:spMkLst>
            <pc:docMk/>
            <pc:sldMk cId="2228196799" sldId="2146849813"/>
            <ac:spMk id="5" creationId="{5F7A1A43-376D-567D-F18F-26E1BF945E39}"/>
          </ac:spMkLst>
        </pc:spChg>
        <pc:spChg chg="mod">
          <ac:chgData name="Morgane Juget" userId="S::morgane.juget@happiness-anywhere.com::e87d8a31-7c00-4034-86d7-c8472353ae3e" providerId="AD" clId="Web-{91FF6BB2-7BE3-EC07-F7A9-B30313E6FBB0}" dt="2024-02-14T15:12:09.359" v="7" actId="1076"/>
          <ac:spMkLst>
            <pc:docMk/>
            <pc:sldMk cId="2228196799" sldId="2146849813"/>
            <ac:spMk id="11" creationId="{D97888B9-3D2A-1487-4153-77B27F2F18D2}"/>
          </ac:spMkLst>
        </pc:spChg>
        <pc:spChg chg="mod">
          <ac:chgData name="Morgane Juget" userId="S::morgane.juget@happiness-anywhere.com::e87d8a31-7c00-4034-86d7-c8472353ae3e" providerId="AD" clId="Web-{91FF6BB2-7BE3-EC07-F7A9-B30313E6FBB0}" dt="2024-02-14T15:14:07.097" v="40" actId="20577"/>
          <ac:spMkLst>
            <pc:docMk/>
            <pc:sldMk cId="2228196799" sldId="2146849813"/>
            <ac:spMk id="13" creationId="{69FDF991-3600-B079-608A-95F59D45CE95}"/>
          </ac:spMkLst>
        </pc:spChg>
        <pc:spChg chg="mod">
          <ac:chgData name="Morgane Juget" userId="S::morgane.juget@happiness-anywhere.com::e87d8a31-7c00-4034-86d7-c8472353ae3e" providerId="AD" clId="Web-{91FF6BB2-7BE3-EC07-F7A9-B30313E6FBB0}" dt="2024-02-14T15:12:29.531" v="15" actId="20577"/>
          <ac:spMkLst>
            <pc:docMk/>
            <pc:sldMk cId="2228196799" sldId="2146849813"/>
            <ac:spMk id="27" creationId="{856A23D2-E82D-F21E-FD94-80DC75F5FCEE}"/>
          </ac:spMkLst>
        </pc:spChg>
        <pc:spChg chg="del">
          <ac:chgData name="Morgane Juget" userId="S::morgane.juget@happiness-anywhere.com::e87d8a31-7c00-4034-86d7-c8472353ae3e" providerId="AD" clId="Web-{91FF6BB2-7BE3-EC07-F7A9-B30313E6FBB0}" dt="2024-02-14T15:11:23.138" v="0"/>
          <ac:spMkLst>
            <pc:docMk/>
            <pc:sldMk cId="2228196799" sldId="2146849813"/>
            <ac:spMk id="33" creationId="{5026ADD0-68CA-A9E0-63F6-FD025D1C1261}"/>
          </ac:spMkLst>
        </pc:spChg>
        <pc:picChg chg="del">
          <ac:chgData name="Morgane Juget" userId="S::morgane.juget@happiness-anywhere.com::e87d8a31-7c00-4034-86d7-c8472353ae3e" providerId="AD" clId="Web-{91FF6BB2-7BE3-EC07-F7A9-B30313E6FBB0}" dt="2024-02-14T15:12:35.813" v="16"/>
          <ac:picMkLst>
            <pc:docMk/>
            <pc:sldMk cId="2228196799" sldId="2146849813"/>
            <ac:picMk id="20" creationId="{5F9B0DD4-85B2-6AAA-F288-F066F52549BC}"/>
          </ac:picMkLst>
        </pc:picChg>
      </pc:sldChg>
    </pc:docChg>
  </pc:docChgLst>
  <pc:docChgLst>
    <pc:chgData name="Daan de Raaf" userId="S::daan@happiness-anywhere.com::8f1d1b22-4765-4ea9-9b86-40dc701933f0" providerId="AD" clId="Web-{38C0BF8A-4A91-58CF-6FAC-56E706F9883C}"/>
    <pc:docChg chg="modSld">
      <pc:chgData name="Daan de Raaf" userId="S::daan@happiness-anywhere.com::8f1d1b22-4765-4ea9-9b86-40dc701933f0" providerId="AD" clId="Web-{38C0BF8A-4A91-58CF-6FAC-56E706F9883C}" dt="2024-02-15T10:39:43.084" v="231" actId="20577"/>
      <pc:docMkLst>
        <pc:docMk/>
      </pc:docMkLst>
      <pc:sldChg chg="modSp">
        <pc:chgData name="Daan de Raaf" userId="S::daan@happiness-anywhere.com::8f1d1b22-4765-4ea9-9b86-40dc701933f0" providerId="AD" clId="Web-{38C0BF8A-4A91-58CF-6FAC-56E706F9883C}" dt="2024-02-15T10:39:43.084" v="231" actId="20577"/>
        <pc:sldMkLst>
          <pc:docMk/>
          <pc:sldMk cId="1915200776" sldId="2146848769"/>
        </pc:sldMkLst>
        <pc:spChg chg="mod">
          <ac:chgData name="Daan de Raaf" userId="S::daan@happiness-anywhere.com::8f1d1b22-4765-4ea9-9b86-40dc701933f0" providerId="AD" clId="Web-{38C0BF8A-4A91-58CF-6FAC-56E706F9883C}" dt="2024-02-15T10:39:43.084" v="231" actId="20577"/>
          <ac:spMkLst>
            <pc:docMk/>
            <pc:sldMk cId="1915200776" sldId="2146848769"/>
            <ac:spMk id="12" creationId="{4C47337D-A5F5-0C7E-B5CE-73F7CC38C1EE}"/>
          </ac:spMkLst>
        </pc:spChg>
      </pc:sldChg>
    </pc:docChg>
  </pc:docChgLst>
  <pc:docChgLst>
    <pc:chgData name="Iris Minnema" userId="S::iris@happiness-anywhere.com::5cff94b1-6c0b-4c1f-a712-473b84d89636" providerId="AD" clId="Web-{D3D70648-7F05-1B6C-F7ED-AD3128DD271D}"/>
    <pc:docChg chg="delSld">
      <pc:chgData name="Iris Minnema" userId="S::iris@happiness-anywhere.com::5cff94b1-6c0b-4c1f-a712-473b84d89636" providerId="AD" clId="Web-{D3D70648-7F05-1B6C-F7ED-AD3128DD271D}" dt="2024-02-14T18:44:36.159" v="0"/>
      <pc:docMkLst>
        <pc:docMk/>
      </pc:docMkLst>
      <pc:sldChg chg="del">
        <pc:chgData name="Iris Minnema" userId="S::iris@happiness-anywhere.com::5cff94b1-6c0b-4c1f-a712-473b84d89636" providerId="AD" clId="Web-{D3D70648-7F05-1B6C-F7ED-AD3128DD271D}" dt="2024-02-14T18:44:36.159" v="0"/>
        <pc:sldMkLst>
          <pc:docMk/>
          <pc:sldMk cId="3974761832" sldId="9605"/>
        </pc:sldMkLst>
      </pc:sldChg>
    </pc:docChg>
  </pc:docChgLst>
  <pc:docChgLst>
    <pc:chgData name="Morgane Juget" userId="e87d8a31-7c00-4034-86d7-c8472353ae3e" providerId="ADAL" clId="{2A62680B-FAB5-ED4E-BB88-17A083725689}"/>
    <pc:docChg chg="undo custSel modSld">
      <pc:chgData name="Morgane Juget" userId="e87d8a31-7c00-4034-86d7-c8472353ae3e" providerId="ADAL" clId="{2A62680B-FAB5-ED4E-BB88-17A083725689}" dt="2024-02-14T15:31:26.302" v="212" actId="20577"/>
      <pc:docMkLst>
        <pc:docMk/>
      </pc:docMkLst>
      <pc:sldChg chg="addSp delSp">
        <pc:chgData name="Morgane Juget" userId="e87d8a31-7c00-4034-86d7-c8472353ae3e" providerId="ADAL" clId="{2A62680B-FAB5-ED4E-BB88-17A083725689}" dt="2024-02-14T15:27:51.130" v="194" actId="14826"/>
        <pc:sldMkLst>
          <pc:docMk/>
          <pc:sldMk cId="3040644318" sldId="2146848759"/>
        </pc:sldMkLst>
        <pc:picChg chg="add del">
          <ac:chgData name="Morgane Juget" userId="e87d8a31-7c00-4034-86d7-c8472353ae3e" providerId="ADAL" clId="{2A62680B-FAB5-ED4E-BB88-17A083725689}" dt="2024-02-14T15:27:51.130" v="194" actId="14826"/>
          <ac:picMkLst>
            <pc:docMk/>
            <pc:sldMk cId="3040644318" sldId="2146848759"/>
            <ac:picMk id="14" creationId="{EFBA13FF-C627-0130-E803-9F77C14AFDB2}"/>
          </ac:picMkLst>
        </pc:picChg>
      </pc:sldChg>
      <pc:sldChg chg="modSp">
        <pc:chgData name="Morgane Juget" userId="e87d8a31-7c00-4034-86d7-c8472353ae3e" providerId="ADAL" clId="{2A62680B-FAB5-ED4E-BB88-17A083725689}" dt="2024-02-14T15:27:51.130" v="194" actId="14826"/>
        <pc:sldMkLst>
          <pc:docMk/>
          <pc:sldMk cId="3074706286" sldId="2146849010"/>
        </pc:sldMkLst>
        <pc:spChg chg="mod">
          <ac:chgData name="Morgane Juget" userId="e87d8a31-7c00-4034-86d7-c8472353ae3e" providerId="ADAL" clId="{2A62680B-FAB5-ED4E-BB88-17A083725689}" dt="2024-02-14T15:27:51.130" v="194" actId="14826"/>
          <ac:spMkLst>
            <pc:docMk/>
            <pc:sldMk cId="3074706286" sldId="2146849010"/>
            <ac:spMk id="2" creationId="{02E450C0-FE33-D875-FB2D-CE57CBAFA2D2}"/>
          </ac:spMkLst>
        </pc:spChg>
      </pc:sldChg>
      <pc:sldChg chg="addSp modSp mod">
        <pc:chgData name="Morgane Juget" userId="e87d8a31-7c00-4034-86d7-c8472353ae3e" providerId="ADAL" clId="{2A62680B-FAB5-ED4E-BB88-17A083725689}" dt="2024-02-14T15:31:26.302" v="212" actId="20577"/>
        <pc:sldMkLst>
          <pc:docMk/>
          <pc:sldMk cId="2228196799" sldId="2146849813"/>
        </pc:sldMkLst>
        <pc:spChg chg="mod">
          <ac:chgData name="Morgane Juget" userId="e87d8a31-7c00-4034-86d7-c8472353ae3e" providerId="ADAL" clId="{2A62680B-FAB5-ED4E-BB88-17A083725689}" dt="2024-02-14T15:30:42.304" v="197" actId="20577"/>
          <ac:spMkLst>
            <pc:docMk/>
            <pc:sldMk cId="2228196799" sldId="2146849813"/>
            <ac:spMk id="5" creationId="{5F7A1A43-376D-567D-F18F-26E1BF945E39}"/>
          </ac:spMkLst>
        </pc:spChg>
        <pc:spChg chg="mod">
          <ac:chgData name="Morgane Juget" userId="e87d8a31-7c00-4034-86d7-c8472353ae3e" providerId="ADAL" clId="{2A62680B-FAB5-ED4E-BB88-17A083725689}" dt="2024-02-14T15:15:57.315" v="8" actId="313"/>
          <ac:spMkLst>
            <pc:docMk/>
            <pc:sldMk cId="2228196799" sldId="2146849813"/>
            <ac:spMk id="26" creationId="{71FC600B-CF68-5187-BCDF-9E10C8FACD4C}"/>
          </ac:spMkLst>
        </pc:spChg>
        <pc:spChg chg="mod">
          <ac:chgData name="Morgane Juget" userId="e87d8a31-7c00-4034-86d7-c8472353ae3e" providerId="ADAL" clId="{2A62680B-FAB5-ED4E-BB88-17A083725689}" dt="2024-02-14T15:31:26.302" v="212" actId="20577"/>
          <ac:spMkLst>
            <pc:docMk/>
            <pc:sldMk cId="2228196799" sldId="2146849813"/>
            <ac:spMk id="30" creationId="{69A10649-1DC1-74EC-B596-A97080CDD64E}"/>
          </ac:spMkLst>
        </pc:spChg>
        <pc:picChg chg="add mod">
          <ac:chgData name="Morgane Juget" userId="e87d8a31-7c00-4034-86d7-c8472353ae3e" providerId="ADAL" clId="{2A62680B-FAB5-ED4E-BB88-17A083725689}" dt="2024-02-14T15:16:45.558" v="11" actId="1076"/>
          <ac:picMkLst>
            <pc:docMk/>
            <pc:sldMk cId="2228196799" sldId="2146849813"/>
            <ac:picMk id="2" creationId="{8114485A-21E9-426A-CEEE-CCD6FA3206D6}"/>
          </ac:picMkLst>
        </pc:picChg>
        <pc:picChg chg="mod">
          <ac:chgData name="Morgane Juget" userId="e87d8a31-7c00-4034-86d7-c8472353ae3e" providerId="ADAL" clId="{2A62680B-FAB5-ED4E-BB88-17A083725689}" dt="2024-02-14T15:16:52.342" v="12" actId="1076"/>
          <ac:picMkLst>
            <pc:docMk/>
            <pc:sldMk cId="2228196799" sldId="2146849813"/>
            <ac:picMk id="12" creationId="{16528796-19D3-2C8A-4E7C-6198974859A8}"/>
          </ac:picMkLst>
        </pc:picChg>
        <pc:picChg chg="mod">
          <ac:chgData name="Morgane Juget" userId="e87d8a31-7c00-4034-86d7-c8472353ae3e" providerId="ADAL" clId="{2A62680B-FAB5-ED4E-BB88-17A083725689}" dt="2024-02-14T15:15:25.392" v="2" actId="1076"/>
          <ac:picMkLst>
            <pc:docMk/>
            <pc:sldMk cId="2228196799" sldId="2146849813"/>
            <ac:picMk id="23" creationId="{CF00DFF4-8987-7F71-46BF-65FD72494477}"/>
          </ac:picMkLst>
        </pc:picChg>
      </pc:sldChg>
      <pc:sldChg chg="addSp delSp modSp mod">
        <pc:chgData name="Morgane Juget" userId="e87d8a31-7c00-4034-86d7-c8472353ae3e" providerId="ADAL" clId="{2A62680B-FAB5-ED4E-BB88-17A083725689}" dt="2024-02-14T15:27:51.130" v="194" actId="14826"/>
        <pc:sldMkLst>
          <pc:docMk/>
          <pc:sldMk cId="3806750613" sldId="2146849814"/>
        </pc:sldMkLst>
        <pc:spChg chg="del">
          <ac:chgData name="Morgane Juget" userId="e87d8a31-7c00-4034-86d7-c8472353ae3e" providerId="ADAL" clId="{2A62680B-FAB5-ED4E-BB88-17A083725689}" dt="2024-02-14T15:18:38.072" v="17" actId="478"/>
          <ac:spMkLst>
            <pc:docMk/>
            <pc:sldMk cId="3806750613" sldId="2146849814"/>
            <ac:spMk id="2" creationId="{F5F8B51D-14B3-E69B-798B-77077E5D74CA}"/>
          </ac:spMkLst>
        </pc:spChg>
        <pc:spChg chg="mod">
          <ac:chgData name="Morgane Juget" userId="e87d8a31-7c00-4034-86d7-c8472353ae3e" providerId="ADAL" clId="{2A62680B-FAB5-ED4E-BB88-17A083725689}" dt="2024-02-14T15:23:45.731" v="181" actId="1076"/>
          <ac:spMkLst>
            <pc:docMk/>
            <pc:sldMk cId="3806750613" sldId="2146849814"/>
            <ac:spMk id="5" creationId="{DDF001F1-034E-69AF-890F-8166BE99B4D3}"/>
          </ac:spMkLst>
        </pc:spChg>
        <pc:spChg chg="mod">
          <ac:chgData name="Morgane Juget" userId="e87d8a31-7c00-4034-86d7-c8472353ae3e" providerId="ADAL" clId="{2A62680B-FAB5-ED4E-BB88-17A083725689}" dt="2024-02-14T15:23:45.731" v="181" actId="1076"/>
          <ac:spMkLst>
            <pc:docMk/>
            <pc:sldMk cId="3806750613" sldId="2146849814"/>
            <ac:spMk id="11" creationId="{D5984ABE-8418-8FC4-D04F-91BE1FAB6265}"/>
          </ac:spMkLst>
        </pc:spChg>
        <pc:spChg chg="mod">
          <ac:chgData name="Morgane Juget" userId="e87d8a31-7c00-4034-86d7-c8472353ae3e" providerId="ADAL" clId="{2A62680B-FAB5-ED4E-BB88-17A083725689}" dt="2024-02-14T15:23:45.731" v="181" actId="1076"/>
          <ac:spMkLst>
            <pc:docMk/>
            <pc:sldMk cId="3806750613" sldId="2146849814"/>
            <ac:spMk id="13" creationId="{73725E32-3B6E-0521-74C5-5B03369E9A98}"/>
          </ac:spMkLst>
        </pc:spChg>
        <pc:spChg chg="del">
          <ac:chgData name="Morgane Juget" userId="e87d8a31-7c00-4034-86d7-c8472353ae3e" providerId="ADAL" clId="{2A62680B-FAB5-ED4E-BB88-17A083725689}" dt="2024-02-14T15:22:27.581" v="142" actId="478"/>
          <ac:spMkLst>
            <pc:docMk/>
            <pc:sldMk cId="3806750613" sldId="2146849814"/>
            <ac:spMk id="14" creationId="{26769AB0-D2EC-1488-B504-68C0D47D2C44}"/>
          </ac:spMkLst>
        </pc:spChg>
        <pc:spChg chg="del">
          <ac:chgData name="Morgane Juget" userId="e87d8a31-7c00-4034-86d7-c8472353ae3e" providerId="ADAL" clId="{2A62680B-FAB5-ED4E-BB88-17A083725689}" dt="2024-02-14T15:22:25.762" v="141" actId="478"/>
          <ac:spMkLst>
            <pc:docMk/>
            <pc:sldMk cId="3806750613" sldId="2146849814"/>
            <ac:spMk id="17" creationId="{49A03221-D159-0CB3-2FB5-F82F014AB09D}"/>
          </ac:spMkLst>
        </pc:spChg>
        <pc:spChg chg="del">
          <ac:chgData name="Morgane Juget" userId="e87d8a31-7c00-4034-86d7-c8472353ae3e" providerId="ADAL" clId="{2A62680B-FAB5-ED4E-BB88-17A083725689}" dt="2024-02-14T15:26:48.237" v="189" actId="931"/>
          <ac:spMkLst>
            <pc:docMk/>
            <pc:sldMk cId="3806750613" sldId="2146849814"/>
            <ac:spMk id="22" creationId="{A8547AE8-1726-783C-22A9-0E5E518AF5DE}"/>
          </ac:spMkLst>
        </pc:spChg>
        <pc:spChg chg="mod">
          <ac:chgData name="Morgane Juget" userId="e87d8a31-7c00-4034-86d7-c8472353ae3e" providerId="ADAL" clId="{2A62680B-FAB5-ED4E-BB88-17A083725689}" dt="2024-02-14T15:23:45.731" v="181" actId="1076"/>
          <ac:spMkLst>
            <pc:docMk/>
            <pc:sldMk cId="3806750613" sldId="2146849814"/>
            <ac:spMk id="27" creationId="{DF2EAE3A-19B0-2F85-EACE-82500A316848}"/>
          </ac:spMkLst>
        </pc:spChg>
        <pc:spChg chg="mod">
          <ac:chgData name="Morgane Juget" userId="e87d8a31-7c00-4034-86d7-c8472353ae3e" providerId="ADAL" clId="{2A62680B-FAB5-ED4E-BB88-17A083725689}" dt="2024-02-14T15:23:45.731" v="181" actId="1076"/>
          <ac:spMkLst>
            <pc:docMk/>
            <pc:sldMk cId="3806750613" sldId="2146849814"/>
            <ac:spMk id="28" creationId="{FDA7485B-9723-7451-BA2D-8DD0F40EACF6}"/>
          </ac:spMkLst>
        </pc:spChg>
        <pc:spChg chg="mod">
          <ac:chgData name="Morgane Juget" userId="e87d8a31-7c00-4034-86d7-c8472353ae3e" providerId="ADAL" clId="{2A62680B-FAB5-ED4E-BB88-17A083725689}" dt="2024-02-14T15:24:10.578" v="188" actId="1076"/>
          <ac:spMkLst>
            <pc:docMk/>
            <pc:sldMk cId="3806750613" sldId="2146849814"/>
            <ac:spMk id="30" creationId="{94AF2FBE-02A5-CADE-839C-27DEF5E6BD1B}"/>
          </ac:spMkLst>
        </pc:spChg>
        <pc:spChg chg="mod">
          <ac:chgData name="Morgane Juget" userId="e87d8a31-7c00-4034-86d7-c8472353ae3e" providerId="ADAL" clId="{2A62680B-FAB5-ED4E-BB88-17A083725689}" dt="2024-02-14T15:23:45.731" v="181" actId="1076"/>
          <ac:spMkLst>
            <pc:docMk/>
            <pc:sldMk cId="3806750613" sldId="2146849814"/>
            <ac:spMk id="31" creationId="{7A4B0AEF-9BE9-0AB3-8A3C-58A16249AF00}"/>
          </ac:spMkLst>
        </pc:spChg>
        <pc:spChg chg="mod">
          <ac:chgData name="Morgane Juget" userId="e87d8a31-7c00-4034-86d7-c8472353ae3e" providerId="ADAL" clId="{2A62680B-FAB5-ED4E-BB88-17A083725689}" dt="2024-02-14T15:23:45.731" v="181" actId="1076"/>
          <ac:spMkLst>
            <pc:docMk/>
            <pc:sldMk cId="3806750613" sldId="2146849814"/>
            <ac:spMk id="44" creationId="{8F1F8AB5-781C-3107-FE30-FBDEB8619663}"/>
          </ac:spMkLst>
        </pc:spChg>
        <pc:picChg chg="add mod">
          <ac:chgData name="Morgane Juget" userId="e87d8a31-7c00-4034-86d7-c8472353ae3e" providerId="ADAL" clId="{2A62680B-FAB5-ED4E-BB88-17A083725689}" dt="2024-02-14T15:27:51.130" v="194" actId="14826"/>
          <ac:picMkLst>
            <pc:docMk/>
            <pc:sldMk cId="3806750613" sldId="2146849814"/>
            <ac:picMk id="7" creationId="{61CA4C90-1D06-47FE-2CDE-275EA97C9049}"/>
          </ac:picMkLst>
        </pc:picChg>
        <pc:picChg chg="mod">
          <ac:chgData name="Morgane Juget" userId="e87d8a31-7c00-4034-86d7-c8472353ae3e" providerId="ADAL" clId="{2A62680B-FAB5-ED4E-BB88-17A083725689}" dt="2024-02-14T15:23:45.731" v="181" actId="1076"/>
          <ac:picMkLst>
            <pc:docMk/>
            <pc:sldMk cId="3806750613" sldId="2146849814"/>
            <ac:picMk id="12" creationId="{E47430AA-2BDF-C654-0AA5-2106DCA65367}"/>
          </ac:picMkLst>
        </pc:picChg>
        <pc:picChg chg="del">
          <ac:chgData name="Morgane Juget" userId="e87d8a31-7c00-4034-86d7-c8472353ae3e" providerId="ADAL" clId="{2A62680B-FAB5-ED4E-BB88-17A083725689}" dt="2024-02-14T15:22:20.380" v="140" actId="478"/>
          <ac:picMkLst>
            <pc:docMk/>
            <pc:sldMk cId="3806750613" sldId="2146849814"/>
            <ac:picMk id="20" creationId="{E4C41350-2C7B-1FB0-0EFB-7E800C135CA9}"/>
          </ac:picMkLst>
        </pc:picChg>
        <pc:picChg chg="mod">
          <ac:chgData name="Morgane Juget" userId="e87d8a31-7c00-4034-86d7-c8472353ae3e" providerId="ADAL" clId="{2A62680B-FAB5-ED4E-BB88-17A083725689}" dt="2024-02-14T15:23:45.731" v="181" actId="1076"/>
          <ac:picMkLst>
            <pc:docMk/>
            <pc:sldMk cId="3806750613" sldId="2146849814"/>
            <ac:picMk id="29" creationId="{716D4EE0-790F-6294-61E4-7884B329304B}"/>
          </ac:picMkLst>
        </pc:picChg>
        <pc:picChg chg="mod">
          <ac:chgData name="Morgane Juget" userId="e87d8a31-7c00-4034-86d7-c8472353ae3e" providerId="ADAL" clId="{2A62680B-FAB5-ED4E-BB88-17A083725689}" dt="2024-02-14T15:23:45.731" v="181" actId="1076"/>
          <ac:picMkLst>
            <pc:docMk/>
            <pc:sldMk cId="3806750613" sldId="2146849814"/>
            <ac:picMk id="32" creationId="{1DE9060D-5228-0E29-47FC-A5648A84F9E9}"/>
          </ac:picMkLst>
        </pc:picChg>
        <pc:picChg chg="mod">
          <ac:chgData name="Morgane Juget" userId="e87d8a31-7c00-4034-86d7-c8472353ae3e" providerId="ADAL" clId="{2A62680B-FAB5-ED4E-BB88-17A083725689}" dt="2024-02-14T15:23:45.731" v="181" actId="1076"/>
          <ac:picMkLst>
            <pc:docMk/>
            <pc:sldMk cId="3806750613" sldId="2146849814"/>
            <ac:picMk id="45" creationId="{40B2FE05-E5BF-B422-D139-8E29649F3C3C}"/>
          </ac:picMkLst>
        </pc:picChg>
      </pc:sldChg>
    </pc:docChg>
  </pc:docChgLst>
  <pc:docChgLst>
    <pc:chgData name="Joey Boeters" userId="7d7b6226-a873-4578-afb9-e91876783442" providerId="ADAL" clId="{5B0E4F9E-5B44-C542-AC59-C2E41B3823FE}"/>
    <pc:docChg chg="undo custSel modSld">
      <pc:chgData name="Joey Boeters" userId="7d7b6226-a873-4578-afb9-e91876783442" providerId="ADAL" clId="{5B0E4F9E-5B44-C542-AC59-C2E41B3823FE}" dt="2024-02-14T15:01:36.130" v="82" actId="20577"/>
      <pc:docMkLst>
        <pc:docMk/>
      </pc:docMkLst>
      <pc:sldChg chg="modSp mod">
        <pc:chgData name="Joey Boeters" userId="7d7b6226-a873-4578-afb9-e91876783442" providerId="ADAL" clId="{5B0E4F9E-5B44-C542-AC59-C2E41B3823FE}" dt="2024-02-14T14:41:52.149" v="24" actId="2711"/>
        <pc:sldMkLst>
          <pc:docMk/>
          <pc:sldMk cId="1452127213" sldId="2145707937"/>
        </pc:sldMkLst>
        <pc:spChg chg="mod">
          <ac:chgData name="Joey Boeters" userId="7d7b6226-a873-4578-afb9-e91876783442" providerId="ADAL" clId="{5B0E4F9E-5B44-C542-AC59-C2E41B3823FE}" dt="2024-02-14T14:41:52.149" v="24" actId="2711"/>
          <ac:spMkLst>
            <pc:docMk/>
            <pc:sldMk cId="1452127213" sldId="2145707937"/>
            <ac:spMk id="2" creationId="{AE544F9B-EB11-C09E-7F66-5ACA37E5FEF8}"/>
          </ac:spMkLst>
        </pc:spChg>
        <pc:spChg chg="mod">
          <ac:chgData name="Joey Boeters" userId="7d7b6226-a873-4578-afb9-e91876783442" providerId="ADAL" clId="{5B0E4F9E-5B44-C542-AC59-C2E41B3823FE}" dt="2024-02-14T14:41:52.149" v="24" actId="2711"/>
          <ac:spMkLst>
            <pc:docMk/>
            <pc:sldMk cId="1452127213" sldId="2145707937"/>
            <ac:spMk id="7" creationId="{B8EB4B87-A029-990C-98E3-FA0736AB8EC7}"/>
          </ac:spMkLst>
        </pc:spChg>
      </pc:sldChg>
      <pc:sldChg chg="modSp mod">
        <pc:chgData name="Joey Boeters" userId="7d7b6226-a873-4578-afb9-e91876783442" providerId="ADAL" clId="{5B0E4F9E-5B44-C542-AC59-C2E41B3823FE}" dt="2024-02-14T14:41:41.177" v="18" actId="2711"/>
        <pc:sldMkLst>
          <pc:docMk/>
          <pc:sldMk cId="1212159438" sldId="2145707938"/>
        </pc:sldMkLst>
        <pc:spChg chg="mod">
          <ac:chgData name="Joey Boeters" userId="7d7b6226-a873-4578-afb9-e91876783442" providerId="ADAL" clId="{5B0E4F9E-5B44-C542-AC59-C2E41B3823FE}" dt="2024-02-14T14:41:41.177" v="18" actId="2711"/>
          <ac:spMkLst>
            <pc:docMk/>
            <pc:sldMk cId="1212159438" sldId="2145707938"/>
            <ac:spMk id="10" creationId="{2BE79707-3CF2-53C4-A852-4ED103C2B7C2}"/>
          </ac:spMkLst>
        </pc:spChg>
        <pc:spChg chg="mod">
          <ac:chgData name="Joey Boeters" userId="7d7b6226-a873-4578-afb9-e91876783442" providerId="ADAL" clId="{5B0E4F9E-5B44-C542-AC59-C2E41B3823FE}" dt="2024-02-14T14:41:41.177" v="18" actId="2711"/>
          <ac:spMkLst>
            <pc:docMk/>
            <pc:sldMk cId="1212159438" sldId="2145707938"/>
            <ac:spMk id="13" creationId="{064DDDCC-FEDC-A9DC-97CF-427D8AE1AEB6}"/>
          </ac:spMkLst>
        </pc:spChg>
      </pc:sldChg>
      <pc:sldChg chg="delSp modSp mod">
        <pc:chgData name="Joey Boeters" userId="7d7b6226-a873-4578-afb9-e91876783442" providerId="ADAL" clId="{5B0E4F9E-5B44-C542-AC59-C2E41B3823FE}" dt="2024-02-14T15:01:36.130" v="82" actId="20577"/>
        <pc:sldMkLst>
          <pc:docMk/>
          <pc:sldMk cId="3391162473" sldId="2145707939"/>
        </pc:sldMkLst>
        <pc:spChg chg="mod">
          <ac:chgData name="Joey Boeters" userId="7d7b6226-a873-4578-afb9-e91876783442" providerId="ADAL" clId="{5B0E4F9E-5B44-C542-AC59-C2E41B3823FE}" dt="2024-02-14T15:01:36.130" v="82" actId="20577"/>
          <ac:spMkLst>
            <pc:docMk/>
            <pc:sldMk cId="3391162473" sldId="2145707939"/>
            <ac:spMk id="6" creationId="{A1A47FBD-12F4-8A08-8039-7E6465BD3298}"/>
          </ac:spMkLst>
        </pc:spChg>
        <pc:spChg chg="mod">
          <ac:chgData name="Joey Boeters" userId="7d7b6226-a873-4578-afb9-e91876783442" providerId="ADAL" clId="{5B0E4F9E-5B44-C542-AC59-C2E41B3823FE}" dt="2024-02-14T14:41:19.773" v="15" actId="2711"/>
          <ac:spMkLst>
            <pc:docMk/>
            <pc:sldMk cId="3391162473" sldId="2145707939"/>
            <ac:spMk id="13" creationId="{6936C853-28BC-4E22-47EA-1301FF7F1971}"/>
          </ac:spMkLst>
        </pc:spChg>
        <pc:spChg chg="mod">
          <ac:chgData name="Joey Boeters" userId="7d7b6226-a873-4578-afb9-e91876783442" providerId="ADAL" clId="{5B0E4F9E-5B44-C542-AC59-C2E41B3823FE}" dt="2024-02-14T14:41:03.894" v="4" actId="2711"/>
          <ac:spMkLst>
            <pc:docMk/>
            <pc:sldMk cId="3391162473" sldId="2145707939"/>
            <ac:spMk id="17" creationId="{33FF2737-B843-0319-E34A-1D83011C8427}"/>
          </ac:spMkLst>
        </pc:spChg>
        <pc:inkChg chg="del">
          <ac:chgData name="Joey Boeters" userId="7d7b6226-a873-4578-afb9-e91876783442" providerId="ADAL" clId="{5B0E4F9E-5B44-C542-AC59-C2E41B3823FE}" dt="2024-02-14T14:40:11.239" v="2" actId="478"/>
          <ac:inkMkLst>
            <pc:docMk/>
            <pc:sldMk cId="3391162473" sldId="2145707939"/>
            <ac:inkMk id="7" creationId="{40E616A2-E600-7BBE-92C3-E4F8D2F3E684}"/>
          </ac:inkMkLst>
        </pc:inkChg>
        <pc:inkChg chg="del">
          <ac:chgData name="Joey Boeters" userId="7d7b6226-a873-4578-afb9-e91876783442" providerId="ADAL" clId="{5B0E4F9E-5B44-C542-AC59-C2E41B3823FE}" dt="2024-02-14T14:40:23.302" v="3" actId="478"/>
          <ac:inkMkLst>
            <pc:docMk/>
            <pc:sldMk cId="3391162473" sldId="2145707939"/>
            <ac:inkMk id="10" creationId="{D1E20DFE-AC44-259A-BD67-5F49EEEC0ABB}"/>
          </ac:inkMkLst>
        </pc:inkChg>
        <pc:inkChg chg="del">
          <ac:chgData name="Joey Boeters" userId="7d7b6226-a873-4578-afb9-e91876783442" providerId="ADAL" clId="{5B0E4F9E-5B44-C542-AC59-C2E41B3823FE}" dt="2024-02-14T14:40:23.302" v="3" actId="478"/>
          <ac:inkMkLst>
            <pc:docMk/>
            <pc:sldMk cId="3391162473" sldId="2145707939"/>
            <ac:inkMk id="11" creationId="{3EEE60D2-1F3F-4538-651C-15CAE3B11D5D}"/>
          </ac:inkMkLst>
        </pc:inkChg>
        <pc:inkChg chg="del">
          <ac:chgData name="Joey Boeters" userId="7d7b6226-a873-4578-afb9-e91876783442" providerId="ADAL" clId="{5B0E4F9E-5B44-C542-AC59-C2E41B3823FE}" dt="2024-02-14T14:40:23.302" v="3" actId="478"/>
          <ac:inkMkLst>
            <pc:docMk/>
            <pc:sldMk cId="3391162473" sldId="2145707939"/>
            <ac:inkMk id="12" creationId="{12C90A38-AFAF-FB53-D39B-A04D2331BC45}"/>
          </ac:inkMkLst>
        </pc:inkChg>
        <pc:inkChg chg="del">
          <ac:chgData name="Joey Boeters" userId="7d7b6226-a873-4578-afb9-e91876783442" providerId="ADAL" clId="{5B0E4F9E-5B44-C542-AC59-C2E41B3823FE}" dt="2024-02-14T14:40:23.302" v="3" actId="478"/>
          <ac:inkMkLst>
            <pc:docMk/>
            <pc:sldMk cId="3391162473" sldId="2145707939"/>
            <ac:inkMk id="18" creationId="{E9E425EA-5DAC-1092-3795-06E777EFEDB6}"/>
          </ac:inkMkLst>
        </pc:inkChg>
        <pc:inkChg chg="del">
          <ac:chgData name="Joey Boeters" userId="7d7b6226-a873-4578-afb9-e91876783442" providerId="ADAL" clId="{5B0E4F9E-5B44-C542-AC59-C2E41B3823FE}" dt="2024-02-14T14:40:23.302" v="3" actId="478"/>
          <ac:inkMkLst>
            <pc:docMk/>
            <pc:sldMk cId="3391162473" sldId="2145707939"/>
            <ac:inkMk id="19" creationId="{94ED584B-D161-25EE-1441-1B7D5D9D1A3B}"/>
          </ac:inkMkLst>
        </pc:inkChg>
        <pc:inkChg chg="del">
          <ac:chgData name="Joey Boeters" userId="7d7b6226-a873-4578-afb9-e91876783442" providerId="ADAL" clId="{5B0E4F9E-5B44-C542-AC59-C2E41B3823FE}" dt="2024-02-14T14:40:23.302" v="3" actId="478"/>
          <ac:inkMkLst>
            <pc:docMk/>
            <pc:sldMk cId="3391162473" sldId="2145707939"/>
            <ac:inkMk id="20" creationId="{F727CC67-D92C-5EAF-33F8-3E1D23C96065}"/>
          </ac:inkMkLst>
        </pc:inkChg>
        <pc:inkChg chg="del">
          <ac:chgData name="Joey Boeters" userId="7d7b6226-a873-4578-afb9-e91876783442" providerId="ADAL" clId="{5B0E4F9E-5B44-C542-AC59-C2E41B3823FE}" dt="2024-02-14T14:40:23.302" v="3" actId="478"/>
          <ac:inkMkLst>
            <pc:docMk/>
            <pc:sldMk cId="3391162473" sldId="2145707939"/>
            <ac:inkMk id="21" creationId="{71F2329A-242F-EFFE-2380-6B45C917E588}"/>
          </ac:inkMkLst>
        </pc:inkChg>
        <pc:inkChg chg="del">
          <ac:chgData name="Joey Boeters" userId="7d7b6226-a873-4578-afb9-e91876783442" providerId="ADAL" clId="{5B0E4F9E-5B44-C542-AC59-C2E41B3823FE}" dt="2024-02-14T14:40:23.302" v="3" actId="478"/>
          <ac:inkMkLst>
            <pc:docMk/>
            <pc:sldMk cId="3391162473" sldId="2145707939"/>
            <ac:inkMk id="22" creationId="{D97071BE-B36A-FFC1-7F8E-C963F72CDF7E}"/>
          </ac:inkMkLst>
        </pc:inkChg>
        <pc:inkChg chg="del">
          <ac:chgData name="Joey Boeters" userId="7d7b6226-a873-4578-afb9-e91876783442" providerId="ADAL" clId="{5B0E4F9E-5B44-C542-AC59-C2E41B3823FE}" dt="2024-02-14T14:40:23.302" v="3" actId="478"/>
          <ac:inkMkLst>
            <pc:docMk/>
            <pc:sldMk cId="3391162473" sldId="2145707939"/>
            <ac:inkMk id="23" creationId="{AB6E94A0-D82E-7D79-FF21-01694A8D69C8}"/>
          </ac:inkMkLst>
        </pc:inkChg>
        <pc:inkChg chg="del">
          <ac:chgData name="Joey Boeters" userId="7d7b6226-a873-4578-afb9-e91876783442" providerId="ADAL" clId="{5B0E4F9E-5B44-C542-AC59-C2E41B3823FE}" dt="2024-02-14T14:40:23.302" v="3" actId="478"/>
          <ac:inkMkLst>
            <pc:docMk/>
            <pc:sldMk cId="3391162473" sldId="2145707939"/>
            <ac:inkMk id="24" creationId="{E59D5B91-832C-F931-993E-9511C914A5BD}"/>
          </ac:inkMkLst>
        </pc:inkChg>
        <pc:inkChg chg="del">
          <ac:chgData name="Joey Boeters" userId="7d7b6226-a873-4578-afb9-e91876783442" providerId="ADAL" clId="{5B0E4F9E-5B44-C542-AC59-C2E41B3823FE}" dt="2024-02-14T14:40:23.302" v="3" actId="478"/>
          <ac:inkMkLst>
            <pc:docMk/>
            <pc:sldMk cId="3391162473" sldId="2145707939"/>
            <ac:inkMk id="25" creationId="{0CD858CB-2591-7B10-D3D6-6D0CA31F4719}"/>
          </ac:inkMkLst>
        </pc:inkChg>
        <pc:inkChg chg="del">
          <ac:chgData name="Joey Boeters" userId="7d7b6226-a873-4578-afb9-e91876783442" providerId="ADAL" clId="{5B0E4F9E-5B44-C542-AC59-C2E41B3823FE}" dt="2024-02-14T14:40:23.302" v="3" actId="478"/>
          <ac:inkMkLst>
            <pc:docMk/>
            <pc:sldMk cId="3391162473" sldId="2145707939"/>
            <ac:inkMk id="26" creationId="{2F66B662-48D5-E54B-7EA1-D353B9B9CE2A}"/>
          </ac:inkMkLst>
        </pc:inkChg>
        <pc:inkChg chg="del">
          <ac:chgData name="Joey Boeters" userId="7d7b6226-a873-4578-afb9-e91876783442" providerId="ADAL" clId="{5B0E4F9E-5B44-C542-AC59-C2E41B3823FE}" dt="2024-02-14T14:40:23.302" v="3" actId="478"/>
          <ac:inkMkLst>
            <pc:docMk/>
            <pc:sldMk cId="3391162473" sldId="2145707939"/>
            <ac:inkMk id="27" creationId="{1826383C-ED34-7686-6FF4-33407C1F78F1}"/>
          </ac:inkMkLst>
        </pc:inkChg>
      </pc:sldChg>
      <pc:sldChg chg="modSp mod">
        <pc:chgData name="Joey Boeters" userId="7d7b6226-a873-4578-afb9-e91876783442" providerId="ADAL" clId="{5B0E4F9E-5B44-C542-AC59-C2E41B3823FE}" dt="2024-02-14T14:41:46.452" v="21" actId="2711"/>
        <pc:sldMkLst>
          <pc:docMk/>
          <pc:sldMk cId="1915200776" sldId="2146848769"/>
        </pc:sldMkLst>
        <pc:spChg chg="mod">
          <ac:chgData name="Joey Boeters" userId="7d7b6226-a873-4578-afb9-e91876783442" providerId="ADAL" clId="{5B0E4F9E-5B44-C542-AC59-C2E41B3823FE}" dt="2024-02-14T14:41:46.452" v="21" actId="2711"/>
          <ac:spMkLst>
            <pc:docMk/>
            <pc:sldMk cId="1915200776" sldId="2146848769"/>
            <ac:spMk id="2" creationId="{AE544F9B-EB11-C09E-7F66-5ACA37E5FEF8}"/>
          </ac:spMkLst>
        </pc:spChg>
        <pc:spChg chg="mod">
          <ac:chgData name="Joey Boeters" userId="7d7b6226-a873-4578-afb9-e91876783442" providerId="ADAL" clId="{5B0E4F9E-5B44-C542-AC59-C2E41B3823FE}" dt="2024-02-14T14:41:46.452" v="21" actId="2711"/>
          <ac:spMkLst>
            <pc:docMk/>
            <pc:sldMk cId="1915200776" sldId="2146848769"/>
            <ac:spMk id="7" creationId="{B8EB4B87-A029-990C-98E3-FA0736AB8EC7}"/>
          </ac:spMkLst>
        </pc:spChg>
      </pc:sldChg>
      <pc:sldChg chg="modSp mod">
        <pc:chgData name="Joey Boeters" userId="7d7b6226-a873-4578-afb9-e91876783442" providerId="ADAL" clId="{5B0E4F9E-5B44-C542-AC59-C2E41B3823FE}" dt="2024-02-14T14:42:01.064" v="27" actId="2711"/>
        <pc:sldMkLst>
          <pc:docMk/>
          <pc:sldMk cId="3887345559" sldId="2146849811"/>
        </pc:sldMkLst>
        <pc:spChg chg="mod">
          <ac:chgData name="Joey Boeters" userId="7d7b6226-a873-4578-afb9-e91876783442" providerId="ADAL" clId="{5B0E4F9E-5B44-C542-AC59-C2E41B3823FE}" dt="2024-02-14T14:42:01.064" v="27" actId="2711"/>
          <ac:spMkLst>
            <pc:docMk/>
            <pc:sldMk cId="3887345559" sldId="2146849811"/>
            <ac:spMk id="13" creationId="{172CF3D9-1D89-7277-69F2-11AA31F7ED1E}"/>
          </ac:spMkLst>
        </pc:spChg>
        <pc:spChg chg="mod">
          <ac:chgData name="Joey Boeters" userId="7d7b6226-a873-4578-afb9-e91876783442" providerId="ADAL" clId="{5B0E4F9E-5B44-C542-AC59-C2E41B3823FE}" dt="2024-02-14T14:42:01.064" v="27" actId="2711"/>
          <ac:spMkLst>
            <pc:docMk/>
            <pc:sldMk cId="3887345559" sldId="2146849811"/>
            <ac:spMk id="17" creationId="{9E3F9B2A-E9C4-2D61-ACA9-431E6FCF70F9}"/>
          </ac:spMkLst>
        </pc:spChg>
      </pc:sldChg>
    </pc:docChg>
  </pc:docChgLst>
  <pc:docChgLst>
    <pc:chgData name="Iris Minnema" userId="S::iris@happiness-anywhere.com::5cff94b1-6c0b-4c1f-a712-473b84d89636" providerId="AD" clId="Web-{2241B70F-52D9-114F-9685-A00E61590079}"/>
    <pc:docChg chg="modSld">
      <pc:chgData name="Iris Minnema" userId="S::iris@happiness-anywhere.com::5cff94b1-6c0b-4c1f-a712-473b84d89636" providerId="AD" clId="Web-{2241B70F-52D9-114F-9685-A00E61590079}" dt="2024-02-15T13:56:16.716" v="936" actId="20577"/>
      <pc:docMkLst>
        <pc:docMk/>
      </pc:docMkLst>
      <pc:sldChg chg="modSp">
        <pc:chgData name="Iris Minnema" userId="S::iris@happiness-anywhere.com::5cff94b1-6c0b-4c1f-a712-473b84d89636" providerId="AD" clId="Web-{2241B70F-52D9-114F-9685-A00E61590079}" dt="2024-02-15T13:39:39.107" v="533" actId="20577"/>
        <pc:sldMkLst>
          <pc:docMk/>
          <pc:sldMk cId="496015466" sldId="2145707928"/>
        </pc:sldMkLst>
        <pc:spChg chg="mod">
          <ac:chgData name="Iris Minnema" userId="S::iris@happiness-anywhere.com::5cff94b1-6c0b-4c1f-a712-473b84d89636" providerId="AD" clId="Web-{2241B70F-52D9-114F-9685-A00E61590079}" dt="2024-02-15T13:39:39.107" v="533" actId="20577"/>
          <ac:spMkLst>
            <pc:docMk/>
            <pc:sldMk cId="496015466" sldId="2145707928"/>
            <ac:spMk id="10" creationId="{3F229326-5CDE-9649-B18A-A8D6F0BC32EA}"/>
          </ac:spMkLst>
        </pc:spChg>
      </pc:sldChg>
      <pc:sldChg chg="modSp">
        <pc:chgData name="Iris Minnema" userId="S::iris@happiness-anywhere.com::5cff94b1-6c0b-4c1f-a712-473b84d89636" providerId="AD" clId="Web-{2241B70F-52D9-114F-9685-A00E61590079}" dt="2024-02-15T13:49:34.688" v="847" actId="20577"/>
        <pc:sldMkLst>
          <pc:docMk/>
          <pc:sldMk cId="1452127213" sldId="2145707937"/>
        </pc:sldMkLst>
        <pc:spChg chg="mod">
          <ac:chgData name="Iris Minnema" userId="S::iris@happiness-anywhere.com::5cff94b1-6c0b-4c1f-a712-473b84d89636" providerId="AD" clId="Web-{2241B70F-52D9-114F-9685-A00E61590079}" dt="2024-02-15T13:49:34.688" v="847" actId="20577"/>
          <ac:spMkLst>
            <pc:docMk/>
            <pc:sldMk cId="1452127213" sldId="2145707937"/>
            <ac:spMk id="12" creationId="{4C47337D-A5F5-0C7E-B5CE-73F7CC38C1EE}"/>
          </ac:spMkLst>
        </pc:spChg>
      </pc:sldChg>
      <pc:sldChg chg="addSp delSp modSp">
        <pc:chgData name="Iris Minnema" userId="S::iris@happiness-anywhere.com::5cff94b1-6c0b-4c1f-a712-473b84d89636" providerId="AD" clId="Web-{2241B70F-52D9-114F-9685-A00E61590079}" dt="2024-02-15T13:50:08.049" v="856" actId="20577"/>
        <pc:sldMkLst>
          <pc:docMk/>
          <pc:sldMk cId="1212159438" sldId="2145707938"/>
        </pc:sldMkLst>
        <pc:spChg chg="add mod">
          <ac:chgData name="Iris Minnema" userId="S::iris@happiness-anywhere.com::5cff94b1-6c0b-4c1f-a712-473b84d89636" providerId="AD" clId="Web-{2241B70F-52D9-114F-9685-A00E61590079}" dt="2024-02-15T13:50:08.049" v="856" actId="20577"/>
          <ac:spMkLst>
            <pc:docMk/>
            <pc:sldMk cId="1212159438" sldId="2145707938"/>
            <ac:spMk id="7" creationId="{7D11AA25-0D4D-806B-7135-115450EBDBD7}"/>
          </ac:spMkLst>
        </pc:spChg>
        <pc:spChg chg="del">
          <ac:chgData name="Iris Minnema" userId="S::iris@happiness-anywhere.com::5cff94b1-6c0b-4c1f-a712-473b84d89636" providerId="AD" clId="Web-{2241B70F-52D9-114F-9685-A00E61590079}" dt="2024-02-15T13:49:53.892" v="848"/>
          <ac:spMkLst>
            <pc:docMk/>
            <pc:sldMk cId="1212159438" sldId="2145707938"/>
            <ac:spMk id="12" creationId="{4C47337D-A5F5-0C7E-B5CE-73F7CC38C1EE}"/>
          </ac:spMkLst>
        </pc:spChg>
      </pc:sldChg>
      <pc:sldChg chg="modSp">
        <pc:chgData name="Iris Minnema" userId="S::iris@happiness-anywhere.com::5cff94b1-6c0b-4c1f-a712-473b84d89636" providerId="AD" clId="Web-{2241B70F-52D9-114F-9685-A00E61590079}" dt="2024-02-15T13:50:34.362" v="867" actId="1076"/>
        <pc:sldMkLst>
          <pc:docMk/>
          <pc:sldMk cId="3391162473" sldId="2145707939"/>
        </pc:sldMkLst>
        <pc:spChg chg="mod">
          <ac:chgData name="Iris Minnema" userId="S::iris@happiness-anywhere.com::5cff94b1-6c0b-4c1f-a712-473b84d89636" providerId="AD" clId="Web-{2241B70F-52D9-114F-9685-A00E61590079}" dt="2024-02-15T13:50:34.362" v="867" actId="1076"/>
          <ac:spMkLst>
            <pc:docMk/>
            <pc:sldMk cId="3391162473" sldId="2145707939"/>
            <ac:spMk id="6" creationId="{A1A47FBD-12F4-8A08-8039-7E6465BD3298}"/>
          </ac:spMkLst>
        </pc:spChg>
      </pc:sldChg>
      <pc:sldChg chg="modSp">
        <pc:chgData name="Iris Minnema" userId="S::iris@happiness-anywhere.com::5cff94b1-6c0b-4c1f-a712-473b84d89636" providerId="AD" clId="Web-{2241B70F-52D9-114F-9685-A00E61590079}" dt="2024-02-15T13:56:16.716" v="936" actId="20577"/>
        <pc:sldMkLst>
          <pc:docMk/>
          <pc:sldMk cId="3853740128" sldId="2146849007"/>
        </pc:sldMkLst>
        <pc:spChg chg="mod">
          <ac:chgData name="Iris Minnema" userId="S::iris@happiness-anywhere.com::5cff94b1-6c0b-4c1f-a712-473b84d89636" providerId="AD" clId="Web-{2241B70F-52D9-114F-9685-A00E61590079}" dt="2024-02-15T13:56:16.716" v="936" actId="20577"/>
          <ac:spMkLst>
            <pc:docMk/>
            <pc:sldMk cId="3853740128" sldId="2146849007"/>
            <ac:spMk id="6" creationId="{BDB230E4-EFC8-CA0A-80AF-90F89D8BA816}"/>
          </ac:spMkLst>
        </pc:spChg>
        <pc:spChg chg="mod">
          <ac:chgData name="Iris Minnema" userId="S::iris@happiness-anywhere.com::5cff94b1-6c0b-4c1f-a712-473b84d89636" providerId="AD" clId="Web-{2241B70F-52D9-114F-9685-A00E61590079}" dt="2024-02-15T13:31:37.890" v="8" actId="20577"/>
          <ac:spMkLst>
            <pc:docMk/>
            <pc:sldMk cId="3853740128" sldId="2146849007"/>
            <ac:spMk id="7" creationId="{6C3F5200-92C0-4A53-3BC4-0278C3118800}"/>
          </ac:spMkLst>
        </pc:spChg>
      </pc:sldChg>
      <pc:sldChg chg="modSp">
        <pc:chgData name="Iris Minnema" userId="S::iris@happiness-anywhere.com::5cff94b1-6c0b-4c1f-a712-473b84d89636" providerId="AD" clId="Web-{2241B70F-52D9-114F-9685-A00E61590079}" dt="2024-02-15T13:52:25.631" v="904" actId="20577"/>
        <pc:sldMkLst>
          <pc:docMk/>
          <pc:sldMk cId="2228196799" sldId="2146849813"/>
        </pc:sldMkLst>
        <pc:spChg chg="mod">
          <ac:chgData name="Iris Minnema" userId="S::iris@happiness-anywhere.com::5cff94b1-6c0b-4c1f-a712-473b84d89636" providerId="AD" clId="Web-{2241B70F-52D9-114F-9685-A00E61590079}" dt="2024-02-15T13:52:25.631" v="904" actId="20577"/>
          <ac:spMkLst>
            <pc:docMk/>
            <pc:sldMk cId="2228196799" sldId="2146849813"/>
            <ac:spMk id="4" creationId="{9F4D29FA-A355-8271-6889-AB49AFC6EB12}"/>
          </ac:spMkLst>
        </pc:spChg>
      </pc:sldChg>
      <pc:sldChg chg="modSp">
        <pc:chgData name="Iris Minnema" userId="S::iris@happiness-anywhere.com::5cff94b1-6c0b-4c1f-a712-473b84d89636" providerId="AD" clId="Web-{2241B70F-52D9-114F-9685-A00E61590079}" dt="2024-02-15T13:52:19.849" v="897" actId="20577"/>
        <pc:sldMkLst>
          <pc:docMk/>
          <pc:sldMk cId="3806750613" sldId="2146849814"/>
        </pc:sldMkLst>
        <pc:spChg chg="mod">
          <ac:chgData name="Iris Minnema" userId="S::iris@happiness-anywhere.com::5cff94b1-6c0b-4c1f-a712-473b84d89636" providerId="AD" clId="Web-{2241B70F-52D9-114F-9685-A00E61590079}" dt="2024-02-15T13:52:19.849" v="897" actId="20577"/>
          <ac:spMkLst>
            <pc:docMk/>
            <pc:sldMk cId="3806750613" sldId="2146849814"/>
            <ac:spMk id="4" creationId="{83D2E820-0A01-DB11-80FC-269609285745}"/>
          </ac:spMkLst>
        </pc:spChg>
      </pc:sldChg>
      <pc:sldChg chg="modSp">
        <pc:chgData name="Iris Minnema" userId="S::iris@happiness-anywhere.com::5cff94b1-6c0b-4c1f-a712-473b84d89636" providerId="AD" clId="Web-{2241B70F-52D9-114F-9685-A00E61590079}" dt="2024-02-15T13:35:27.662" v="197" actId="14100"/>
        <pc:sldMkLst>
          <pc:docMk/>
          <pc:sldMk cId="2625471115" sldId="2147373261"/>
        </pc:sldMkLst>
        <pc:spChg chg="mod">
          <ac:chgData name="Iris Minnema" userId="S::iris@happiness-anywhere.com::5cff94b1-6c0b-4c1f-a712-473b84d89636" providerId="AD" clId="Web-{2241B70F-52D9-114F-9685-A00E61590079}" dt="2024-02-15T13:32:13.078" v="26" actId="20577"/>
          <ac:spMkLst>
            <pc:docMk/>
            <pc:sldMk cId="2625471115" sldId="2147373261"/>
            <ac:spMk id="2" creationId="{5BF70966-679A-B04E-F58C-15635832311C}"/>
          </ac:spMkLst>
        </pc:spChg>
        <pc:cxnChg chg="mod">
          <ac:chgData name="Iris Minnema" userId="S::iris@happiness-anywhere.com::5cff94b1-6c0b-4c1f-a712-473b84d89636" providerId="AD" clId="Web-{2241B70F-52D9-114F-9685-A00E61590079}" dt="2024-02-15T13:35:27.662" v="197" actId="14100"/>
          <ac:cxnSpMkLst>
            <pc:docMk/>
            <pc:sldMk cId="2625471115" sldId="2147373261"/>
            <ac:cxnSpMk id="3" creationId="{AF64E708-B6D2-3C82-392D-F467D0F4FD85}"/>
          </ac:cxnSpMkLst>
        </pc:cxnChg>
      </pc:sldChg>
      <pc:sldChg chg="modSp">
        <pc:chgData name="Iris Minnema" userId="S::iris@happiness-anywhere.com::5cff94b1-6c0b-4c1f-a712-473b84d89636" providerId="AD" clId="Web-{2241B70F-52D9-114F-9685-A00E61590079}" dt="2024-02-15T13:55:25.371" v="932" actId="20577"/>
        <pc:sldMkLst>
          <pc:docMk/>
          <pc:sldMk cId="2729278528" sldId="2147373276"/>
        </pc:sldMkLst>
        <pc:spChg chg="mod">
          <ac:chgData name="Iris Minnema" userId="S::iris@happiness-anywhere.com::5cff94b1-6c0b-4c1f-a712-473b84d89636" providerId="AD" clId="Web-{2241B70F-52D9-114F-9685-A00E61590079}" dt="2024-02-15T13:55:25.371" v="932" actId="20577"/>
          <ac:spMkLst>
            <pc:docMk/>
            <pc:sldMk cId="2729278528" sldId="2147373276"/>
            <ac:spMk id="3" creationId="{479BF544-110C-B2FE-EBA6-0D2BC1E5F373}"/>
          </ac:spMkLst>
        </pc:spChg>
      </pc:sldChg>
      <pc:sldChg chg="modSp">
        <pc:chgData name="Iris Minnema" userId="S::iris@happiness-anywhere.com::5cff94b1-6c0b-4c1f-a712-473b84d89636" providerId="AD" clId="Web-{2241B70F-52D9-114F-9685-A00E61590079}" dt="2024-02-15T13:38:19.558" v="524" actId="1076"/>
        <pc:sldMkLst>
          <pc:docMk/>
          <pc:sldMk cId="4098090407" sldId="2147373278"/>
        </pc:sldMkLst>
        <pc:spChg chg="mod">
          <ac:chgData name="Iris Minnema" userId="S::iris@happiness-anywhere.com::5cff94b1-6c0b-4c1f-a712-473b84d89636" providerId="AD" clId="Web-{2241B70F-52D9-114F-9685-A00E61590079}" dt="2024-02-15T13:32:23.875" v="35" actId="20577"/>
          <ac:spMkLst>
            <pc:docMk/>
            <pc:sldMk cId="4098090407" sldId="2147373278"/>
            <ac:spMk id="2" creationId="{5BF70966-679A-B04E-F58C-15635832311C}"/>
          </ac:spMkLst>
        </pc:spChg>
        <pc:graphicFrameChg chg="mod modGraphic">
          <ac:chgData name="Iris Minnema" userId="S::iris@happiness-anywhere.com::5cff94b1-6c0b-4c1f-a712-473b84d89636" providerId="AD" clId="Web-{2241B70F-52D9-114F-9685-A00E61590079}" dt="2024-02-15T13:38:19.558" v="524" actId="1076"/>
          <ac:graphicFrameMkLst>
            <pc:docMk/>
            <pc:sldMk cId="4098090407" sldId="2147373278"/>
            <ac:graphicFrameMk id="5" creationId="{ED0D0F3B-022C-3A9C-BB22-459378F865C6}"/>
          </ac:graphicFrameMkLst>
        </pc:graphicFrameChg>
        <pc:cxnChg chg="mod">
          <ac:chgData name="Iris Minnema" userId="S::iris@happiness-anywhere.com::5cff94b1-6c0b-4c1f-a712-473b84d89636" providerId="AD" clId="Web-{2241B70F-52D9-114F-9685-A00E61590079}" dt="2024-02-15T13:34:56.849" v="196" actId="14100"/>
          <ac:cxnSpMkLst>
            <pc:docMk/>
            <pc:sldMk cId="4098090407" sldId="2147373278"/>
            <ac:cxnSpMk id="3" creationId="{AF64E708-B6D2-3C82-392D-F467D0F4FD85}"/>
          </ac:cxnSpMkLst>
        </pc:cxnChg>
      </pc:sldChg>
    </pc:docChg>
  </pc:docChgLst>
  <pc:docChgLst>
    <pc:chgData name="Mattias Vermeire" userId="afe8c86d-d01e-472e-9838-e047f8f3f33b" providerId="ADAL" clId="{ED405823-9A19-A940-BF7E-5438A0163F27}"/>
    <pc:docChg chg="undo custSel modSld">
      <pc:chgData name="Mattias Vermeire" userId="afe8c86d-d01e-472e-9838-e047f8f3f33b" providerId="ADAL" clId="{ED405823-9A19-A940-BF7E-5438A0163F27}" dt="2024-02-15T10:25:44.789" v="253" actId="20577"/>
      <pc:docMkLst>
        <pc:docMk/>
      </pc:docMkLst>
      <pc:sldChg chg="modSp mod">
        <pc:chgData name="Mattias Vermeire" userId="afe8c86d-d01e-472e-9838-e047f8f3f33b" providerId="ADAL" clId="{ED405823-9A19-A940-BF7E-5438A0163F27}" dt="2024-02-15T09:27:03.806" v="243" actId="2711"/>
        <pc:sldMkLst>
          <pc:docMk/>
          <pc:sldMk cId="496015466" sldId="2145707928"/>
        </pc:sldMkLst>
        <pc:spChg chg="mod">
          <ac:chgData name="Mattias Vermeire" userId="afe8c86d-d01e-472e-9838-e047f8f3f33b" providerId="ADAL" clId="{ED405823-9A19-A940-BF7E-5438A0163F27}" dt="2024-02-15T09:26:52.583" v="242" actId="2711"/>
          <ac:spMkLst>
            <pc:docMk/>
            <pc:sldMk cId="496015466" sldId="2145707928"/>
            <ac:spMk id="2" creationId="{5A3CF6C9-2A16-CB4E-A527-A661B8F09B59}"/>
          </ac:spMkLst>
        </pc:spChg>
        <pc:spChg chg="mod">
          <ac:chgData name="Mattias Vermeire" userId="afe8c86d-d01e-472e-9838-e047f8f3f33b" providerId="ADAL" clId="{ED405823-9A19-A940-BF7E-5438A0163F27}" dt="2024-02-15T09:27:03.806" v="243" actId="2711"/>
          <ac:spMkLst>
            <pc:docMk/>
            <pc:sldMk cId="496015466" sldId="2145707928"/>
            <ac:spMk id="4" creationId="{BB1CE3C0-BB04-B04F-B05A-7B156B624400}"/>
          </ac:spMkLst>
        </pc:spChg>
        <pc:spChg chg="mod">
          <ac:chgData name="Mattias Vermeire" userId="afe8c86d-d01e-472e-9838-e047f8f3f33b" providerId="ADAL" clId="{ED405823-9A19-A940-BF7E-5438A0163F27}" dt="2024-02-15T09:27:03.806" v="243" actId="2711"/>
          <ac:spMkLst>
            <pc:docMk/>
            <pc:sldMk cId="496015466" sldId="2145707928"/>
            <ac:spMk id="5" creationId="{27AC045C-CC50-394B-A108-56FC2F578A50}"/>
          </ac:spMkLst>
        </pc:spChg>
        <pc:spChg chg="mod">
          <ac:chgData name="Mattias Vermeire" userId="afe8c86d-d01e-472e-9838-e047f8f3f33b" providerId="ADAL" clId="{ED405823-9A19-A940-BF7E-5438A0163F27}" dt="2024-02-15T09:27:03.806" v="243" actId="2711"/>
          <ac:spMkLst>
            <pc:docMk/>
            <pc:sldMk cId="496015466" sldId="2145707928"/>
            <ac:spMk id="6" creationId="{D149E25F-BE89-A445-8A70-54577335A3FA}"/>
          </ac:spMkLst>
        </pc:spChg>
        <pc:spChg chg="mod">
          <ac:chgData name="Mattias Vermeire" userId="afe8c86d-d01e-472e-9838-e047f8f3f33b" providerId="ADAL" clId="{ED405823-9A19-A940-BF7E-5438A0163F27}" dt="2024-02-15T09:27:03.806" v="243" actId="2711"/>
          <ac:spMkLst>
            <pc:docMk/>
            <pc:sldMk cId="496015466" sldId="2145707928"/>
            <ac:spMk id="7" creationId="{DF9464E5-44C1-154A-AE54-56924E4A00F2}"/>
          </ac:spMkLst>
        </pc:spChg>
        <pc:spChg chg="mod">
          <ac:chgData name="Mattias Vermeire" userId="afe8c86d-d01e-472e-9838-e047f8f3f33b" providerId="ADAL" clId="{ED405823-9A19-A940-BF7E-5438A0163F27}" dt="2024-02-15T09:27:03.806" v="243" actId="2711"/>
          <ac:spMkLst>
            <pc:docMk/>
            <pc:sldMk cId="496015466" sldId="2145707928"/>
            <ac:spMk id="8" creationId="{9A922998-5C59-9A4F-917D-F67C24A599B1}"/>
          </ac:spMkLst>
        </pc:spChg>
        <pc:spChg chg="mod">
          <ac:chgData name="Mattias Vermeire" userId="afe8c86d-d01e-472e-9838-e047f8f3f33b" providerId="ADAL" clId="{ED405823-9A19-A940-BF7E-5438A0163F27}" dt="2024-02-15T09:27:03.806" v="243" actId="2711"/>
          <ac:spMkLst>
            <pc:docMk/>
            <pc:sldMk cId="496015466" sldId="2145707928"/>
            <ac:spMk id="9" creationId="{3FF98D03-B32F-AC46-8E8A-CBA9779D79E5}"/>
          </ac:spMkLst>
        </pc:spChg>
        <pc:spChg chg="mod">
          <ac:chgData name="Mattias Vermeire" userId="afe8c86d-d01e-472e-9838-e047f8f3f33b" providerId="ADAL" clId="{ED405823-9A19-A940-BF7E-5438A0163F27}" dt="2024-02-15T09:27:03.806" v="243" actId="2711"/>
          <ac:spMkLst>
            <pc:docMk/>
            <pc:sldMk cId="496015466" sldId="2145707928"/>
            <ac:spMk id="10" creationId="{3F229326-5CDE-9649-B18A-A8D6F0BC32EA}"/>
          </ac:spMkLst>
        </pc:spChg>
        <pc:spChg chg="mod">
          <ac:chgData name="Mattias Vermeire" userId="afe8c86d-d01e-472e-9838-e047f8f3f33b" providerId="ADAL" clId="{ED405823-9A19-A940-BF7E-5438A0163F27}" dt="2024-02-15T09:27:03.806" v="243" actId="2711"/>
          <ac:spMkLst>
            <pc:docMk/>
            <pc:sldMk cId="496015466" sldId="2145707928"/>
            <ac:spMk id="11" creationId="{4787DB71-EECA-4C4D-90B1-7B684425DBA9}"/>
          </ac:spMkLst>
        </pc:spChg>
        <pc:spChg chg="mod">
          <ac:chgData name="Mattias Vermeire" userId="afe8c86d-d01e-472e-9838-e047f8f3f33b" providerId="ADAL" clId="{ED405823-9A19-A940-BF7E-5438A0163F27}" dt="2024-02-15T09:27:03.806" v="243" actId="2711"/>
          <ac:spMkLst>
            <pc:docMk/>
            <pc:sldMk cId="496015466" sldId="2145707928"/>
            <ac:spMk id="12" creationId="{1CB92C5A-4432-7644-8BFA-AE5A9E0913E2}"/>
          </ac:spMkLst>
        </pc:spChg>
      </pc:sldChg>
      <pc:sldChg chg="modSp mod">
        <pc:chgData name="Mattias Vermeire" userId="afe8c86d-d01e-472e-9838-e047f8f3f33b" providerId="ADAL" clId="{ED405823-9A19-A940-BF7E-5438A0163F27}" dt="2024-02-14T21:50:33.870" v="98" actId="14100"/>
        <pc:sldMkLst>
          <pc:docMk/>
          <pc:sldMk cId="1452127213" sldId="2145707937"/>
        </pc:sldMkLst>
        <pc:spChg chg="mod">
          <ac:chgData name="Mattias Vermeire" userId="afe8c86d-d01e-472e-9838-e047f8f3f33b" providerId="ADAL" clId="{ED405823-9A19-A940-BF7E-5438A0163F27}" dt="2024-02-14T21:49:57.670" v="96" actId="2711"/>
          <ac:spMkLst>
            <pc:docMk/>
            <pc:sldMk cId="1452127213" sldId="2145707937"/>
            <ac:spMk id="2" creationId="{AE544F9B-EB11-C09E-7F66-5ACA37E5FEF8}"/>
          </ac:spMkLst>
        </pc:spChg>
        <pc:spChg chg="mod">
          <ac:chgData name="Mattias Vermeire" userId="afe8c86d-d01e-472e-9838-e047f8f3f33b" providerId="ADAL" clId="{ED405823-9A19-A940-BF7E-5438A0163F27}" dt="2024-02-14T21:49:57.670" v="96" actId="2711"/>
          <ac:spMkLst>
            <pc:docMk/>
            <pc:sldMk cId="1452127213" sldId="2145707937"/>
            <ac:spMk id="4" creationId="{08CC71B1-EF61-5341-080B-8119A61CA33E}"/>
          </ac:spMkLst>
        </pc:spChg>
        <pc:spChg chg="mod">
          <ac:chgData name="Mattias Vermeire" userId="afe8c86d-d01e-472e-9838-e047f8f3f33b" providerId="ADAL" clId="{ED405823-9A19-A940-BF7E-5438A0163F27}" dt="2024-02-14T21:49:57.670" v="96" actId="2711"/>
          <ac:spMkLst>
            <pc:docMk/>
            <pc:sldMk cId="1452127213" sldId="2145707937"/>
            <ac:spMk id="5" creationId="{23296222-F7A6-B066-453A-02B3501EA073}"/>
          </ac:spMkLst>
        </pc:spChg>
        <pc:spChg chg="mod">
          <ac:chgData name="Mattias Vermeire" userId="afe8c86d-d01e-472e-9838-e047f8f3f33b" providerId="ADAL" clId="{ED405823-9A19-A940-BF7E-5438A0163F27}" dt="2024-02-14T21:49:57.670" v="96" actId="2711"/>
          <ac:spMkLst>
            <pc:docMk/>
            <pc:sldMk cId="1452127213" sldId="2145707937"/>
            <ac:spMk id="7" creationId="{B8EB4B87-A029-990C-98E3-FA0736AB8EC7}"/>
          </ac:spMkLst>
        </pc:spChg>
        <pc:spChg chg="mod">
          <ac:chgData name="Mattias Vermeire" userId="afe8c86d-d01e-472e-9838-e047f8f3f33b" providerId="ADAL" clId="{ED405823-9A19-A940-BF7E-5438A0163F27}" dt="2024-02-14T21:49:57.670" v="96" actId="2711"/>
          <ac:spMkLst>
            <pc:docMk/>
            <pc:sldMk cId="1452127213" sldId="2145707937"/>
            <ac:spMk id="8" creationId="{5EE29D63-012F-F5C3-B78B-95C01AA4BA16}"/>
          </ac:spMkLst>
        </pc:spChg>
        <pc:spChg chg="mod">
          <ac:chgData name="Mattias Vermeire" userId="afe8c86d-d01e-472e-9838-e047f8f3f33b" providerId="ADAL" clId="{ED405823-9A19-A940-BF7E-5438A0163F27}" dt="2024-02-14T21:50:33.870" v="98" actId="14100"/>
          <ac:spMkLst>
            <pc:docMk/>
            <pc:sldMk cId="1452127213" sldId="2145707937"/>
            <ac:spMk id="12" creationId="{4C47337D-A5F5-0C7E-B5CE-73F7CC38C1EE}"/>
          </ac:spMkLst>
        </pc:spChg>
        <pc:spChg chg="mod">
          <ac:chgData name="Mattias Vermeire" userId="afe8c86d-d01e-472e-9838-e047f8f3f33b" providerId="ADAL" clId="{ED405823-9A19-A940-BF7E-5438A0163F27}" dt="2024-02-14T21:49:57.670" v="96" actId="2711"/>
          <ac:spMkLst>
            <pc:docMk/>
            <pc:sldMk cId="1452127213" sldId="2145707937"/>
            <ac:spMk id="14" creationId="{4180CB5B-83A3-2664-5C76-355A35423BFA}"/>
          </ac:spMkLst>
        </pc:spChg>
        <pc:spChg chg="mod">
          <ac:chgData name="Mattias Vermeire" userId="afe8c86d-d01e-472e-9838-e047f8f3f33b" providerId="ADAL" clId="{ED405823-9A19-A940-BF7E-5438A0163F27}" dt="2024-02-14T21:49:57.670" v="96" actId="2711"/>
          <ac:spMkLst>
            <pc:docMk/>
            <pc:sldMk cId="1452127213" sldId="2145707937"/>
            <ac:spMk id="16" creationId="{DACEC355-50AE-CE22-5777-31A9BDC1E451}"/>
          </ac:spMkLst>
        </pc:spChg>
      </pc:sldChg>
      <pc:sldChg chg="modSp mod">
        <pc:chgData name="Mattias Vermeire" userId="afe8c86d-d01e-472e-9838-e047f8f3f33b" providerId="ADAL" clId="{ED405823-9A19-A940-BF7E-5438A0163F27}" dt="2024-02-14T21:54:01.068" v="118" actId="1038"/>
        <pc:sldMkLst>
          <pc:docMk/>
          <pc:sldMk cId="1212159438" sldId="2145707938"/>
        </pc:sldMkLst>
        <pc:spChg chg="mod">
          <ac:chgData name="Mattias Vermeire" userId="afe8c86d-d01e-472e-9838-e047f8f3f33b" providerId="ADAL" clId="{ED405823-9A19-A940-BF7E-5438A0163F27}" dt="2024-02-14T21:51:29.272" v="102" actId="2711"/>
          <ac:spMkLst>
            <pc:docMk/>
            <pc:sldMk cId="1212159438" sldId="2145707938"/>
            <ac:spMk id="4" creationId="{08CC71B1-EF61-5341-080B-8119A61CA33E}"/>
          </ac:spMkLst>
        </pc:spChg>
        <pc:spChg chg="mod">
          <ac:chgData name="Mattias Vermeire" userId="afe8c86d-d01e-472e-9838-e047f8f3f33b" providerId="ADAL" clId="{ED405823-9A19-A940-BF7E-5438A0163F27}" dt="2024-02-14T21:51:29.272" v="102" actId="2711"/>
          <ac:spMkLst>
            <pc:docMk/>
            <pc:sldMk cId="1212159438" sldId="2145707938"/>
            <ac:spMk id="5" creationId="{23296222-F7A6-B066-453A-02B3501EA073}"/>
          </ac:spMkLst>
        </pc:spChg>
        <pc:spChg chg="mod">
          <ac:chgData name="Mattias Vermeire" userId="afe8c86d-d01e-472e-9838-e047f8f3f33b" providerId="ADAL" clId="{ED405823-9A19-A940-BF7E-5438A0163F27}" dt="2024-02-14T21:51:29.272" v="102" actId="2711"/>
          <ac:spMkLst>
            <pc:docMk/>
            <pc:sldMk cId="1212159438" sldId="2145707938"/>
            <ac:spMk id="8" creationId="{5EE29D63-012F-F5C3-B78B-95C01AA4BA16}"/>
          </ac:spMkLst>
        </pc:spChg>
        <pc:spChg chg="mod">
          <ac:chgData name="Mattias Vermeire" userId="afe8c86d-d01e-472e-9838-e047f8f3f33b" providerId="ADAL" clId="{ED405823-9A19-A940-BF7E-5438A0163F27}" dt="2024-02-14T21:51:29.272" v="102" actId="2711"/>
          <ac:spMkLst>
            <pc:docMk/>
            <pc:sldMk cId="1212159438" sldId="2145707938"/>
            <ac:spMk id="10" creationId="{2BE79707-3CF2-53C4-A852-4ED103C2B7C2}"/>
          </ac:spMkLst>
        </pc:spChg>
        <pc:spChg chg="mod">
          <ac:chgData name="Mattias Vermeire" userId="afe8c86d-d01e-472e-9838-e047f8f3f33b" providerId="ADAL" clId="{ED405823-9A19-A940-BF7E-5438A0163F27}" dt="2024-02-14T21:51:29.272" v="102" actId="2711"/>
          <ac:spMkLst>
            <pc:docMk/>
            <pc:sldMk cId="1212159438" sldId="2145707938"/>
            <ac:spMk id="12" creationId="{4C47337D-A5F5-0C7E-B5CE-73F7CC38C1EE}"/>
          </ac:spMkLst>
        </pc:spChg>
        <pc:spChg chg="mod">
          <ac:chgData name="Mattias Vermeire" userId="afe8c86d-d01e-472e-9838-e047f8f3f33b" providerId="ADAL" clId="{ED405823-9A19-A940-BF7E-5438A0163F27}" dt="2024-02-14T21:54:01.068" v="118" actId="1038"/>
          <ac:spMkLst>
            <pc:docMk/>
            <pc:sldMk cId="1212159438" sldId="2145707938"/>
            <ac:spMk id="13" creationId="{064DDDCC-FEDC-A9DC-97CF-427D8AE1AEB6}"/>
          </ac:spMkLst>
        </pc:spChg>
        <pc:spChg chg="mod">
          <ac:chgData name="Mattias Vermeire" userId="afe8c86d-d01e-472e-9838-e047f8f3f33b" providerId="ADAL" clId="{ED405823-9A19-A940-BF7E-5438A0163F27}" dt="2024-02-14T21:51:29.272" v="102" actId="2711"/>
          <ac:spMkLst>
            <pc:docMk/>
            <pc:sldMk cId="1212159438" sldId="2145707938"/>
            <ac:spMk id="14" creationId="{4180CB5B-83A3-2664-5C76-355A35423BFA}"/>
          </ac:spMkLst>
        </pc:spChg>
        <pc:spChg chg="mod">
          <ac:chgData name="Mattias Vermeire" userId="afe8c86d-d01e-472e-9838-e047f8f3f33b" providerId="ADAL" clId="{ED405823-9A19-A940-BF7E-5438A0163F27}" dt="2024-02-14T21:51:29.272" v="102" actId="2711"/>
          <ac:spMkLst>
            <pc:docMk/>
            <pc:sldMk cId="1212159438" sldId="2145707938"/>
            <ac:spMk id="16" creationId="{DACEC355-50AE-CE22-5777-31A9BDC1E451}"/>
          </ac:spMkLst>
        </pc:spChg>
      </pc:sldChg>
      <pc:sldChg chg="modSp mod">
        <pc:chgData name="Mattias Vermeire" userId="afe8c86d-d01e-472e-9838-e047f8f3f33b" providerId="ADAL" clId="{ED405823-9A19-A940-BF7E-5438A0163F27}" dt="2024-02-14T21:54:13.381" v="133" actId="1038"/>
        <pc:sldMkLst>
          <pc:docMk/>
          <pc:sldMk cId="3391162473" sldId="2145707939"/>
        </pc:sldMkLst>
        <pc:spChg chg="mod">
          <ac:chgData name="Mattias Vermeire" userId="afe8c86d-d01e-472e-9838-e047f8f3f33b" providerId="ADAL" clId="{ED405823-9A19-A940-BF7E-5438A0163F27}" dt="2024-02-14T21:52:59.967" v="103" actId="2711"/>
          <ac:spMkLst>
            <pc:docMk/>
            <pc:sldMk cId="3391162473" sldId="2145707939"/>
            <ac:spMk id="4" creationId="{08CC71B1-EF61-5341-080B-8119A61CA33E}"/>
          </ac:spMkLst>
        </pc:spChg>
        <pc:spChg chg="mod">
          <ac:chgData name="Mattias Vermeire" userId="afe8c86d-d01e-472e-9838-e047f8f3f33b" providerId="ADAL" clId="{ED405823-9A19-A940-BF7E-5438A0163F27}" dt="2024-02-14T21:52:59.967" v="103" actId="2711"/>
          <ac:spMkLst>
            <pc:docMk/>
            <pc:sldMk cId="3391162473" sldId="2145707939"/>
            <ac:spMk id="5" creationId="{23296222-F7A6-B066-453A-02B3501EA073}"/>
          </ac:spMkLst>
        </pc:spChg>
        <pc:spChg chg="mod">
          <ac:chgData name="Mattias Vermeire" userId="afe8c86d-d01e-472e-9838-e047f8f3f33b" providerId="ADAL" clId="{ED405823-9A19-A940-BF7E-5438A0163F27}" dt="2024-02-14T21:52:59.967" v="103" actId="2711"/>
          <ac:spMkLst>
            <pc:docMk/>
            <pc:sldMk cId="3391162473" sldId="2145707939"/>
            <ac:spMk id="6" creationId="{A1A47FBD-12F4-8A08-8039-7E6465BD3298}"/>
          </ac:spMkLst>
        </pc:spChg>
        <pc:spChg chg="mod">
          <ac:chgData name="Mattias Vermeire" userId="afe8c86d-d01e-472e-9838-e047f8f3f33b" providerId="ADAL" clId="{ED405823-9A19-A940-BF7E-5438A0163F27}" dt="2024-02-14T21:52:59.967" v="103" actId="2711"/>
          <ac:spMkLst>
            <pc:docMk/>
            <pc:sldMk cId="3391162473" sldId="2145707939"/>
            <ac:spMk id="8" creationId="{5EE29D63-012F-F5C3-B78B-95C01AA4BA16}"/>
          </ac:spMkLst>
        </pc:spChg>
        <pc:spChg chg="mod">
          <ac:chgData name="Mattias Vermeire" userId="afe8c86d-d01e-472e-9838-e047f8f3f33b" providerId="ADAL" clId="{ED405823-9A19-A940-BF7E-5438A0163F27}" dt="2024-02-14T21:52:59.967" v="103" actId="2711"/>
          <ac:spMkLst>
            <pc:docMk/>
            <pc:sldMk cId="3391162473" sldId="2145707939"/>
            <ac:spMk id="13" creationId="{6936C853-28BC-4E22-47EA-1301FF7F1971}"/>
          </ac:spMkLst>
        </pc:spChg>
        <pc:spChg chg="mod">
          <ac:chgData name="Mattias Vermeire" userId="afe8c86d-d01e-472e-9838-e047f8f3f33b" providerId="ADAL" clId="{ED405823-9A19-A940-BF7E-5438A0163F27}" dt="2024-02-14T21:52:59.967" v="103" actId="2711"/>
          <ac:spMkLst>
            <pc:docMk/>
            <pc:sldMk cId="3391162473" sldId="2145707939"/>
            <ac:spMk id="14" creationId="{4180CB5B-83A3-2664-5C76-355A35423BFA}"/>
          </ac:spMkLst>
        </pc:spChg>
        <pc:spChg chg="mod">
          <ac:chgData name="Mattias Vermeire" userId="afe8c86d-d01e-472e-9838-e047f8f3f33b" providerId="ADAL" clId="{ED405823-9A19-A940-BF7E-5438A0163F27}" dt="2024-02-14T21:52:59.967" v="103" actId="2711"/>
          <ac:spMkLst>
            <pc:docMk/>
            <pc:sldMk cId="3391162473" sldId="2145707939"/>
            <ac:spMk id="16" creationId="{DACEC355-50AE-CE22-5777-31A9BDC1E451}"/>
          </ac:spMkLst>
        </pc:spChg>
        <pc:spChg chg="mod">
          <ac:chgData name="Mattias Vermeire" userId="afe8c86d-d01e-472e-9838-e047f8f3f33b" providerId="ADAL" clId="{ED405823-9A19-A940-BF7E-5438A0163F27}" dt="2024-02-14T21:54:13.381" v="133" actId="1038"/>
          <ac:spMkLst>
            <pc:docMk/>
            <pc:sldMk cId="3391162473" sldId="2145707939"/>
            <ac:spMk id="17" creationId="{33FF2737-B843-0319-E34A-1D83011C8427}"/>
          </ac:spMkLst>
        </pc:spChg>
      </pc:sldChg>
      <pc:sldChg chg="modSp mod">
        <pc:chgData name="Mattias Vermeire" userId="afe8c86d-d01e-472e-9838-e047f8f3f33b" providerId="ADAL" clId="{ED405823-9A19-A940-BF7E-5438A0163F27}" dt="2024-02-14T21:49:01.622" v="92" actId="1036"/>
        <pc:sldMkLst>
          <pc:docMk/>
          <pc:sldMk cId="3040644318" sldId="2146848759"/>
        </pc:sldMkLst>
        <pc:spChg chg="mod">
          <ac:chgData name="Mattias Vermeire" userId="afe8c86d-d01e-472e-9838-e047f8f3f33b" providerId="ADAL" clId="{ED405823-9A19-A940-BF7E-5438A0163F27}" dt="2024-02-14T21:44:38.846" v="17" actId="2711"/>
          <ac:spMkLst>
            <pc:docMk/>
            <pc:sldMk cId="3040644318" sldId="2146848759"/>
            <ac:spMk id="4" creationId="{2D8A6FAD-4801-D347-40D7-50416710E91B}"/>
          </ac:spMkLst>
        </pc:spChg>
        <pc:spChg chg="mod">
          <ac:chgData name="Mattias Vermeire" userId="afe8c86d-d01e-472e-9838-e047f8f3f33b" providerId="ADAL" clId="{ED405823-9A19-A940-BF7E-5438A0163F27}" dt="2024-02-14T21:44:38.846" v="17" actId="2711"/>
          <ac:spMkLst>
            <pc:docMk/>
            <pc:sldMk cId="3040644318" sldId="2146848759"/>
            <ac:spMk id="6" creationId="{2CAAFE8B-F1DF-4EFB-73CC-1119F0C8D671}"/>
          </ac:spMkLst>
        </pc:spChg>
        <pc:spChg chg="mod">
          <ac:chgData name="Mattias Vermeire" userId="afe8c86d-d01e-472e-9838-e047f8f3f33b" providerId="ADAL" clId="{ED405823-9A19-A940-BF7E-5438A0163F27}" dt="2024-02-14T21:47:31.739" v="35" actId="1076"/>
          <ac:spMkLst>
            <pc:docMk/>
            <pc:sldMk cId="3040644318" sldId="2146848759"/>
            <ac:spMk id="7" creationId="{BED52A9A-5722-6003-A147-66E84627C429}"/>
          </ac:spMkLst>
        </pc:spChg>
        <pc:spChg chg="mod">
          <ac:chgData name="Mattias Vermeire" userId="afe8c86d-d01e-472e-9838-e047f8f3f33b" providerId="ADAL" clId="{ED405823-9A19-A940-BF7E-5438A0163F27}" dt="2024-02-14T21:44:38.846" v="17" actId="2711"/>
          <ac:spMkLst>
            <pc:docMk/>
            <pc:sldMk cId="3040644318" sldId="2146848759"/>
            <ac:spMk id="8" creationId="{8D1867EB-DAA9-8C09-68C4-DF294693B1E7}"/>
          </ac:spMkLst>
        </pc:spChg>
        <pc:spChg chg="mod">
          <ac:chgData name="Mattias Vermeire" userId="afe8c86d-d01e-472e-9838-e047f8f3f33b" providerId="ADAL" clId="{ED405823-9A19-A940-BF7E-5438A0163F27}" dt="2024-02-14T21:44:38.846" v="17" actId="2711"/>
          <ac:spMkLst>
            <pc:docMk/>
            <pc:sldMk cId="3040644318" sldId="2146848759"/>
            <ac:spMk id="13" creationId="{FED6E178-D596-3426-6661-516392FEEB0A}"/>
          </ac:spMkLst>
        </pc:spChg>
        <pc:spChg chg="mod">
          <ac:chgData name="Mattias Vermeire" userId="afe8c86d-d01e-472e-9838-e047f8f3f33b" providerId="ADAL" clId="{ED405823-9A19-A940-BF7E-5438A0163F27}" dt="2024-02-14T21:44:38.846" v="17" actId="2711"/>
          <ac:spMkLst>
            <pc:docMk/>
            <pc:sldMk cId="3040644318" sldId="2146848759"/>
            <ac:spMk id="15" creationId="{54042CAC-E222-0330-57F5-06E3B6124C95}"/>
          </ac:spMkLst>
        </pc:spChg>
        <pc:spChg chg="mod">
          <ac:chgData name="Mattias Vermeire" userId="afe8c86d-d01e-472e-9838-e047f8f3f33b" providerId="ADAL" clId="{ED405823-9A19-A940-BF7E-5438A0163F27}" dt="2024-02-14T21:44:38.846" v="17" actId="2711"/>
          <ac:spMkLst>
            <pc:docMk/>
            <pc:sldMk cId="3040644318" sldId="2146848759"/>
            <ac:spMk id="21" creationId="{071238FB-1FA3-F026-2480-393245E25F1E}"/>
          </ac:spMkLst>
        </pc:spChg>
        <pc:spChg chg="mod">
          <ac:chgData name="Mattias Vermeire" userId="afe8c86d-d01e-472e-9838-e047f8f3f33b" providerId="ADAL" clId="{ED405823-9A19-A940-BF7E-5438A0163F27}" dt="2024-02-14T21:45:58.155" v="24" actId="1076"/>
          <ac:spMkLst>
            <pc:docMk/>
            <pc:sldMk cId="3040644318" sldId="2146848759"/>
            <ac:spMk id="24" creationId="{F670B4F3-46A0-11BD-2EB3-F7B262C51A26}"/>
          </ac:spMkLst>
        </pc:spChg>
        <pc:spChg chg="mod">
          <ac:chgData name="Mattias Vermeire" userId="afe8c86d-d01e-472e-9838-e047f8f3f33b" providerId="ADAL" clId="{ED405823-9A19-A940-BF7E-5438A0163F27}" dt="2024-02-14T21:44:38.846" v="17" actId="2711"/>
          <ac:spMkLst>
            <pc:docMk/>
            <pc:sldMk cId="3040644318" sldId="2146848759"/>
            <ac:spMk id="25" creationId="{D0246A02-A569-DA33-FF0B-CD6BD294BC48}"/>
          </ac:spMkLst>
        </pc:spChg>
        <pc:spChg chg="mod">
          <ac:chgData name="Mattias Vermeire" userId="afe8c86d-d01e-472e-9838-e047f8f3f33b" providerId="ADAL" clId="{ED405823-9A19-A940-BF7E-5438A0163F27}" dt="2024-02-14T21:44:38.846" v="17" actId="2711"/>
          <ac:spMkLst>
            <pc:docMk/>
            <pc:sldMk cId="3040644318" sldId="2146848759"/>
            <ac:spMk id="26" creationId="{94C5EE69-7490-DAE2-14E0-CF563B95DEC2}"/>
          </ac:spMkLst>
        </pc:spChg>
        <pc:spChg chg="mod">
          <ac:chgData name="Mattias Vermeire" userId="afe8c86d-d01e-472e-9838-e047f8f3f33b" providerId="ADAL" clId="{ED405823-9A19-A940-BF7E-5438A0163F27}" dt="2024-02-14T21:44:38.846" v="17" actId="2711"/>
          <ac:spMkLst>
            <pc:docMk/>
            <pc:sldMk cId="3040644318" sldId="2146848759"/>
            <ac:spMk id="27" creationId="{30F1E27E-92BE-96EF-EEB9-35A92015B732}"/>
          </ac:spMkLst>
        </pc:spChg>
        <pc:spChg chg="mod">
          <ac:chgData name="Mattias Vermeire" userId="afe8c86d-d01e-472e-9838-e047f8f3f33b" providerId="ADAL" clId="{ED405823-9A19-A940-BF7E-5438A0163F27}" dt="2024-02-14T21:47:17.722" v="33" actId="1076"/>
          <ac:spMkLst>
            <pc:docMk/>
            <pc:sldMk cId="3040644318" sldId="2146848759"/>
            <ac:spMk id="28" creationId="{2226D024-B91E-3C90-9476-62550497BAF3}"/>
          </ac:spMkLst>
        </pc:spChg>
        <pc:spChg chg="mod">
          <ac:chgData name="Mattias Vermeire" userId="afe8c86d-d01e-472e-9838-e047f8f3f33b" providerId="ADAL" clId="{ED405823-9A19-A940-BF7E-5438A0163F27}" dt="2024-02-14T21:45:04.756" v="20" actId="1076"/>
          <ac:spMkLst>
            <pc:docMk/>
            <pc:sldMk cId="3040644318" sldId="2146848759"/>
            <ac:spMk id="29" creationId="{53C8A68C-7A9A-50C2-93D0-6492661218BB}"/>
          </ac:spMkLst>
        </pc:spChg>
        <pc:spChg chg="mod">
          <ac:chgData name="Mattias Vermeire" userId="afe8c86d-d01e-472e-9838-e047f8f3f33b" providerId="ADAL" clId="{ED405823-9A19-A940-BF7E-5438A0163F27}" dt="2024-02-14T21:44:38.846" v="17" actId="2711"/>
          <ac:spMkLst>
            <pc:docMk/>
            <pc:sldMk cId="3040644318" sldId="2146848759"/>
            <ac:spMk id="31" creationId="{FB45426D-1144-3EA0-DD6E-550099BA7635}"/>
          </ac:spMkLst>
        </pc:spChg>
        <pc:spChg chg="mod">
          <ac:chgData name="Mattias Vermeire" userId="afe8c86d-d01e-472e-9838-e047f8f3f33b" providerId="ADAL" clId="{ED405823-9A19-A940-BF7E-5438A0163F27}" dt="2024-02-14T21:44:38.846" v="17" actId="2711"/>
          <ac:spMkLst>
            <pc:docMk/>
            <pc:sldMk cId="3040644318" sldId="2146848759"/>
            <ac:spMk id="32" creationId="{855FEBA8-67EA-6EEF-02B7-3C64BA973D6B}"/>
          </ac:spMkLst>
        </pc:spChg>
        <pc:spChg chg="mod">
          <ac:chgData name="Mattias Vermeire" userId="afe8c86d-d01e-472e-9838-e047f8f3f33b" providerId="ADAL" clId="{ED405823-9A19-A940-BF7E-5438A0163F27}" dt="2024-02-14T21:44:38.846" v="17" actId="2711"/>
          <ac:spMkLst>
            <pc:docMk/>
            <pc:sldMk cId="3040644318" sldId="2146848759"/>
            <ac:spMk id="33" creationId="{7D55F4B1-39E9-1126-FB5B-923786ED6BD4}"/>
          </ac:spMkLst>
        </pc:spChg>
        <pc:spChg chg="mod">
          <ac:chgData name="Mattias Vermeire" userId="afe8c86d-d01e-472e-9838-e047f8f3f33b" providerId="ADAL" clId="{ED405823-9A19-A940-BF7E-5438A0163F27}" dt="2024-02-14T21:44:38.846" v="17" actId="2711"/>
          <ac:spMkLst>
            <pc:docMk/>
            <pc:sldMk cId="3040644318" sldId="2146848759"/>
            <ac:spMk id="35" creationId="{AB36D7FC-4B48-B918-C9D3-97C08A444B0C}"/>
          </ac:spMkLst>
        </pc:spChg>
        <pc:spChg chg="mod">
          <ac:chgData name="Mattias Vermeire" userId="afe8c86d-d01e-472e-9838-e047f8f3f33b" providerId="ADAL" clId="{ED405823-9A19-A940-BF7E-5438A0163F27}" dt="2024-02-14T21:44:38.846" v="17" actId="2711"/>
          <ac:spMkLst>
            <pc:docMk/>
            <pc:sldMk cId="3040644318" sldId="2146848759"/>
            <ac:spMk id="38" creationId="{4EDAD7C4-D22C-9C4B-A69A-A96C97E26C60}"/>
          </ac:spMkLst>
        </pc:spChg>
        <pc:spChg chg="mod">
          <ac:chgData name="Mattias Vermeire" userId="afe8c86d-d01e-472e-9838-e047f8f3f33b" providerId="ADAL" clId="{ED405823-9A19-A940-BF7E-5438A0163F27}" dt="2024-02-14T21:44:38.846" v="17" actId="2711"/>
          <ac:spMkLst>
            <pc:docMk/>
            <pc:sldMk cId="3040644318" sldId="2146848759"/>
            <ac:spMk id="43" creationId="{B3C126C1-003E-C46E-E2FD-EE36EBE8C7A0}"/>
          </ac:spMkLst>
        </pc:spChg>
        <pc:spChg chg="mod">
          <ac:chgData name="Mattias Vermeire" userId="afe8c86d-d01e-472e-9838-e047f8f3f33b" providerId="ADAL" clId="{ED405823-9A19-A940-BF7E-5438A0163F27}" dt="2024-02-14T21:47:41.996" v="49" actId="1037"/>
          <ac:spMkLst>
            <pc:docMk/>
            <pc:sldMk cId="3040644318" sldId="2146848759"/>
            <ac:spMk id="45" creationId="{A6E0C83D-40CB-5F03-87BC-AC33EA391AA4}"/>
          </ac:spMkLst>
        </pc:spChg>
        <pc:spChg chg="mod">
          <ac:chgData name="Mattias Vermeire" userId="afe8c86d-d01e-472e-9838-e047f8f3f33b" providerId="ADAL" clId="{ED405823-9A19-A940-BF7E-5438A0163F27}" dt="2024-02-14T21:47:41.996" v="49" actId="1037"/>
          <ac:spMkLst>
            <pc:docMk/>
            <pc:sldMk cId="3040644318" sldId="2146848759"/>
            <ac:spMk id="47" creationId="{FC762ECD-F80A-3233-1110-F925E4E2C7F4}"/>
          </ac:spMkLst>
        </pc:spChg>
        <pc:spChg chg="mod">
          <ac:chgData name="Mattias Vermeire" userId="afe8c86d-d01e-472e-9838-e047f8f3f33b" providerId="ADAL" clId="{ED405823-9A19-A940-BF7E-5438A0163F27}" dt="2024-02-14T21:45:52.644" v="23" actId="1076"/>
          <ac:spMkLst>
            <pc:docMk/>
            <pc:sldMk cId="3040644318" sldId="2146848759"/>
            <ac:spMk id="48" creationId="{403B3CCD-7372-9F52-CBA8-01AE370E5F98}"/>
          </ac:spMkLst>
        </pc:spChg>
        <pc:spChg chg="mod">
          <ac:chgData name="Mattias Vermeire" userId="afe8c86d-d01e-472e-9838-e047f8f3f33b" providerId="ADAL" clId="{ED405823-9A19-A940-BF7E-5438A0163F27}" dt="2024-02-14T21:47:46.154" v="57" actId="1037"/>
          <ac:spMkLst>
            <pc:docMk/>
            <pc:sldMk cId="3040644318" sldId="2146848759"/>
            <ac:spMk id="49" creationId="{07CC2DC4-E98D-8F47-D1F0-B49A102B3A2D}"/>
          </ac:spMkLst>
        </pc:spChg>
        <pc:spChg chg="mod">
          <ac:chgData name="Mattias Vermeire" userId="afe8c86d-d01e-472e-9838-e047f8f3f33b" providerId="ADAL" clId="{ED405823-9A19-A940-BF7E-5438A0163F27}" dt="2024-02-14T21:47:52.109" v="61" actId="1037"/>
          <ac:spMkLst>
            <pc:docMk/>
            <pc:sldMk cId="3040644318" sldId="2146848759"/>
            <ac:spMk id="50" creationId="{AFBFAC81-6C2C-37D8-7293-270163ACF08D}"/>
          </ac:spMkLst>
        </pc:spChg>
        <pc:spChg chg="mod">
          <ac:chgData name="Mattias Vermeire" userId="afe8c86d-d01e-472e-9838-e047f8f3f33b" providerId="ADAL" clId="{ED405823-9A19-A940-BF7E-5438A0163F27}" dt="2024-02-14T21:47:46.154" v="57" actId="1037"/>
          <ac:spMkLst>
            <pc:docMk/>
            <pc:sldMk cId="3040644318" sldId="2146848759"/>
            <ac:spMk id="52" creationId="{72899A51-3267-50E8-E1E8-796ED7372A3C}"/>
          </ac:spMkLst>
        </pc:spChg>
        <pc:spChg chg="mod">
          <ac:chgData name="Mattias Vermeire" userId="afe8c86d-d01e-472e-9838-e047f8f3f33b" providerId="ADAL" clId="{ED405823-9A19-A940-BF7E-5438A0163F27}" dt="2024-02-14T21:44:38.846" v="17" actId="2711"/>
          <ac:spMkLst>
            <pc:docMk/>
            <pc:sldMk cId="3040644318" sldId="2146848759"/>
            <ac:spMk id="53" creationId="{A1F7A8F2-DD81-BF47-B4F3-18B8432B8406}"/>
          </ac:spMkLst>
        </pc:spChg>
        <pc:spChg chg="mod">
          <ac:chgData name="Mattias Vermeire" userId="afe8c86d-d01e-472e-9838-e047f8f3f33b" providerId="ADAL" clId="{ED405823-9A19-A940-BF7E-5438A0163F27}" dt="2024-02-14T21:47:46.154" v="57" actId="1037"/>
          <ac:spMkLst>
            <pc:docMk/>
            <pc:sldMk cId="3040644318" sldId="2146848759"/>
            <ac:spMk id="56" creationId="{B08F65AC-1142-C74B-161D-A2EE644D0072}"/>
          </ac:spMkLst>
        </pc:spChg>
        <pc:spChg chg="mod">
          <ac:chgData name="Mattias Vermeire" userId="afe8c86d-d01e-472e-9838-e047f8f3f33b" providerId="ADAL" clId="{ED405823-9A19-A940-BF7E-5438A0163F27}" dt="2024-02-14T21:47:52.109" v="61" actId="1037"/>
          <ac:spMkLst>
            <pc:docMk/>
            <pc:sldMk cId="3040644318" sldId="2146848759"/>
            <ac:spMk id="57" creationId="{E92F2CF3-9A52-884B-4B40-9FAE6E2989F9}"/>
          </ac:spMkLst>
        </pc:spChg>
        <pc:spChg chg="mod">
          <ac:chgData name="Mattias Vermeire" userId="afe8c86d-d01e-472e-9838-e047f8f3f33b" providerId="ADAL" clId="{ED405823-9A19-A940-BF7E-5438A0163F27}" dt="2024-02-14T21:47:52.109" v="61" actId="1037"/>
          <ac:spMkLst>
            <pc:docMk/>
            <pc:sldMk cId="3040644318" sldId="2146848759"/>
            <ac:spMk id="58" creationId="{11C9B8E8-AC1D-B105-2934-A6F763037479}"/>
          </ac:spMkLst>
        </pc:spChg>
        <pc:spChg chg="mod">
          <ac:chgData name="Mattias Vermeire" userId="afe8c86d-d01e-472e-9838-e047f8f3f33b" providerId="ADAL" clId="{ED405823-9A19-A940-BF7E-5438A0163F27}" dt="2024-02-14T21:49:01.622" v="92" actId="1036"/>
          <ac:spMkLst>
            <pc:docMk/>
            <pc:sldMk cId="3040644318" sldId="2146848759"/>
            <ac:spMk id="63" creationId="{A18A863C-127C-CDAF-3E1B-A3A2A1D99CD9}"/>
          </ac:spMkLst>
        </pc:spChg>
        <pc:grpChg chg="mod">
          <ac:chgData name="Mattias Vermeire" userId="afe8c86d-d01e-472e-9838-e047f8f3f33b" providerId="ADAL" clId="{ED405823-9A19-A940-BF7E-5438A0163F27}" dt="2024-02-14T21:48:06.294" v="69" actId="1035"/>
          <ac:grpSpMkLst>
            <pc:docMk/>
            <pc:sldMk cId="3040644318" sldId="2146848759"/>
            <ac:grpSpMk id="3" creationId="{0B9E9AB6-EDE1-5F09-621E-48C90E82546B}"/>
          </ac:grpSpMkLst>
        </pc:grpChg>
        <pc:grpChg chg="mod">
          <ac:chgData name="Mattias Vermeire" userId="afe8c86d-d01e-472e-9838-e047f8f3f33b" providerId="ADAL" clId="{ED405823-9A19-A940-BF7E-5438A0163F27}" dt="2024-02-14T21:48:12.818" v="77" actId="1038"/>
          <ac:grpSpMkLst>
            <pc:docMk/>
            <pc:sldMk cId="3040644318" sldId="2146848759"/>
            <ac:grpSpMk id="36" creationId="{EEB1BCCD-D99C-823E-1842-F9461CEA96C2}"/>
          </ac:grpSpMkLst>
        </pc:grpChg>
        <pc:grpChg chg="mod">
          <ac:chgData name="Mattias Vermeire" userId="afe8c86d-d01e-472e-9838-e047f8f3f33b" providerId="ADAL" clId="{ED405823-9A19-A940-BF7E-5438A0163F27}" dt="2024-02-14T21:48:23.288" v="80" actId="1037"/>
          <ac:grpSpMkLst>
            <pc:docMk/>
            <pc:sldMk cId="3040644318" sldId="2146848759"/>
            <ac:grpSpMk id="37" creationId="{68F59C0E-C10D-DF93-A974-0BEAA0BE060E}"/>
          </ac:grpSpMkLst>
        </pc:grpChg>
        <pc:picChg chg="mod">
          <ac:chgData name="Mattias Vermeire" userId="afe8c86d-d01e-472e-9838-e047f8f3f33b" providerId="ADAL" clId="{ED405823-9A19-A940-BF7E-5438A0163F27}" dt="2024-02-14T21:48:23.288" v="80" actId="1037"/>
          <ac:picMkLst>
            <pc:docMk/>
            <pc:sldMk cId="3040644318" sldId="2146848759"/>
            <ac:picMk id="2" creationId="{F2B55906-7609-45D1-E6A1-FAE85CC75A40}"/>
          </ac:picMkLst>
        </pc:picChg>
        <pc:picChg chg="mod">
          <ac:chgData name="Mattias Vermeire" userId="afe8c86d-d01e-472e-9838-e047f8f3f33b" providerId="ADAL" clId="{ED405823-9A19-A940-BF7E-5438A0163F27}" dt="2024-02-14T21:44:38.846" v="17" actId="2711"/>
          <ac:picMkLst>
            <pc:docMk/>
            <pc:sldMk cId="3040644318" sldId="2146848759"/>
            <ac:picMk id="9" creationId="{6C887B74-B65A-9919-14D5-C790803B5B6B}"/>
          </ac:picMkLst>
        </pc:picChg>
        <pc:picChg chg="mod">
          <ac:chgData name="Mattias Vermeire" userId="afe8c86d-d01e-472e-9838-e047f8f3f33b" providerId="ADAL" clId="{ED405823-9A19-A940-BF7E-5438A0163F27}" dt="2024-02-14T21:44:38.846" v="17" actId="2711"/>
          <ac:picMkLst>
            <pc:docMk/>
            <pc:sldMk cId="3040644318" sldId="2146848759"/>
            <ac:picMk id="10" creationId="{610E2BBA-F971-292E-8532-CEC4C3325492}"/>
          </ac:picMkLst>
        </pc:picChg>
        <pc:picChg chg="mod">
          <ac:chgData name="Mattias Vermeire" userId="afe8c86d-d01e-472e-9838-e047f8f3f33b" providerId="ADAL" clId="{ED405823-9A19-A940-BF7E-5438A0163F27}" dt="2024-02-14T21:44:38.846" v="17" actId="2711"/>
          <ac:picMkLst>
            <pc:docMk/>
            <pc:sldMk cId="3040644318" sldId="2146848759"/>
            <ac:picMk id="11" creationId="{9E92B01B-E244-027F-512C-644DDF47D6C1}"/>
          </ac:picMkLst>
        </pc:picChg>
        <pc:picChg chg="mod">
          <ac:chgData name="Mattias Vermeire" userId="afe8c86d-d01e-472e-9838-e047f8f3f33b" providerId="ADAL" clId="{ED405823-9A19-A940-BF7E-5438A0163F27}" dt="2024-02-14T21:48:06.294" v="69" actId="1035"/>
          <ac:picMkLst>
            <pc:docMk/>
            <pc:sldMk cId="3040644318" sldId="2146848759"/>
            <ac:picMk id="12" creationId="{08BFF803-6CC0-CBF2-5D94-839C04F4CE11}"/>
          </ac:picMkLst>
        </pc:picChg>
        <pc:picChg chg="mod">
          <ac:chgData name="Mattias Vermeire" userId="afe8c86d-d01e-472e-9838-e047f8f3f33b" providerId="ADAL" clId="{ED405823-9A19-A940-BF7E-5438A0163F27}" dt="2024-02-14T21:47:46.154" v="57" actId="1037"/>
          <ac:picMkLst>
            <pc:docMk/>
            <pc:sldMk cId="3040644318" sldId="2146848759"/>
            <ac:picMk id="39" creationId="{8F6DABE7-763D-FEB3-73EF-4B9788C86AA0}"/>
          </ac:picMkLst>
        </pc:picChg>
        <pc:picChg chg="mod">
          <ac:chgData name="Mattias Vermeire" userId="afe8c86d-d01e-472e-9838-e047f8f3f33b" providerId="ADAL" clId="{ED405823-9A19-A940-BF7E-5438A0163F27}" dt="2024-02-14T21:47:52.109" v="61" actId="1037"/>
          <ac:picMkLst>
            <pc:docMk/>
            <pc:sldMk cId="3040644318" sldId="2146848759"/>
            <ac:picMk id="40" creationId="{11829B77-F268-A49B-EFB8-14D2BE8FDC6A}"/>
          </ac:picMkLst>
        </pc:picChg>
        <pc:picChg chg="mod">
          <ac:chgData name="Mattias Vermeire" userId="afe8c86d-d01e-472e-9838-e047f8f3f33b" providerId="ADAL" clId="{ED405823-9A19-A940-BF7E-5438A0163F27}" dt="2024-02-14T21:44:38.846" v="17" actId="2711"/>
          <ac:picMkLst>
            <pc:docMk/>
            <pc:sldMk cId="3040644318" sldId="2146848759"/>
            <ac:picMk id="41" creationId="{D4030B84-42C4-6977-7C40-30E39BC9D3DA}"/>
          </ac:picMkLst>
        </pc:picChg>
        <pc:picChg chg="mod">
          <ac:chgData name="Mattias Vermeire" userId="afe8c86d-d01e-472e-9838-e047f8f3f33b" providerId="ADAL" clId="{ED405823-9A19-A940-BF7E-5438A0163F27}" dt="2024-02-14T21:45:52.644" v="23" actId="1076"/>
          <ac:picMkLst>
            <pc:docMk/>
            <pc:sldMk cId="3040644318" sldId="2146848759"/>
            <ac:picMk id="42" creationId="{EA84E3D8-1CF3-5EAA-DBF9-68506CA93E99}"/>
          </ac:picMkLst>
        </pc:picChg>
        <pc:picChg chg="mod">
          <ac:chgData name="Mattias Vermeire" userId="afe8c86d-d01e-472e-9838-e047f8f3f33b" providerId="ADAL" clId="{ED405823-9A19-A940-BF7E-5438A0163F27}" dt="2024-02-14T21:47:41.996" v="49" actId="1037"/>
          <ac:picMkLst>
            <pc:docMk/>
            <pc:sldMk cId="3040644318" sldId="2146848759"/>
            <ac:picMk id="1026" creationId="{085AD750-FC90-BFE4-9F8A-2C34FBB60D1D}"/>
          </ac:picMkLst>
        </pc:picChg>
        <pc:cxnChg chg="mod">
          <ac:chgData name="Mattias Vermeire" userId="afe8c86d-d01e-472e-9838-e047f8f3f33b" providerId="ADAL" clId="{ED405823-9A19-A940-BF7E-5438A0163F27}" dt="2024-02-14T21:44:38.846" v="17" actId="2711"/>
          <ac:cxnSpMkLst>
            <pc:docMk/>
            <pc:sldMk cId="3040644318" sldId="2146848759"/>
            <ac:cxnSpMk id="5" creationId="{9FF03C6B-0E77-0D79-5DCB-F97357944DAF}"/>
          </ac:cxnSpMkLst>
        </pc:cxnChg>
        <pc:cxnChg chg="mod">
          <ac:chgData name="Mattias Vermeire" userId="afe8c86d-d01e-472e-9838-e047f8f3f33b" providerId="ADAL" clId="{ED405823-9A19-A940-BF7E-5438A0163F27}" dt="2024-02-14T21:44:38.846" v="17" actId="2711"/>
          <ac:cxnSpMkLst>
            <pc:docMk/>
            <pc:sldMk cId="3040644318" sldId="2146848759"/>
            <ac:cxnSpMk id="17" creationId="{5991DC10-E9CE-283A-3E79-A99AC0809995}"/>
          </ac:cxnSpMkLst>
        </pc:cxnChg>
        <pc:cxnChg chg="mod">
          <ac:chgData name="Mattias Vermeire" userId="afe8c86d-d01e-472e-9838-e047f8f3f33b" providerId="ADAL" clId="{ED405823-9A19-A940-BF7E-5438A0163F27}" dt="2024-02-14T21:44:38.846" v="17" actId="2711"/>
          <ac:cxnSpMkLst>
            <pc:docMk/>
            <pc:sldMk cId="3040644318" sldId="2146848759"/>
            <ac:cxnSpMk id="18" creationId="{137B0D90-660D-BF7E-FEBD-056F0BF71D3A}"/>
          </ac:cxnSpMkLst>
        </pc:cxnChg>
        <pc:cxnChg chg="mod">
          <ac:chgData name="Mattias Vermeire" userId="afe8c86d-d01e-472e-9838-e047f8f3f33b" providerId="ADAL" clId="{ED405823-9A19-A940-BF7E-5438A0163F27}" dt="2024-02-14T21:44:38.846" v="17" actId="2711"/>
          <ac:cxnSpMkLst>
            <pc:docMk/>
            <pc:sldMk cId="3040644318" sldId="2146848759"/>
            <ac:cxnSpMk id="20" creationId="{A52DF5CC-9FEC-7EEE-0CEB-0842C01B6863}"/>
          </ac:cxnSpMkLst>
        </pc:cxnChg>
        <pc:cxnChg chg="mod">
          <ac:chgData name="Mattias Vermeire" userId="afe8c86d-d01e-472e-9838-e047f8f3f33b" providerId="ADAL" clId="{ED405823-9A19-A940-BF7E-5438A0163F27}" dt="2024-02-14T21:44:38.846" v="17" actId="2711"/>
          <ac:cxnSpMkLst>
            <pc:docMk/>
            <pc:sldMk cId="3040644318" sldId="2146848759"/>
            <ac:cxnSpMk id="22" creationId="{2E64B575-0EBC-6844-7F84-A9437B7099C2}"/>
          </ac:cxnSpMkLst>
        </pc:cxnChg>
        <pc:cxnChg chg="mod">
          <ac:chgData name="Mattias Vermeire" userId="afe8c86d-d01e-472e-9838-e047f8f3f33b" providerId="ADAL" clId="{ED405823-9A19-A940-BF7E-5438A0163F27}" dt="2024-02-14T21:45:04.756" v="20" actId="1076"/>
          <ac:cxnSpMkLst>
            <pc:docMk/>
            <pc:sldMk cId="3040644318" sldId="2146848759"/>
            <ac:cxnSpMk id="23" creationId="{F9868F84-48ED-8355-29A1-D1B3529612EE}"/>
          </ac:cxnSpMkLst>
        </pc:cxnChg>
        <pc:cxnChg chg="mod">
          <ac:chgData name="Mattias Vermeire" userId="afe8c86d-d01e-472e-9838-e047f8f3f33b" providerId="ADAL" clId="{ED405823-9A19-A940-BF7E-5438A0163F27}" dt="2024-02-14T21:47:41.996" v="49" actId="1037"/>
          <ac:cxnSpMkLst>
            <pc:docMk/>
            <pc:sldMk cId="3040644318" sldId="2146848759"/>
            <ac:cxnSpMk id="46" creationId="{74164DB0-5F91-BCD3-3BA8-298825D9AD50}"/>
          </ac:cxnSpMkLst>
        </pc:cxnChg>
        <pc:cxnChg chg="mod">
          <ac:chgData name="Mattias Vermeire" userId="afe8c86d-d01e-472e-9838-e047f8f3f33b" providerId="ADAL" clId="{ED405823-9A19-A940-BF7E-5438A0163F27}" dt="2024-02-14T21:44:38.846" v="17" actId="2711"/>
          <ac:cxnSpMkLst>
            <pc:docMk/>
            <pc:sldMk cId="3040644318" sldId="2146848759"/>
            <ac:cxnSpMk id="54" creationId="{0A5BEBE8-1913-808B-36C1-E4C67F95F0F0}"/>
          </ac:cxnSpMkLst>
        </pc:cxnChg>
        <pc:cxnChg chg="mod">
          <ac:chgData name="Mattias Vermeire" userId="afe8c86d-d01e-472e-9838-e047f8f3f33b" providerId="ADAL" clId="{ED405823-9A19-A940-BF7E-5438A0163F27}" dt="2024-02-14T21:47:46.154" v="57" actId="1037"/>
          <ac:cxnSpMkLst>
            <pc:docMk/>
            <pc:sldMk cId="3040644318" sldId="2146848759"/>
            <ac:cxnSpMk id="55" creationId="{A59A156B-5AC5-C217-2146-80595634BDB1}"/>
          </ac:cxnSpMkLst>
        </pc:cxnChg>
        <pc:cxnChg chg="mod">
          <ac:chgData name="Mattias Vermeire" userId="afe8c86d-d01e-472e-9838-e047f8f3f33b" providerId="ADAL" clId="{ED405823-9A19-A940-BF7E-5438A0163F27}" dt="2024-02-14T21:47:52.109" v="61" actId="1037"/>
          <ac:cxnSpMkLst>
            <pc:docMk/>
            <pc:sldMk cId="3040644318" sldId="2146848759"/>
            <ac:cxnSpMk id="59" creationId="{77B91E33-F241-6BCE-79C9-E5C8D7187541}"/>
          </ac:cxnSpMkLst>
        </pc:cxnChg>
      </pc:sldChg>
      <pc:sldChg chg="modSp mod">
        <pc:chgData name="Mattias Vermeire" userId="afe8c86d-d01e-472e-9838-e047f8f3f33b" providerId="ADAL" clId="{ED405823-9A19-A940-BF7E-5438A0163F27}" dt="2024-02-15T09:57:07.485" v="245" actId="207"/>
        <pc:sldMkLst>
          <pc:docMk/>
          <pc:sldMk cId="1915200776" sldId="2146848769"/>
        </pc:sldMkLst>
        <pc:spChg chg="mod">
          <ac:chgData name="Mattias Vermeire" userId="afe8c86d-d01e-472e-9838-e047f8f3f33b" providerId="ADAL" clId="{ED405823-9A19-A940-BF7E-5438A0163F27}" dt="2024-02-14T21:49:45.162" v="95" actId="2711"/>
          <ac:spMkLst>
            <pc:docMk/>
            <pc:sldMk cId="1915200776" sldId="2146848769"/>
            <ac:spMk id="2" creationId="{AE544F9B-EB11-C09E-7F66-5ACA37E5FEF8}"/>
          </ac:spMkLst>
        </pc:spChg>
        <pc:spChg chg="mod">
          <ac:chgData name="Mattias Vermeire" userId="afe8c86d-d01e-472e-9838-e047f8f3f33b" providerId="ADAL" clId="{ED405823-9A19-A940-BF7E-5438A0163F27}" dt="2024-02-14T21:49:37.477" v="94" actId="2711"/>
          <ac:spMkLst>
            <pc:docMk/>
            <pc:sldMk cId="1915200776" sldId="2146848769"/>
            <ac:spMk id="3" creationId="{406A0D3E-F0CD-B0D5-5DC5-FFA8E38B370B}"/>
          </ac:spMkLst>
        </pc:spChg>
        <pc:spChg chg="mod">
          <ac:chgData name="Mattias Vermeire" userId="afe8c86d-d01e-472e-9838-e047f8f3f33b" providerId="ADAL" clId="{ED405823-9A19-A940-BF7E-5438A0163F27}" dt="2024-02-14T21:49:45.162" v="95" actId="2711"/>
          <ac:spMkLst>
            <pc:docMk/>
            <pc:sldMk cId="1915200776" sldId="2146848769"/>
            <ac:spMk id="4" creationId="{08CC71B1-EF61-5341-080B-8119A61CA33E}"/>
          </ac:spMkLst>
        </pc:spChg>
        <pc:spChg chg="mod">
          <ac:chgData name="Mattias Vermeire" userId="afe8c86d-d01e-472e-9838-e047f8f3f33b" providerId="ADAL" clId="{ED405823-9A19-A940-BF7E-5438A0163F27}" dt="2024-02-14T21:49:45.162" v="95" actId="2711"/>
          <ac:spMkLst>
            <pc:docMk/>
            <pc:sldMk cId="1915200776" sldId="2146848769"/>
            <ac:spMk id="5" creationId="{23296222-F7A6-B066-453A-02B3501EA073}"/>
          </ac:spMkLst>
        </pc:spChg>
        <pc:spChg chg="mod">
          <ac:chgData name="Mattias Vermeire" userId="afe8c86d-d01e-472e-9838-e047f8f3f33b" providerId="ADAL" clId="{ED405823-9A19-A940-BF7E-5438A0163F27}" dt="2024-02-14T21:49:45.162" v="95" actId="2711"/>
          <ac:spMkLst>
            <pc:docMk/>
            <pc:sldMk cId="1915200776" sldId="2146848769"/>
            <ac:spMk id="7" creationId="{B8EB4B87-A029-990C-98E3-FA0736AB8EC7}"/>
          </ac:spMkLst>
        </pc:spChg>
        <pc:spChg chg="mod">
          <ac:chgData name="Mattias Vermeire" userId="afe8c86d-d01e-472e-9838-e047f8f3f33b" providerId="ADAL" clId="{ED405823-9A19-A940-BF7E-5438A0163F27}" dt="2024-02-14T21:49:45.162" v="95" actId="2711"/>
          <ac:spMkLst>
            <pc:docMk/>
            <pc:sldMk cId="1915200776" sldId="2146848769"/>
            <ac:spMk id="8" creationId="{5EE29D63-012F-F5C3-B78B-95C01AA4BA16}"/>
          </ac:spMkLst>
        </pc:spChg>
        <pc:spChg chg="mod">
          <ac:chgData name="Mattias Vermeire" userId="afe8c86d-d01e-472e-9838-e047f8f3f33b" providerId="ADAL" clId="{ED405823-9A19-A940-BF7E-5438A0163F27}" dt="2024-02-15T09:57:07.485" v="245" actId="207"/>
          <ac:spMkLst>
            <pc:docMk/>
            <pc:sldMk cId="1915200776" sldId="2146848769"/>
            <ac:spMk id="12" creationId="{4C47337D-A5F5-0C7E-B5CE-73F7CC38C1EE}"/>
          </ac:spMkLst>
        </pc:spChg>
        <pc:spChg chg="mod">
          <ac:chgData name="Mattias Vermeire" userId="afe8c86d-d01e-472e-9838-e047f8f3f33b" providerId="ADAL" clId="{ED405823-9A19-A940-BF7E-5438A0163F27}" dt="2024-02-14T21:49:45.162" v="95" actId="2711"/>
          <ac:spMkLst>
            <pc:docMk/>
            <pc:sldMk cId="1915200776" sldId="2146848769"/>
            <ac:spMk id="14" creationId="{4180CB5B-83A3-2664-5C76-355A35423BFA}"/>
          </ac:spMkLst>
        </pc:spChg>
        <pc:spChg chg="mod">
          <ac:chgData name="Mattias Vermeire" userId="afe8c86d-d01e-472e-9838-e047f8f3f33b" providerId="ADAL" clId="{ED405823-9A19-A940-BF7E-5438A0163F27}" dt="2024-02-14T21:49:45.162" v="95" actId="2711"/>
          <ac:spMkLst>
            <pc:docMk/>
            <pc:sldMk cId="1915200776" sldId="2146848769"/>
            <ac:spMk id="16" creationId="{DACEC355-50AE-CE22-5777-31A9BDC1E451}"/>
          </ac:spMkLst>
        </pc:spChg>
      </pc:sldChg>
      <pc:sldChg chg="modSp mod">
        <pc:chgData name="Mattias Vermeire" userId="afe8c86d-d01e-472e-9838-e047f8f3f33b" providerId="ADAL" clId="{ED405823-9A19-A940-BF7E-5438A0163F27}" dt="2024-02-14T21:44:02.011" v="16" actId="20577"/>
        <pc:sldMkLst>
          <pc:docMk/>
          <pc:sldMk cId="3853740128" sldId="2146849007"/>
        </pc:sldMkLst>
        <pc:spChg chg="mod">
          <ac:chgData name="Mattias Vermeire" userId="afe8c86d-d01e-472e-9838-e047f8f3f33b" providerId="ADAL" clId="{ED405823-9A19-A940-BF7E-5438A0163F27}" dt="2024-02-14T21:44:02.011" v="16" actId="20577"/>
          <ac:spMkLst>
            <pc:docMk/>
            <pc:sldMk cId="3853740128" sldId="2146849007"/>
            <ac:spMk id="6" creationId="{BDB230E4-EFC8-CA0A-80AF-90F89D8BA816}"/>
          </ac:spMkLst>
        </pc:spChg>
      </pc:sldChg>
      <pc:sldChg chg="modSp mod">
        <pc:chgData name="Mattias Vermeire" userId="afe8c86d-d01e-472e-9838-e047f8f3f33b" providerId="ADAL" clId="{ED405823-9A19-A940-BF7E-5438A0163F27}" dt="2024-02-14T21:43:23.903" v="12" actId="20577"/>
        <pc:sldMkLst>
          <pc:docMk/>
          <pc:sldMk cId="3074706286" sldId="2146849010"/>
        </pc:sldMkLst>
        <pc:spChg chg="mod">
          <ac:chgData name="Mattias Vermeire" userId="afe8c86d-d01e-472e-9838-e047f8f3f33b" providerId="ADAL" clId="{ED405823-9A19-A940-BF7E-5438A0163F27}" dt="2024-02-14T21:43:23.903" v="12" actId="20577"/>
          <ac:spMkLst>
            <pc:docMk/>
            <pc:sldMk cId="3074706286" sldId="2146849010"/>
            <ac:spMk id="2" creationId="{02E450C0-FE33-D875-FB2D-CE57CBAFA2D2}"/>
          </ac:spMkLst>
        </pc:spChg>
      </pc:sldChg>
      <pc:sldChg chg="modSp mod">
        <pc:chgData name="Mattias Vermeire" userId="afe8c86d-d01e-472e-9838-e047f8f3f33b" providerId="ADAL" clId="{ED405823-9A19-A940-BF7E-5438A0163F27}" dt="2024-02-14T21:56:22.107" v="239" actId="20577"/>
        <pc:sldMkLst>
          <pc:docMk/>
          <pc:sldMk cId="1583815846" sldId="2146849803"/>
        </pc:sldMkLst>
        <pc:spChg chg="mod">
          <ac:chgData name="Mattias Vermeire" userId="afe8c86d-d01e-472e-9838-e047f8f3f33b" providerId="ADAL" clId="{ED405823-9A19-A940-BF7E-5438A0163F27}" dt="2024-02-14T21:55:18.540" v="141" actId="12"/>
          <ac:spMkLst>
            <pc:docMk/>
            <pc:sldMk cId="1583815846" sldId="2146849803"/>
            <ac:spMk id="6" creationId="{EAEF6A66-FDF4-0FBA-4FF6-1ED2730AFE41}"/>
          </ac:spMkLst>
        </pc:spChg>
        <pc:spChg chg="mod">
          <ac:chgData name="Mattias Vermeire" userId="afe8c86d-d01e-472e-9838-e047f8f3f33b" providerId="ADAL" clId="{ED405823-9A19-A940-BF7E-5438A0163F27}" dt="2024-02-14T21:55:22.457" v="142" actId="12"/>
          <ac:spMkLst>
            <pc:docMk/>
            <pc:sldMk cId="1583815846" sldId="2146849803"/>
            <ac:spMk id="7" creationId="{6AEBD734-271E-AD6D-8808-A093DAFC1609}"/>
          </ac:spMkLst>
        </pc:spChg>
        <pc:spChg chg="mod">
          <ac:chgData name="Mattias Vermeire" userId="afe8c86d-d01e-472e-9838-e047f8f3f33b" providerId="ADAL" clId="{ED405823-9A19-A940-BF7E-5438A0163F27}" dt="2024-02-14T21:56:22.107" v="239" actId="20577"/>
          <ac:spMkLst>
            <pc:docMk/>
            <pc:sldMk cId="1583815846" sldId="2146849803"/>
            <ac:spMk id="8" creationId="{059AE433-E869-CD5F-C605-0E40872C18DE}"/>
          </ac:spMkLst>
        </pc:spChg>
        <pc:spChg chg="mod">
          <ac:chgData name="Mattias Vermeire" userId="afe8c86d-d01e-472e-9838-e047f8f3f33b" providerId="ADAL" clId="{ED405823-9A19-A940-BF7E-5438A0163F27}" dt="2024-02-14T21:53:11.254" v="104" actId="2711"/>
          <ac:spMkLst>
            <pc:docMk/>
            <pc:sldMk cId="1583815846" sldId="2146849803"/>
            <ac:spMk id="9" creationId="{B46C4CA7-D58B-80F5-3DA5-F57F90447164}"/>
          </ac:spMkLst>
        </pc:spChg>
        <pc:spChg chg="mod">
          <ac:chgData name="Mattias Vermeire" userId="afe8c86d-d01e-472e-9838-e047f8f3f33b" providerId="ADAL" clId="{ED405823-9A19-A940-BF7E-5438A0163F27}" dt="2024-02-14T21:53:11.254" v="104" actId="2711"/>
          <ac:spMkLst>
            <pc:docMk/>
            <pc:sldMk cId="1583815846" sldId="2146849803"/>
            <ac:spMk id="10" creationId="{896528F0-B1EE-87F4-394C-5B3D3218A346}"/>
          </ac:spMkLst>
        </pc:spChg>
        <pc:spChg chg="mod">
          <ac:chgData name="Mattias Vermeire" userId="afe8c86d-d01e-472e-9838-e047f8f3f33b" providerId="ADAL" clId="{ED405823-9A19-A940-BF7E-5438A0163F27}" dt="2024-02-14T21:53:11.254" v="104" actId="2711"/>
          <ac:spMkLst>
            <pc:docMk/>
            <pc:sldMk cId="1583815846" sldId="2146849803"/>
            <ac:spMk id="11" creationId="{F3097CA7-7819-DCF2-12F7-CC1ABE0B36B4}"/>
          </ac:spMkLst>
        </pc:spChg>
        <pc:spChg chg="mod">
          <ac:chgData name="Mattias Vermeire" userId="afe8c86d-d01e-472e-9838-e047f8f3f33b" providerId="ADAL" clId="{ED405823-9A19-A940-BF7E-5438A0163F27}" dt="2024-02-14T21:53:11.254" v="104" actId="2711"/>
          <ac:spMkLst>
            <pc:docMk/>
            <pc:sldMk cId="1583815846" sldId="2146849803"/>
            <ac:spMk id="12" creationId="{B5303B9A-BD20-3A6F-A124-C08ED8A8D83A}"/>
          </ac:spMkLst>
        </pc:spChg>
        <pc:spChg chg="mod">
          <ac:chgData name="Mattias Vermeire" userId="afe8c86d-d01e-472e-9838-e047f8f3f33b" providerId="ADAL" clId="{ED405823-9A19-A940-BF7E-5438A0163F27}" dt="2024-02-14T21:53:11.254" v="104" actId="2711"/>
          <ac:spMkLst>
            <pc:docMk/>
            <pc:sldMk cId="1583815846" sldId="2146849803"/>
            <ac:spMk id="15" creationId="{17550E3B-9F79-7590-4F7C-0BCCA718A524}"/>
          </ac:spMkLst>
        </pc:spChg>
        <pc:spChg chg="mod">
          <ac:chgData name="Mattias Vermeire" userId="afe8c86d-d01e-472e-9838-e047f8f3f33b" providerId="ADAL" clId="{ED405823-9A19-A940-BF7E-5438A0163F27}" dt="2024-02-14T21:53:11.254" v="104" actId="2711"/>
          <ac:spMkLst>
            <pc:docMk/>
            <pc:sldMk cId="1583815846" sldId="2146849803"/>
            <ac:spMk id="16" creationId="{6223673B-373F-1518-B586-2F735B00DF9B}"/>
          </ac:spMkLst>
        </pc:spChg>
        <pc:spChg chg="mod">
          <ac:chgData name="Mattias Vermeire" userId="afe8c86d-d01e-472e-9838-e047f8f3f33b" providerId="ADAL" clId="{ED405823-9A19-A940-BF7E-5438A0163F27}" dt="2024-02-14T21:53:11.254" v="104" actId="2711"/>
          <ac:spMkLst>
            <pc:docMk/>
            <pc:sldMk cId="1583815846" sldId="2146849803"/>
            <ac:spMk id="18" creationId="{7E18195B-CB2F-B2D7-B5CE-71B56027CC1D}"/>
          </ac:spMkLst>
        </pc:spChg>
        <pc:spChg chg="mod">
          <ac:chgData name="Mattias Vermeire" userId="afe8c86d-d01e-472e-9838-e047f8f3f33b" providerId="ADAL" clId="{ED405823-9A19-A940-BF7E-5438A0163F27}" dt="2024-02-14T21:53:11.254" v="104" actId="2711"/>
          <ac:spMkLst>
            <pc:docMk/>
            <pc:sldMk cId="1583815846" sldId="2146849803"/>
            <ac:spMk id="27" creationId="{C6BCED24-60AB-6768-A0ED-0009DD7956A3}"/>
          </ac:spMkLst>
        </pc:spChg>
        <pc:spChg chg="mod">
          <ac:chgData name="Mattias Vermeire" userId="afe8c86d-d01e-472e-9838-e047f8f3f33b" providerId="ADAL" clId="{ED405823-9A19-A940-BF7E-5438A0163F27}" dt="2024-02-14T21:53:11.254" v="104" actId="2711"/>
          <ac:spMkLst>
            <pc:docMk/>
            <pc:sldMk cId="1583815846" sldId="2146849803"/>
            <ac:spMk id="30" creationId="{154DA49D-D03A-AAE7-1A4F-419942E6760F}"/>
          </ac:spMkLst>
        </pc:spChg>
      </pc:sldChg>
      <pc:sldChg chg="modSp mod">
        <pc:chgData name="Mattias Vermeire" userId="afe8c86d-d01e-472e-9838-e047f8f3f33b" providerId="ADAL" clId="{ED405823-9A19-A940-BF7E-5438A0163F27}" dt="2024-02-14T21:55:43.099" v="149" actId="20577"/>
        <pc:sldMkLst>
          <pc:docMk/>
          <pc:sldMk cId="3887345559" sldId="2146849811"/>
        </pc:sldMkLst>
        <pc:spChg chg="mod">
          <ac:chgData name="Mattias Vermeire" userId="afe8c86d-d01e-472e-9838-e047f8f3f33b" providerId="ADAL" clId="{ED405823-9A19-A940-BF7E-5438A0163F27}" dt="2024-02-14T21:53:23.100" v="105" actId="2711"/>
          <ac:spMkLst>
            <pc:docMk/>
            <pc:sldMk cId="3887345559" sldId="2146849811"/>
            <ac:spMk id="4" creationId="{740D93F8-FB73-3490-0BB4-73417F6D3678}"/>
          </ac:spMkLst>
        </pc:spChg>
        <pc:spChg chg="mod">
          <ac:chgData name="Mattias Vermeire" userId="afe8c86d-d01e-472e-9838-e047f8f3f33b" providerId="ADAL" clId="{ED405823-9A19-A940-BF7E-5438A0163F27}" dt="2024-02-14T21:53:23.100" v="105" actId="2711"/>
          <ac:spMkLst>
            <pc:docMk/>
            <pc:sldMk cId="3887345559" sldId="2146849811"/>
            <ac:spMk id="18" creationId="{FB5F009A-F62A-3477-17A9-D23A06D069C0}"/>
          </ac:spMkLst>
        </pc:spChg>
        <pc:spChg chg="mod">
          <ac:chgData name="Mattias Vermeire" userId="afe8c86d-d01e-472e-9838-e047f8f3f33b" providerId="ADAL" clId="{ED405823-9A19-A940-BF7E-5438A0163F27}" dt="2024-02-14T21:53:23.100" v="105" actId="2711"/>
          <ac:spMkLst>
            <pc:docMk/>
            <pc:sldMk cId="3887345559" sldId="2146849811"/>
            <ac:spMk id="19" creationId="{12125A97-C225-F72C-6C86-B1376DACF9F3}"/>
          </ac:spMkLst>
        </pc:spChg>
        <pc:spChg chg="mod">
          <ac:chgData name="Mattias Vermeire" userId="afe8c86d-d01e-472e-9838-e047f8f3f33b" providerId="ADAL" clId="{ED405823-9A19-A940-BF7E-5438A0163F27}" dt="2024-02-14T21:53:23.100" v="105" actId="2711"/>
          <ac:spMkLst>
            <pc:docMk/>
            <pc:sldMk cId="3887345559" sldId="2146849811"/>
            <ac:spMk id="20" creationId="{E05DAFD7-1059-90AE-6654-4375BB0763B5}"/>
          </ac:spMkLst>
        </pc:spChg>
        <pc:spChg chg="mod">
          <ac:chgData name="Mattias Vermeire" userId="afe8c86d-d01e-472e-9838-e047f8f3f33b" providerId="ADAL" clId="{ED405823-9A19-A940-BF7E-5438A0163F27}" dt="2024-02-14T21:53:23.100" v="105" actId="2711"/>
          <ac:spMkLst>
            <pc:docMk/>
            <pc:sldMk cId="3887345559" sldId="2146849811"/>
            <ac:spMk id="22" creationId="{9EE8DE71-CD3C-A0B9-24D4-D2AD14F049CA}"/>
          </ac:spMkLst>
        </pc:spChg>
        <pc:spChg chg="mod">
          <ac:chgData name="Mattias Vermeire" userId="afe8c86d-d01e-472e-9838-e047f8f3f33b" providerId="ADAL" clId="{ED405823-9A19-A940-BF7E-5438A0163F27}" dt="2024-02-14T21:55:43.099" v="149" actId="20577"/>
          <ac:spMkLst>
            <pc:docMk/>
            <pc:sldMk cId="3887345559" sldId="2146849811"/>
            <ac:spMk id="23" creationId="{6A2AC868-AF6E-F102-F642-046AF65F929F}"/>
          </ac:spMkLst>
        </pc:spChg>
        <pc:spChg chg="mod">
          <ac:chgData name="Mattias Vermeire" userId="afe8c86d-d01e-472e-9838-e047f8f3f33b" providerId="ADAL" clId="{ED405823-9A19-A940-BF7E-5438A0163F27}" dt="2024-02-14T21:53:23.100" v="105" actId="2711"/>
          <ac:spMkLst>
            <pc:docMk/>
            <pc:sldMk cId="3887345559" sldId="2146849811"/>
            <ac:spMk id="24" creationId="{1A3FB962-4FF5-67E6-F882-972A8A9BBAC4}"/>
          </ac:spMkLst>
        </pc:spChg>
        <pc:spChg chg="mod">
          <ac:chgData name="Mattias Vermeire" userId="afe8c86d-d01e-472e-9838-e047f8f3f33b" providerId="ADAL" clId="{ED405823-9A19-A940-BF7E-5438A0163F27}" dt="2024-02-14T21:53:23.100" v="105" actId="2711"/>
          <ac:spMkLst>
            <pc:docMk/>
            <pc:sldMk cId="3887345559" sldId="2146849811"/>
            <ac:spMk id="25" creationId="{B9E104F8-BFBA-771E-A6D8-F86DC982DBA8}"/>
          </ac:spMkLst>
        </pc:spChg>
        <pc:spChg chg="mod">
          <ac:chgData name="Mattias Vermeire" userId="afe8c86d-d01e-472e-9838-e047f8f3f33b" providerId="ADAL" clId="{ED405823-9A19-A940-BF7E-5438A0163F27}" dt="2024-02-14T21:53:23.100" v="105" actId="2711"/>
          <ac:spMkLst>
            <pc:docMk/>
            <pc:sldMk cId="3887345559" sldId="2146849811"/>
            <ac:spMk id="27" creationId="{BBE0B202-48A1-251B-8784-3B0C186DF8E7}"/>
          </ac:spMkLst>
        </pc:spChg>
        <pc:spChg chg="mod">
          <ac:chgData name="Mattias Vermeire" userId="afe8c86d-d01e-472e-9838-e047f8f3f33b" providerId="ADAL" clId="{ED405823-9A19-A940-BF7E-5438A0163F27}" dt="2024-02-14T21:53:23.100" v="105" actId="2711"/>
          <ac:spMkLst>
            <pc:docMk/>
            <pc:sldMk cId="3887345559" sldId="2146849811"/>
            <ac:spMk id="29" creationId="{D4CE30F1-1848-DD7D-6608-A389D1E12D8A}"/>
          </ac:spMkLst>
        </pc:spChg>
      </pc:sldChg>
      <pc:sldChg chg="modSp mod">
        <pc:chgData name="Mattias Vermeire" userId="afe8c86d-d01e-472e-9838-e047f8f3f33b" providerId="ADAL" clId="{ED405823-9A19-A940-BF7E-5438A0163F27}" dt="2024-02-14T21:56:35.049" v="241" actId="1035"/>
        <pc:sldMkLst>
          <pc:docMk/>
          <pc:sldMk cId="1722288439" sldId="2146849812"/>
        </pc:sldMkLst>
        <pc:spChg chg="mod">
          <ac:chgData name="Mattias Vermeire" userId="afe8c86d-d01e-472e-9838-e047f8f3f33b" providerId="ADAL" clId="{ED405823-9A19-A940-BF7E-5438A0163F27}" dt="2024-02-14T21:50:54.085" v="99" actId="2711"/>
          <ac:spMkLst>
            <pc:docMk/>
            <pc:sldMk cId="1722288439" sldId="2146849812"/>
            <ac:spMk id="4" creationId="{F3114F33-C696-9DCB-FCF9-F2184031CAD5}"/>
          </ac:spMkLst>
        </pc:spChg>
        <pc:spChg chg="mod">
          <ac:chgData name="Mattias Vermeire" userId="afe8c86d-d01e-472e-9838-e047f8f3f33b" providerId="ADAL" clId="{ED405823-9A19-A940-BF7E-5438A0163F27}" dt="2024-02-14T21:51:13.529" v="101" actId="2711"/>
          <ac:spMkLst>
            <pc:docMk/>
            <pc:sldMk cId="1722288439" sldId="2146849812"/>
            <ac:spMk id="16" creationId="{641AAF74-0B5A-BEA1-04A7-4F98ECFC13D4}"/>
          </ac:spMkLst>
        </pc:spChg>
        <pc:spChg chg="mod">
          <ac:chgData name="Mattias Vermeire" userId="afe8c86d-d01e-472e-9838-e047f8f3f33b" providerId="ADAL" clId="{ED405823-9A19-A940-BF7E-5438A0163F27}" dt="2024-02-14T21:50:54.085" v="99" actId="2711"/>
          <ac:spMkLst>
            <pc:docMk/>
            <pc:sldMk cId="1722288439" sldId="2146849812"/>
            <ac:spMk id="40" creationId="{AE770019-F014-77D1-E932-0CF8EE275113}"/>
          </ac:spMkLst>
        </pc:spChg>
        <pc:spChg chg="mod">
          <ac:chgData name="Mattias Vermeire" userId="afe8c86d-d01e-472e-9838-e047f8f3f33b" providerId="ADAL" clId="{ED405823-9A19-A940-BF7E-5438A0163F27}" dt="2024-02-14T21:56:35.049" v="241" actId="1035"/>
          <ac:spMkLst>
            <pc:docMk/>
            <pc:sldMk cId="1722288439" sldId="2146849812"/>
            <ac:spMk id="41" creationId="{2191F93D-554D-91F5-E12A-E2C3A48FBFF3}"/>
          </ac:spMkLst>
        </pc:spChg>
        <pc:spChg chg="mod">
          <ac:chgData name="Mattias Vermeire" userId="afe8c86d-d01e-472e-9838-e047f8f3f33b" providerId="ADAL" clId="{ED405823-9A19-A940-BF7E-5438A0163F27}" dt="2024-02-14T21:50:54.085" v="99" actId="2711"/>
          <ac:spMkLst>
            <pc:docMk/>
            <pc:sldMk cId="1722288439" sldId="2146849812"/>
            <ac:spMk id="42" creationId="{6CC51049-A68D-5835-A65E-9F605B19E208}"/>
          </ac:spMkLst>
        </pc:spChg>
        <pc:spChg chg="mod">
          <ac:chgData name="Mattias Vermeire" userId="afe8c86d-d01e-472e-9838-e047f8f3f33b" providerId="ADAL" clId="{ED405823-9A19-A940-BF7E-5438A0163F27}" dt="2024-02-14T21:50:54.085" v="99" actId="2711"/>
          <ac:spMkLst>
            <pc:docMk/>
            <pc:sldMk cId="1722288439" sldId="2146849812"/>
            <ac:spMk id="44" creationId="{B6327D59-D9A9-7446-49B2-D8D214596700}"/>
          </ac:spMkLst>
        </pc:spChg>
        <pc:spChg chg="mod">
          <ac:chgData name="Mattias Vermeire" userId="afe8c86d-d01e-472e-9838-e047f8f3f33b" providerId="ADAL" clId="{ED405823-9A19-A940-BF7E-5438A0163F27}" dt="2024-02-14T21:50:54.085" v="99" actId="2711"/>
          <ac:spMkLst>
            <pc:docMk/>
            <pc:sldMk cId="1722288439" sldId="2146849812"/>
            <ac:spMk id="46" creationId="{22880B60-2D11-8CC6-E9B3-7856DEFE0641}"/>
          </ac:spMkLst>
        </pc:spChg>
        <pc:spChg chg="mod">
          <ac:chgData name="Mattias Vermeire" userId="afe8c86d-d01e-472e-9838-e047f8f3f33b" providerId="ADAL" clId="{ED405823-9A19-A940-BF7E-5438A0163F27}" dt="2024-02-14T21:50:54.085" v="99" actId="2711"/>
          <ac:spMkLst>
            <pc:docMk/>
            <pc:sldMk cId="1722288439" sldId="2146849812"/>
            <ac:spMk id="47" creationId="{C4A33D27-B1D2-0D10-8890-9C33E38DAD4C}"/>
          </ac:spMkLst>
        </pc:spChg>
        <pc:spChg chg="mod">
          <ac:chgData name="Mattias Vermeire" userId="afe8c86d-d01e-472e-9838-e047f8f3f33b" providerId="ADAL" clId="{ED405823-9A19-A940-BF7E-5438A0163F27}" dt="2024-02-14T21:50:54.085" v="99" actId="2711"/>
          <ac:spMkLst>
            <pc:docMk/>
            <pc:sldMk cId="1722288439" sldId="2146849812"/>
            <ac:spMk id="49" creationId="{C3A84D2E-7129-18B3-59D2-CFC665630605}"/>
          </ac:spMkLst>
        </pc:spChg>
        <pc:spChg chg="mod">
          <ac:chgData name="Mattias Vermeire" userId="afe8c86d-d01e-472e-9838-e047f8f3f33b" providerId="ADAL" clId="{ED405823-9A19-A940-BF7E-5438A0163F27}" dt="2024-02-14T21:50:54.085" v="99" actId="2711"/>
          <ac:spMkLst>
            <pc:docMk/>
            <pc:sldMk cId="1722288439" sldId="2146849812"/>
            <ac:spMk id="52" creationId="{BC23DB49-23F9-E9C4-AC65-1F57FC7E0C3A}"/>
          </ac:spMkLst>
        </pc:spChg>
        <pc:spChg chg="mod">
          <ac:chgData name="Mattias Vermeire" userId="afe8c86d-d01e-472e-9838-e047f8f3f33b" providerId="ADAL" clId="{ED405823-9A19-A940-BF7E-5438A0163F27}" dt="2024-02-14T21:50:54.085" v="99" actId="2711"/>
          <ac:spMkLst>
            <pc:docMk/>
            <pc:sldMk cId="1722288439" sldId="2146849812"/>
            <ac:spMk id="54" creationId="{D2D76356-9041-F8D3-6563-77F6F36DE880}"/>
          </ac:spMkLst>
        </pc:spChg>
        <pc:spChg chg="mod">
          <ac:chgData name="Mattias Vermeire" userId="afe8c86d-d01e-472e-9838-e047f8f3f33b" providerId="ADAL" clId="{ED405823-9A19-A940-BF7E-5438A0163F27}" dt="2024-02-14T21:50:54.085" v="99" actId="2711"/>
          <ac:spMkLst>
            <pc:docMk/>
            <pc:sldMk cId="1722288439" sldId="2146849812"/>
            <ac:spMk id="64" creationId="{261DC368-5826-9673-AFB5-C9DD9101DA68}"/>
          </ac:spMkLst>
        </pc:spChg>
        <pc:spChg chg="mod">
          <ac:chgData name="Mattias Vermeire" userId="afe8c86d-d01e-472e-9838-e047f8f3f33b" providerId="ADAL" clId="{ED405823-9A19-A940-BF7E-5438A0163F27}" dt="2024-02-14T21:51:05.602" v="100" actId="1035"/>
          <ac:spMkLst>
            <pc:docMk/>
            <pc:sldMk cId="1722288439" sldId="2146849812"/>
            <ac:spMk id="65" creationId="{0A509FB1-9178-93A2-E519-2A34541A2A34}"/>
          </ac:spMkLst>
        </pc:spChg>
      </pc:sldChg>
      <pc:sldChg chg="modSp mod">
        <pc:chgData name="Mattias Vermeire" userId="afe8c86d-d01e-472e-9838-e047f8f3f33b" providerId="ADAL" clId="{ED405823-9A19-A940-BF7E-5438A0163F27}" dt="2024-02-14T21:53:34.636" v="106" actId="2711"/>
        <pc:sldMkLst>
          <pc:docMk/>
          <pc:sldMk cId="2228196799" sldId="2146849813"/>
        </pc:sldMkLst>
        <pc:spChg chg="mod">
          <ac:chgData name="Mattias Vermeire" userId="afe8c86d-d01e-472e-9838-e047f8f3f33b" providerId="ADAL" clId="{ED405823-9A19-A940-BF7E-5438A0163F27}" dt="2024-02-14T21:53:34.636" v="106" actId="2711"/>
          <ac:spMkLst>
            <pc:docMk/>
            <pc:sldMk cId="2228196799" sldId="2146849813"/>
            <ac:spMk id="4" creationId="{9F4D29FA-A355-8271-6889-AB49AFC6EB12}"/>
          </ac:spMkLst>
        </pc:spChg>
        <pc:spChg chg="mod">
          <ac:chgData name="Mattias Vermeire" userId="afe8c86d-d01e-472e-9838-e047f8f3f33b" providerId="ADAL" clId="{ED405823-9A19-A940-BF7E-5438A0163F27}" dt="2024-02-14T21:53:34.636" v="106" actId="2711"/>
          <ac:spMkLst>
            <pc:docMk/>
            <pc:sldMk cId="2228196799" sldId="2146849813"/>
            <ac:spMk id="5" creationId="{5F7A1A43-376D-567D-F18F-26E1BF945E39}"/>
          </ac:spMkLst>
        </pc:spChg>
        <pc:spChg chg="mod">
          <ac:chgData name="Mattias Vermeire" userId="afe8c86d-d01e-472e-9838-e047f8f3f33b" providerId="ADAL" clId="{ED405823-9A19-A940-BF7E-5438A0163F27}" dt="2024-02-14T21:53:34.636" v="106" actId="2711"/>
          <ac:spMkLst>
            <pc:docMk/>
            <pc:sldMk cId="2228196799" sldId="2146849813"/>
            <ac:spMk id="11" creationId="{D97888B9-3D2A-1487-4153-77B27F2F18D2}"/>
          </ac:spMkLst>
        </pc:spChg>
        <pc:spChg chg="mod">
          <ac:chgData name="Mattias Vermeire" userId="afe8c86d-d01e-472e-9838-e047f8f3f33b" providerId="ADAL" clId="{ED405823-9A19-A940-BF7E-5438A0163F27}" dt="2024-02-14T21:53:34.636" v="106" actId="2711"/>
          <ac:spMkLst>
            <pc:docMk/>
            <pc:sldMk cId="2228196799" sldId="2146849813"/>
            <ac:spMk id="13" creationId="{69FDF991-3600-B079-608A-95F59D45CE95}"/>
          </ac:spMkLst>
        </pc:spChg>
        <pc:spChg chg="mod">
          <ac:chgData name="Mattias Vermeire" userId="afe8c86d-d01e-472e-9838-e047f8f3f33b" providerId="ADAL" clId="{ED405823-9A19-A940-BF7E-5438A0163F27}" dt="2024-02-14T21:53:34.636" v="106" actId="2711"/>
          <ac:spMkLst>
            <pc:docMk/>
            <pc:sldMk cId="2228196799" sldId="2146849813"/>
            <ac:spMk id="14" creationId="{B961DF25-0C81-5046-7A57-C63751D616C0}"/>
          </ac:spMkLst>
        </pc:spChg>
        <pc:spChg chg="mod">
          <ac:chgData name="Mattias Vermeire" userId="afe8c86d-d01e-472e-9838-e047f8f3f33b" providerId="ADAL" clId="{ED405823-9A19-A940-BF7E-5438A0163F27}" dt="2024-02-14T21:53:34.636" v="106" actId="2711"/>
          <ac:spMkLst>
            <pc:docMk/>
            <pc:sldMk cId="2228196799" sldId="2146849813"/>
            <ac:spMk id="17" creationId="{CDE0CC4F-E488-BF06-03C2-EC423F39B472}"/>
          </ac:spMkLst>
        </pc:spChg>
        <pc:spChg chg="mod">
          <ac:chgData name="Mattias Vermeire" userId="afe8c86d-d01e-472e-9838-e047f8f3f33b" providerId="ADAL" clId="{ED405823-9A19-A940-BF7E-5438A0163F27}" dt="2024-02-14T21:53:34.636" v="106" actId="2711"/>
          <ac:spMkLst>
            <pc:docMk/>
            <pc:sldMk cId="2228196799" sldId="2146849813"/>
            <ac:spMk id="26" creationId="{71FC600B-CF68-5187-BCDF-9E10C8FACD4C}"/>
          </ac:spMkLst>
        </pc:spChg>
        <pc:spChg chg="mod">
          <ac:chgData name="Mattias Vermeire" userId="afe8c86d-d01e-472e-9838-e047f8f3f33b" providerId="ADAL" clId="{ED405823-9A19-A940-BF7E-5438A0163F27}" dt="2024-02-14T21:53:34.636" v="106" actId="2711"/>
          <ac:spMkLst>
            <pc:docMk/>
            <pc:sldMk cId="2228196799" sldId="2146849813"/>
            <ac:spMk id="27" creationId="{856A23D2-E82D-F21E-FD94-80DC75F5FCEE}"/>
          </ac:spMkLst>
        </pc:spChg>
        <pc:spChg chg="mod">
          <ac:chgData name="Mattias Vermeire" userId="afe8c86d-d01e-472e-9838-e047f8f3f33b" providerId="ADAL" clId="{ED405823-9A19-A940-BF7E-5438A0163F27}" dt="2024-02-14T21:53:34.636" v="106" actId="2711"/>
          <ac:spMkLst>
            <pc:docMk/>
            <pc:sldMk cId="2228196799" sldId="2146849813"/>
            <ac:spMk id="28" creationId="{307B307A-7CD9-8AEE-6A12-A10300132215}"/>
          </ac:spMkLst>
        </pc:spChg>
        <pc:spChg chg="mod">
          <ac:chgData name="Mattias Vermeire" userId="afe8c86d-d01e-472e-9838-e047f8f3f33b" providerId="ADAL" clId="{ED405823-9A19-A940-BF7E-5438A0163F27}" dt="2024-02-14T21:53:34.636" v="106" actId="2711"/>
          <ac:spMkLst>
            <pc:docMk/>
            <pc:sldMk cId="2228196799" sldId="2146849813"/>
            <ac:spMk id="30" creationId="{69A10649-1DC1-74EC-B596-A97080CDD64E}"/>
          </ac:spMkLst>
        </pc:spChg>
        <pc:spChg chg="mod">
          <ac:chgData name="Mattias Vermeire" userId="afe8c86d-d01e-472e-9838-e047f8f3f33b" providerId="ADAL" clId="{ED405823-9A19-A940-BF7E-5438A0163F27}" dt="2024-02-14T21:53:34.636" v="106" actId="2711"/>
          <ac:spMkLst>
            <pc:docMk/>
            <pc:sldMk cId="2228196799" sldId="2146849813"/>
            <ac:spMk id="31" creationId="{01368F03-551A-7E93-6207-366C271F517D}"/>
          </ac:spMkLst>
        </pc:spChg>
        <pc:spChg chg="mod">
          <ac:chgData name="Mattias Vermeire" userId="afe8c86d-d01e-472e-9838-e047f8f3f33b" providerId="ADAL" clId="{ED405823-9A19-A940-BF7E-5438A0163F27}" dt="2024-02-14T21:53:34.636" v="106" actId="2711"/>
          <ac:spMkLst>
            <pc:docMk/>
            <pc:sldMk cId="2228196799" sldId="2146849813"/>
            <ac:spMk id="44" creationId="{D748B90C-8BD6-621A-BC08-0D5A025A4670}"/>
          </ac:spMkLst>
        </pc:spChg>
      </pc:sldChg>
      <pc:sldChg chg="modSp mod">
        <pc:chgData name="Mattias Vermeire" userId="afe8c86d-d01e-472e-9838-e047f8f3f33b" providerId="ADAL" clId="{ED405823-9A19-A940-BF7E-5438A0163F27}" dt="2024-02-14T21:55:04.851" v="140" actId="2711"/>
        <pc:sldMkLst>
          <pc:docMk/>
          <pc:sldMk cId="3806750613" sldId="2146849814"/>
        </pc:sldMkLst>
        <pc:spChg chg="mod">
          <ac:chgData name="Mattias Vermeire" userId="afe8c86d-d01e-472e-9838-e047f8f3f33b" providerId="ADAL" clId="{ED405823-9A19-A940-BF7E-5438A0163F27}" dt="2024-02-14T21:54:49.615" v="139" actId="2711"/>
          <ac:spMkLst>
            <pc:docMk/>
            <pc:sldMk cId="3806750613" sldId="2146849814"/>
            <ac:spMk id="4" creationId="{83D2E820-0A01-DB11-80FC-269609285745}"/>
          </ac:spMkLst>
        </pc:spChg>
        <pc:spChg chg="mod">
          <ac:chgData name="Mattias Vermeire" userId="afe8c86d-d01e-472e-9838-e047f8f3f33b" providerId="ADAL" clId="{ED405823-9A19-A940-BF7E-5438A0163F27}" dt="2024-02-14T21:55:04.851" v="140" actId="2711"/>
          <ac:spMkLst>
            <pc:docMk/>
            <pc:sldMk cId="3806750613" sldId="2146849814"/>
            <ac:spMk id="5" creationId="{DDF001F1-034E-69AF-890F-8166BE99B4D3}"/>
          </ac:spMkLst>
        </pc:spChg>
        <pc:spChg chg="mod">
          <ac:chgData name="Mattias Vermeire" userId="afe8c86d-d01e-472e-9838-e047f8f3f33b" providerId="ADAL" clId="{ED405823-9A19-A940-BF7E-5438A0163F27}" dt="2024-02-14T21:54:49.615" v="139" actId="2711"/>
          <ac:spMkLst>
            <pc:docMk/>
            <pc:sldMk cId="3806750613" sldId="2146849814"/>
            <ac:spMk id="11" creationId="{D5984ABE-8418-8FC4-D04F-91BE1FAB6265}"/>
          </ac:spMkLst>
        </pc:spChg>
        <pc:spChg chg="mod">
          <ac:chgData name="Mattias Vermeire" userId="afe8c86d-d01e-472e-9838-e047f8f3f33b" providerId="ADAL" clId="{ED405823-9A19-A940-BF7E-5438A0163F27}" dt="2024-02-14T21:54:49.615" v="139" actId="2711"/>
          <ac:spMkLst>
            <pc:docMk/>
            <pc:sldMk cId="3806750613" sldId="2146849814"/>
            <ac:spMk id="13" creationId="{73725E32-3B6E-0521-74C5-5B03369E9A98}"/>
          </ac:spMkLst>
        </pc:spChg>
        <pc:spChg chg="mod">
          <ac:chgData name="Mattias Vermeire" userId="afe8c86d-d01e-472e-9838-e047f8f3f33b" providerId="ADAL" clId="{ED405823-9A19-A940-BF7E-5438A0163F27}" dt="2024-02-14T21:54:49.615" v="139" actId="2711"/>
          <ac:spMkLst>
            <pc:docMk/>
            <pc:sldMk cId="3806750613" sldId="2146849814"/>
            <ac:spMk id="26" creationId="{AE28ABD7-A3E4-52CF-3DBC-D9FFC4A1C867}"/>
          </ac:spMkLst>
        </pc:spChg>
        <pc:spChg chg="mod">
          <ac:chgData name="Mattias Vermeire" userId="afe8c86d-d01e-472e-9838-e047f8f3f33b" providerId="ADAL" clId="{ED405823-9A19-A940-BF7E-5438A0163F27}" dt="2024-02-14T21:54:49.615" v="139" actId="2711"/>
          <ac:spMkLst>
            <pc:docMk/>
            <pc:sldMk cId="3806750613" sldId="2146849814"/>
            <ac:spMk id="27" creationId="{DF2EAE3A-19B0-2F85-EACE-82500A316848}"/>
          </ac:spMkLst>
        </pc:spChg>
        <pc:spChg chg="mod">
          <ac:chgData name="Mattias Vermeire" userId="afe8c86d-d01e-472e-9838-e047f8f3f33b" providerId="ADAL" clId="{ED405823-9A19-A940-BF7E-5438A0163F27}" dt="2024-02-14T21:54:49.615" v="139" actId="2711"/>
          <ac:spMkLst>
            <pc:docMk/>
            <pc:sldMk cId="3806750613" sldId="2146849814"/>
            <ac:spMk id="28" creationId="{FDA7485B-9723-7451-BA2D-8DD0F40EACF6}"/>
          </ac:spMkLst>
        </pc:spChg>
        <pc:spChg chg="mod">
          <ac:chgData name="Mattias Vermeire" userId="afe8c86d-d01e-472e-9838-e047f8f3f33b" providerId="ADAL" clId="{ED405823-9A19-A940-BF7E-5438A0163F27}" dt="2024-02-14T21:54:49.615" v="139" actId="2711"/>
          <ac:spMkLst>
            <pc:docMk/>
            <pc:sldMk cId="3806750613" sldId="2146849814"/>
            <ac:spMk id="30" creationId="{94AF2FBE-02A5-CADE-839C-27DEF5E6BD1B}"/>
          </ac:spMkLst>
        </pc:spChg>
        <pc:spChg chg="mod">
          <ac:chgData name="Mattias Vermeire" userId="afe8c86d-d01e-472e-9838-e047f8f3f33b" providerId="ADAL" clId="{ED405823-9A19-A940-BF7E-5438A0163F27}" dt="2024-02-14T21:54:49.615" v="139" actId="2711"/>
          <ac:spMkLst>
            <pc:docMk/>
            <pc:sldMk cId="3806750613" sldId="2146849814"/>
            <ac:spMk id="31" creationId="{7A4B0AEF-9BE9-0AB3-8A3C-58A16249AF00}"/>
          </ac:spMkLst>
        </pc:spChg>
        <pc:spChg chg="mod">
          <ac:chgData name="Mattias Vermeire" userId="afe8c86d-d01e-472e-9838-e047f8f3f33b" providerId="ADAL" clId="{ED405823-9A19-A940-BF7E-5438A0163F27}" dt="2024-02-14T21:54:49.615" v="139" actId="2711"/>
          <ac:spMkLst>
            <pc:docMk/>
            <pc:sldMk cId="3806750613" sldId="2146849814"/>
            <ac:spMk id="44" creationId="{8F1F8AB5-781C-3107-FE30-FBDEB8619663}"/>
          </ac:spMkLst>
        </pc:spChg>
      </pc:sldChg>
      <pc:sldChg chg="modSp mod">
        <pc:chgData name="Mattias Vermeire" userId="afe8c86d-d01e-472e-9838-e047f8f3f33b" providerId="ADAL" clId="{ED405823-9A19-A940-BF7E-5438A0163F27}" dt="2024-02-14T21:42:49.693" v="7" actId="2710"/>
        <pc:sldMkLst>
          <pc:docMk/>
          <pc:sldMk cId="476255691" sldId="2146849815"/>
        </pc:sldMkLst>
        <pc:spChg chg="mod">
          <ac:chgData name="Mattias Vermeire" userId="afe8c86d-d01e-472e-9838-e047f8f3f33b" providerId="ADAL" clId="{ED405823-9A19-A940-BF7E-5438A0163F27}" dt="2024-02-14T21:42:49.693" v="7" actId="2710"/>
          <ac:spMkLst>
            <pc:docMk/>
            <pc:sldMk cId="476255691" sldId="2146849815"/>
            <ac:spMk id="10" creationId="{D873108F-995E-608D-E8C1-81C2D184C9B0}"/>
          </ac:spMkLst>
        </pc:spChg>
      </pc:sldChg>
      <pc:sldChg chg="modSp mod">
        <pc:chgData name="Mattias Vermeire" userId="afe8c86d-d01e-472e-9838-e047f8f3f33b" providerId="ADAL" clId="{ED405823-9A19-A940-BF7E-5438A0163F27}" dt="2024-02-14T21:43:03.263" v="11" actId="2710"/>
        <pc:sldMkLst>
          <pc:docMk/>
          <pc:sldMk cId="2773037224" sldId="2146849816"/>
        </pc:sldMkLst>
        <pc:spChg chg="mod">
          <ac:chgData name="Mattias Vermeire" userId="afe8c86d-d01e-472e-9838-e047f8f3f33b" providerId="ADAL" clId="{ED405823-9A19-A940-BF7E-5438A0163F27}" dt="2024-02-14T21:43:03.263" v="11" actId="2710"/>
          <ac:spMkLst>
            <pc:docMk/>
            <pc:sldMk cId="2773037224" sldId="2146849816"/>
            <ac:spMk id="2" creationId="{68CA56D3-38D6-8FAF-7F1C-99DF720B702F}"/>
          </ac:spMkLst>
        </pc:spChg>
      </pc:sldChg>
      <pc:sldChg chg="modSp mod">
        <pc:chgData name="Mattias Vermeire" userId="afe8c86d-d01e-472e-9838-e047f8f3f33b" providerId="ADAL" clId="{ED405823-9A19-A940-BF7E-5438A0163F27}" dt="2024-02-15T10:25:44.789" v="253" actId="20577"/>
        <pc:sldMkLst>
          <pc:docMk/>
          <pc:sldMk cId="2625471115" sldId="2147373261"/>
        </pc:sldMkLst>
        <pc:graphicFrameChg chg="modGraphic">
          <ac:chgData name="Mattias Vermeire" userId="afe8c86d-d01e-472e-9838-e047f8f3f33b" providerId="ADAL" clId="{ED405823-9A19-A940-BF7E-5438A0163F27}" dt="2024-02-15T10:25:44.789" v="253" actId="20577"/>
          <ac:graphicFrameMkLst>
            <pc:docMk/>
            <pc:sldMk cId="2625471115" sldId="2147373261"/>
            <ac:graphicFrameMk id="5" creationId="{ED0D0F3B-022C-3A9C-BB22-459378F865C6}"/>
          </ac:graphicFrameMkLst>
        </pc:graphicFrameChg>
      </pc:sldChg>
    </pc:docChg>
  </pc:docChgLst>
  <pc:docChgLst>
    <pc:chgData name="Iris Minnema" userId="S::iris@happiness-anywhere.com::5cff94b1-6c0b-4c1f-a712-473b84d89636" providerId="AD" clId="Web-{2F92398C-F02E-BB2E-9998-6EB8B23AC945}"/>
    <pc:docChg chg="addSld modSld">
      <pc:chgData name="Iris Minnema" userId="S::iris@happiness-anywhere.com::5cff94b1-6c0b-4c1f-a712-473b84d89636" providerId="AD" clId="Web-{2F92398C-F02E-BB2E-9998-6EB8B23AC945}" dt="2024-02-15T10:26:25.467" v="16"/>
      <pc:docMkLst>
        <pc:docMk/>
      </pc:docMkLst>
      <pc:sldChg chg="modSp">
        <pc:chgData name="Iris Minnema" userId="S::iris@happiness-anywhere.com::5cff94b1-6c0b-4c1f-a712-473b84d89636" providerId="AD" clId="Web-{2F92398C-F02E-BB2E-9998-6EB8B23AC945}" dt="2024-02-15T10:23:21.774" v="15" actId="20577"/>
        <pc:sldMkLst>
          <pc:docMk/>
          <pc:sldMk cId="3074706286" sldId="2146849010"/>
        </pc:sldMkLst>
        <pc:spChg chg="mod">
          <ac:chgData name="Iris Minnema" userId="S::iris@happiness-anywhere.com::5cff94b1-6c0b-4c1f-a712-473b84d89636" providerId="AD" clId="Web-{2F92398C-F02E-BB2E-9998-6EB8B23AC945}" dt="2024-02-15T10:23:21.774" v="15" actId="20577"/>
          <ac:spMkLst>
            <pc:docMk/>
            <pc:sldMk cId="3074706286" sldId="2146849010"/>
            <ac:spMk id="2" creationId="{02E450C0-FE33-D875-FB2D-CE57CBAFA2D2}"/>
          </ac:spMkLst>
        </pc:spChg>
      </pc:sldChg>
      <pc:sldChg chg="add replId">
        <pc:chgData name="Iris Minnema" userId="S::iris@happiness-anywhere.com::5cff94b1-6c0b-4c1f-a712-473b84d89636" providerId="AD" clId="Web-{2F92398C-F02E-BB2E-9998-6EB8B23AC945}" dt="2024-02-15T10:26:25.467" v="16"/>
        <pc:sldMkLst>
          <pc:docMk/>
          <pc:sldMk cId="4098090407" sldId="2147373278"/>
        </pc:sldMkLst>
      </pc:sldChg>
    </pc:docChg>
  </pc:docChgLst>
  <pc:docChgLst>
    <pc:chgData name="Iris Minnema" userId="S::iris@happiness-anywhere.com::5cff94b1-6c0b-4c1f-a712-473b84d89636" providerId="AD" clId="Web-{B48CD4EF-DEEC-EEF3-9726-1719D5DE555A}"/>
    <pc:docChg chg="addSld modSld sldOrd">
      <pc:chgData name="Iris Minnema" userId="S::iris@happiness-anywhere.com::5cff94b1-6c0b-4c1f-a712-473b84d89636" providerId="AD" clId="Web-{B48CD4EF-DEEC-EEF3-9726-1719D5DE555A}" dt="2024-02-15T07:23:21.492" v="18" actId="20577"/>
      <pc:docMkLst>
        <pc:docMk/>
      </pc:docMkLst>
      <pc:sldChg chg="add">
        <pc:chgData name="Iris Minnema" userId="S::iris@happiness-anywhere.com::5cff94b1-6c0b-4c1f-a712-473b84d89636" providerId="AD" clId="Web-{B48CD4EF-DEEC-EEF3-9726-1719D5DE555A}" dt="2024-02-15T07:22:32.725" v="8"/>
        <pc:sldMkLst>
          <pc:docMk/>
          <pc:sldMk cId="747393067" sldId="9566"/>
        </pc:sldMkLst>
      </pc:sldChg>
      <pc:sldChg chg="add">
        <pc:chgData name="Iris Minnema" userId="S::iris@happiness-anywhere.com::5cff94b1-6c0b-4c1f-a712-473b84d89636" providerId="AD" clId="Web-{B48CD4EF-DEEC-EEF3-9726-1719D5DE555A}" dt="2024-02-15T07:22:30.022" v="1"/>
        <pc:sldMkLst>
          <pc:docMk/>
          <pc:sldMk cId="496015466" sldId="2145707928"/>
        </pc:sldMkLst>
      </pc:sldChg>
      <pc:sldChg chg="add">
        <pc:chgData name="Iris Minnema" userId="S::iris@happiness-anywhere.com::5cff94b1-6c0b-4c1f-a712-473b84d89636" providerId="AD" clId="Web-{B48CD4EF-DEEC-EEF3-9726-1719D5DE555A}" dt="2024-02-15T07:22:30.131" v="2"/>
        <pc:sldMkLst>
          <pc:docMk/>
          <pc:sldMk cId="2853977409" sldId="2145708109"/>
        </pc:sldMkLst>
      </pc:sldChg>
      <pc:sldChg chg="add">
        <pc:chgData name="Iris Minnema" userId="S::iris@happiness-anywhere.com::5cff94b1-6c0b-4c1f-a712-473b84d89636" providerId="AD" clId="Web-{B48CD4EF-DEEC-EEF3-9726-1719D5DE555A}" dt="2024-02-15T07:22:30.225" v="3"/>
        <pc:sldMkLst>
          <pc:docMk/>
          <pc:sldMk cId="760018694" sldId="2145708111"/>
        </pc:sldMkLst>
      </pc:sldChg>
      <pc:sldChg chg="add ord">
        <pc:chgData name="Iris Minnema" userId="S::iris@happiness-anywhere.com::5cff94b1-6c0b-4c1f-a712-473b84d89636" providerId="AD" clId="Web-{B48CD4EF-DEEC-EEF3-9726-1719D5DE555A}" dt="2024-02-15T07:22:49.616" v="11"/>
        <pc:sldMkLst>
          <pc:docMk/>
          <pc:sldMk cId="2531869081" sldId="2147373259"/>
        </pc:sldMkLst>
      </pc:sldChg>
      <pc:sldChg chg="add">
        <pc:chgData name="Iris Minnema" userId="S::iris@happiness-anywhere.com::5cff94b1-6c0b-4c1f-a712-473b84d89636" providerId="AD" clId="Web-{B48CD4EF-DEEC-EEF3-9726-1719D5DE555A}" dt="2024-02-15T07:22:30.537" v="6"/>
        <pc:sldMkLst>
          <pc:docMk/>
          <pc:sldMk cId="877799909" sldId="2147373260"/>
        </pc:sldMkLst>
      </pc:sldChg>
      <pc:sldChg chg="add">
        <pc:chgData name="Iris Minnema" userId="S::iris@happiness-anywhere.com::5cff94b1-6c0b-4c1f-a712-473b84d89636" providerId="AD" clId="Web-{B48CD4EF-DEEC-EEF3-9726-1719D5DE555A}" dt="2024-02-15T07:22:30.444" v="5"/>
        <pc:sldMkLst>
          <pc:docMk/>
          <pc:sldMk cId="2625471115" sldId="2147373261"/>
        </pc:sldMkLst>
      </pc:sldChg>
      <pc:sldChg chg="add">
        <pc:chgData name="Iris Minnema" userId="S::iris@happiness-anywhere.com::5cff94b1-6c0b-4c1f-a712-473b84d89636" providerId="AD" clId="Web-{B48CD4EF-DEEC-EEF3-9726-1719D5DE555A}" dt="2024-02-15T07:22:30.287" v="4"/>
        <pc:sldMkLst>
          <pc:docMk/>
          <pc:sldMk cId="3096052738" sldId="2147373263"/>
        </pc:sldMkLst>
      </pc:sldChg>
      <pc:sldChg chg="add">
        <pc:chgData name="Iris Minnema" userId="S::iris@happiness-anywhere.com::5cff94b1-6c0b-4c1f-a712-473b84d89636" providerId="AD" clId="Web-{B48CD4EF-DEEC-EEF3-9726-1719D5DE555A}" dt="2024-02-15T07:22:32.928" v="10"/>
        <pc:sldMkLst>
          <pc:docMk/>
          <pc:sldMk cId="2397910568" sldId="2147373266"/>
        </pc:sldMkLst>
      </pc:sldChg>
      <pc:sldChg chg="add">
        <pc:chgData name="Iris Minnema" userId="S::iris@happiness-anywhere.com::5cff94b1-6c0b-4c1f-a712-473b84d89636" providerId="AD" clId="Web-{B48CD4EF-DEEC-EEF3-9726-1719D5DE555A}" dt="2024-02-15T07:22:30.897" v="7"/>
        <pc:sldMkLst>
          <pc:docMk/>
          <pc:sldMk cId="3323422743" sldId="2147373267"/>
        </pc:sldMkLst>
      </pc:sldChg>
      <pc:sldChg chg="add">
        <pc:chgData name="Iris Minnema" userId="S::iris@happiness-anywhere.com::5cff94b1-6c0b-4c1f-a712-473b84d89636" providerId="AD" clId="Web-{B48CD4EF-DEEC-EEF3-9726-1719D5DE555A}" dt="2024-02-15T07:22:29.881" v="0"/>
        <pc:sldMkLst>
          <pc:docMk/>
          <pc:sldMk cId="1134504174" sldId="2147373273"/>
        </pc:sldMkLst>
      </pc:sldChg>
      <pc:sldChg chg="modSp add replId">
        <pc:chgData name="Iris Minnema" userId="S::iris@happiness-anywhere.com::5cff94b1-6c0b-4c1f-a712-473b84d89636" providerId="AD" clId="Web-{B48CD4EF-DEEC-EEF3-9726-1719D5DE555A}" dt="2024-02-15T07:23:21.492" v="18" actId="20577"/>
        <pc:sldMkLst>
          <pc:docMk/>
          <pc:sldMk cId="3070996370" sldId="2147373274"/>
        </pc:sldMkLst>
        <pc:spChg chg="mod">
          <ac:chgData name="Iris Minnema" userId="S::iris@happiness-anywhere.com::5cff94b1-6c0b-4c1f-a712-473b84d89636" providerId="AD" clId="Web-{B48CD4EF-DEEC-EEF3-9726-1719D5DE555A}" dt="2024-02-15T07:23:13.523" v="14" actId="20577"/>
          <ac:spMkLst>
            <pc:docMk/>
            <pc:sldMk cId="3070996370" sldId="2147373274"/>
            <ac:spMk id="2" creationId="{261857CC-8308-35E4-EC18-283067344D4E}"/>
          </ac:spMkLst>
        </pc:spChg>
        <pc:spChg chg="mod">
          <ac:chgData name="Iris Minnema" userId="S::iris@happiness-anywhere.com::5cff94b1-6c0b-4c1f-a712-473b84d89636" providerId="AD" clId="Web-{B48CD4EF-DEEC-EEF3-9726-1719D5DE555A}" dt="2024-02-15T07:23:21.492" v="18" actId="20577"/>
          <ac:spMkLst>
            <pc:docMk/>
            <pc:sldMk cId="3070996370" sldId="2147373274"/>
            <ac:spMk id="3" creationId="{479BF544-110C-B2FE-EBA6-0D2BC1E5F373}"/>
          </ac:spMkLst>
        </pc:spChg>
      </pc:sldChg>
    </pc:docChg>
  </pc:docChgLst>
  <pc:docChgLst>
    <pc:chgData name="Iris Minnema" userId="5cff94b1-6c0b-4c1f-a712-473b84d89636" providerId="ADAL" clId="{00F3FCF3-6486-EC4A-A7E3-69985F299E54}"/>
    <pc:docChg chg="undo custSel addSld delSld modSld sldOrd">
      <pc:chgData name="Iris Minnema" userId="5cff94b1-6c0b-4c1f-a712-473b84d89636" providerId="ADAL" clId="{00F3FCF3-6486-EC4A-A7E3-69985F299E54}" dt="2024-02-15T08:03:04.616" v="1468" actId="5793"/>
      <pc:docMkLst>
        <pc:docMk/>
      </pc:docMkLst>
      <pc:sldChg chg="del">
        <pc:chgData name="Iris Minnema" userId="5cff94b1-6c0b-4c1f-a712-473b84d89636" providerId="ADAL" clId="{00F3FCF3-6486-EC4A-A7E3-69985F299E54}" dt="2024-02-15T07:32:34.691" v="153" actId="2696"/>
        <pc:sldMkLst>
          <pc:docMk/>
          <pc:sldMk cId="747393067" sldId="9566"/>
        </pc:sldMkLst>
      </pc:sldChg>
      <pc:sldChg chg="addSp delSp modSp mod">
        <pc:chgData name="Iris Minnema" userId="5cff94b1-6c0b-4c1f-a712-473b84d89636" providerId="ADAL" clId="{00F3FCF3-6486-EC4A-A7E3-69985F299E54}" dt="2024-02-15T07:59:13.597" v="1400"/>
        <pc:sldMkLst>
          <pc:docMk/>
          <pc:sldMk cId="496015466" sldId="2145707928"/>
        </pc:sldMkLst>
        <pc:spChg chg="del">
          <ac:chgData name="Iris Minnema" userId="5cff94b1-6c0b-4c1f-a712-473b84d89636" providerId="ADAL" clId="{00F3FCF3-6486-EC4A-A7E3-69985F299E54}" dt="2024-02-15T07:59:10.789" v="1399" actId="478"/>
          <ac:spMkLst>
            <pc:docMk/>
            <pc:sldMk cId="496015466" sldId="2145707928"/>
            <ac:spMk id="14" creationId="{4475D8EC-6D53-5DB9-79C2-B14819FF7E2B}"/>
          </ac:spMkLst>
        </pc:spChg>
        <pc:spChg chg="add mod">
          <ac:chgData name="Iris Minnema" userId="5cff94b1-6c0b-4c1f-a712-473b84d89636" providerId="ADAL" clId="{00F3FCF3-6486-EC4A-A7E3-69985F299E54}" dt="2024-02-15T07:59:13.597" v="1400"/>
          <ac:spMkLst>
            <pc:docMk/>
            <pc:sldMk cId="496015466" sldId="2145707928"/>
            <ac:spMk id="18" creationId="{AC4A60A5-B907-2B0B-137B-F18501B155BF}"/>
          </ac:spMkLst>
        </pc:spChg>
        <pc:cxnChg chg="del">
          <ac:chgData name="Iris Minnema" userId="5cff94b1-6c0b-4c1f-a712-473b84d89636" providerId="ADAL" clId="{00F3FCF3-6486-EC4A-A7E3-69985F299E54}" dt="2024-02-15T07:59:07.089" v="1398" actId="478"/>
          <ac:cxnSpMkLst>
            <pc:docMk/>
            <pc:sldMk cId="496015466" sldId="2145707928"/>
            <ac:cxnSpMk id="16" creationId="{BD3ED2EA-243A-6F4E-0F4E-886BFFDF1D98}"/>
          </ac:cxnSpMkLst>
        </pc:cxnChg>
        <pc:cxnChg chg="add mod">
          <ac:chgData name="Iris Minnema" userId="5cff94b1-6c0b-4c1f-a712-473b84d89636" providerId="ADAL" clId="{00F3FCF3-6486-EC4A-A7E3-69985F299E54}" dt="2024-02-15T07:59:13.597" v="1400"/>
          <ac:cxnSpMkLst>
            <pc:docMk/>
            <pc:sldMk cId="496015466" sldId="2145707928"/>
            <ac:cxnSpMk id="19" creationId="{AEA0EFB3-5386-1D4D-2DF3-7A74402BBCD6}"/>
          </ac:cxnSpMkLst>
        </pc:cxnChg>
      </pc:sldChg>
      <pc:sldChg chg="del">
        <pc:chgData name="Iris Minnema" userId="5cff94b1-6c0b-4c1f-a712-473b84d89636" providerId="ADAL" clId="{00F3FCF3-6486-EC4A-A7E3-69985F299E54}" dt="2024-02-15T07:55:20.240" v="1308" actId="2696"/>
        <pc:sldMkLst>
          <pc:docMk/>
          <pc:sldMk cId="2853977409" sldId="2145708109"/>
        </pc:sldMkLst>
      </pc:sldChg>
      <pc:sldChg chg="addSp delSp modSp mod">
        <pc:chgData name="Iris Minnema" userId="5cff94b1-6c0b-4c1f-a712-473b84d89636" providerId="ADAL" clId="{00F3FCF3-6486-EC4A-A7E3-69985F299E54}" dt="2024-02-15T07:58:58.600" v="1397"/>
        <pc:sldMkLst>
          <pc:docMk/>
          <pc:sldMk cId="760018694" sldId="2145708111"/>
        </pc:sldMkLst>
        <pc:spChg chg="del">
          <ac:chgData name="Iris Minnema" userId="5cff94b1-6c0b-4c1f-a712-473b84d89636" providerId="ADAL" clId="{00F3FCF3-6486-EC4A-A7E3-69985F299E54}" dt="2024-02-15T07:54:56.679" v="1307" actId="478"/>
          <ac:spMkLst>
            <pc:docMk/>
            <pc:sldMk cId="760018694" sldId="2145708111"/>
            <ac:spMk id="10" creationId="{E2D4EC36-745E-9041-9522-C2088938E74C}"/>
          </ac:spMkLst>
        </pc:spChg>
        <pc:spChg chg="del">
          <ac:chgData name="Iris Minnema" userId="5cff94b1-6c0b-4c1f-a712-473b84d89636" providerId="ADAL" clId="{00F3FCF3-6486-EC4A-A7E3-69985F299E54}" dt="2024-02-15T07:57:51.037" v="1385" actId="478"/>
          <ac:spMkLst>
            <pc:docMk/>
            <pc:sldMk cId="760018694" sldId="2145708111"/>
            <ac:spMk id="11" creationId="{D733D775-6581-FC17-5239-244964ACCA54}"/>
          </ac:spMkLst>
        </pc:spChg>
        <pc:spChg chg="add mod">
          <ac:chgData name="Iris Minnema" userId="5cff94b1-6c0b-4c1f-a712-473b84d89636" providerId="ADAL" clId="{00F3FCF3-6486-EC4A-A7E3-69985F299E54}" dt="2024-02-15T07:58:58.600" v="1397"/>
          <ac:spMkLst>
            <pc:docMk/>
            <pc:sldMk cId="760018694" sldId="2145708111"/>
            <ac:spMk id="13" creationId="{9125528C-0783-7835-A72D-40CAE6B482C8}"/>
          </ac:spMkLst>
        </pc:spChg>
        <pc:cxnChg chg="del">
          <ac:chgData name="Iris Minnema" userId="5cff94b1-6c0b-4c1f-a712-473b84d89636" providerId="ADAL" clId="{00F3FCF3-6486-EC4A-A7E3-69985F299E54}" dt="2024-02-15T07:57:47.921" v="1384" actId="478"/>
          <ac:cxnSpMkLst>
            <pc:docMk/>
            <pc:sldMk cId="760018694" sldId="2145708111"/>
            <ac:cxnSpMk id="12" creationId="{1319BBDD-16C9-9DBB-C1FA-0CB1ADCDAADB}"/>
          </ac:cxnSpMkLst>
        </pc:cxnChg>
        <pc:cxnChg chg="add mod">
          <ac:chgData name="Iris Minnema" userId="5cff94b1-6c0b-4c1f-a712-473b84d89636" providerId="ADAL" clId="{00F3FCF3-6486-EC4A-A7E3-69985F299E54}" dt="2024-02-15T07:58:58.600" v="1397"/>
          <ac:cxnSpMkLst>
            <pc:docMk/>
            <pc:sldMk cId="760018694" sldId="2145708111"/>
            <ac:cxnSpMk id="14" creationId="{6A508BF8-7099-3B02-24EC-32EC0F81C982}"/>
          </ac:cxnSpMkLst>
        </pc:cxnChg>
      </pc:sldChg>
      <pc:sldChg chg="addSp delSp modSp mod">
        <pc:chgData name="Iris Minnema" userId="5cff94b1-6c0b-4c1f-a712-473b84d89636" providerId="ADAL" clId="{00F3FCF3-6486-EC4A-A7E3-69985F299E54}" dt="2024-02-15T07:30:48.784" v="55"/>
        <pc:sldMkLst>
          <pc:docMk/>
          <pc:sldMk cId="3040644318" sldId="2146848759"/>
        </pc:sldMkLst>
        <pc:spChg chg="add mod">
          <ac:chgData name="Iris Minnema" userId="5cff94b1-6c0b-4c1f-a712-473b84d89636" providerId="ADAL" clId="{00F3FCF3-6486-EC4A-A7E3-69985F299E54}" dt="2024-02-15T07:30:48.784" v="55"/>
          <ac:spMkLst>
            <pc:docMk/>
            <pc:sldMk cId="3040644318" sldId="2146848759"/>
            <ac:spMk id="14" creationId="{AF07D8BB-2B16-C76C-BD33-1E6D1CA122B0}"/>
          </ac:spMkLst>
        </pc:spChg>
        <pc:spChg chg="del">
          <ac:chgData name="Iris Minnema" userId="5cff94b1-6c0b-4c1f-a712-473b84d89636" providerId="ADAL" clId="{00F3FCF3-6486-EC4A-A7E3-69985F299E54}" dt="2024-02-15T07:30:28.985" v="53" actId="478"/>
          <ac:spMkLst>
            <pc:docMk/>
            <pc:sldMk cId="3040644318" sldId="2146848759"/>
            <ac:spMk id="53" creationId="{A1F7A8F2-DD81-BF47-B4F3-18B8432B8406}"/>
          </ac:spMkLst>
        </pc:spChg>
        <pc:cxnChg chg="add mod">
          <ac:chgData name="Iris Minnema" userId="5cff94b1-6c0b-4c1f-a712-473b84d89636" providerId="ADAL" clId="{00F3FCF3-6486-EC4A-A7E3-69985F299E54}" dt="2024-02-15T07:30:48.784" v="55"/>
          <ac:cxnSpMkLst>
            <pc:docMk/>
            <pc:sldMk cId="3040644318" sldId="2146848759"/>
            <ac:cxnSpMk id="16" creationId="{F6EE6DBC-FBAA-5246-8152-9B215B1E3F95}"/>
          </ac:cxnSpMkLst>
        </pc:cxnChg>
        <pc:cxnChg chg="del">
          <ac:chgData name="Iris Minnema" userId="5cff94b1-6c0b-4c1f-a712-473b84d89636" providerId="ADAL" clId="{00F3FCF3-6486-EC4A-A7E3-69985F299E54}" dt="2024-02-15T07:30:45.559" v="54" actId="478"/>
          <ac:cxnSpMkLst>
            <pc:docMk/>
            <pc:sldMk cId="3040644318" sldId="2146848759"/>
            <ac:cxnSpMk id="54" creationId="{0A5BEBE8-1913-808B-36C1-E4C67F95F0F0}"/>
          </ac:cxnSpMkLst>
        </pc:cxnChg>
      </pc:sldChg>
      <pc:sldChg chg="addSp delSp modSp mod">
        <pc:chgData name="Iris Minnema" userId="5cff94b1-6c0b-4c1f-a712-473b84d89636" providerId="ADAL" clId="{00F3FCF3-6486-EC4A-A7E3-69985F299E54}" dt="2024-02-15T07:26:27.636" v="2"/>
        <pc:sldMkLst>
          <pc:docMk/>
          <pc:sldMk cId="476255691" sldId="2146849815"/>
        </pc:sldMkLst>
        <pc:spChg chg="add mod">
          <ac:chgData name="Iris Minnema" userId="5cff94b1-6c0b-4c1f-a712-473b84d89636" providerId="ADAL" clId="{00F3FCF3-6486-EC4A-A7E3-69985F299E54}" dt="2024-02-15T07:26:27.636" v="2"/>
          <ac:spMkLst>
            <pc:docMk/>
            <pc:sldMk cId="476255691" sldId="2146849815"/>
            <ac:spMk id="2" creationId="{339A93D4-09D1-C317-A466-82A727B2A52A}"/>
          </ac:spMkLst>
        </pc:spChg>
        <pc:spChg chg="del">
          <ac:chgData name="Iris Minnema" userId="5cff94b1-6c0b-4c1f-a712-473b84d89636" providerId="ADAL" clId="{00F3FCF3-6486-EC4A-A7E3-69985F299E54}" dt="2024-02-15T07:26:24.856" v="1" actId="478"/>
          <ac:spMkLst>
            <pc:docMk/>
            <pc:sldMk cId="476255691" sldId="2146849815"/>
            <ac:spMk id="5" creationId="{538EEF0A-62C0-BB98-096E-CA5A348BD5BA}"/>
          </ac:spMkLst>
        </pc:spChg>
        <pc:cxnChg chg="del">
          <ac:chgData name="Iris Minnema" userId="5cff94b1-6c0b-4c1f-a712-473b84d89636" providerId="ADAL" clId="{00F3FCF3-6486-EC4A-A7E3-69985F299E54}" dt="2024-02-15T07:26:23.041" v="0" actId="478"/>
          <ac:cxnSpMkLst>
            <pc:docMk/>
            <pc:sldMk cId="476255691" sldId="2146849815"/>
            <ac:cxnSpMk id="6" creationId="{5C498672-5C61-3C42-6653-4CC3FB03E10D}"/>
          </ac:cxnSpMkLst>
        </pc:cxnChg>
        <pc:cxnChg chg="add mod">
          <ac:chgData name="Iris Minnema" userId="5cff94b1-6c0b-4c1f-a712-473b84d89636" providerId="ADAL" clId="{00F3FCF3-6486-EC4A-A7E3-69985F299E54}" dt="2024-02-15T07:26:27.636" v="2"/>
          <ac:cxnSpMkLst>
            <pc:docMk/>
            <pc:sldMk cId="476255691" sldId="2146849815"/>
            <ac:cxnSpMk id="11" creationId="{E01BE7C1-E0FD-5253-C785-06291BB9A187}"/>
          </ac:cxnSpMkLst>
        </pc:cxnChg>
      </pc:sldChg>
      <pc:sldChg chg="modSp mod">
        <pc:chgData name="Iris Minnema" userId="5cff94b1-6c0b-4c1f-a712-473b84d89636" providerId="ADAL" clId="{00F3FCF3-6486-EC4A-A7E3-69985F299E54}" dt="2024-02-15T08:00:15.730" v="1408" actId="20577"/>
        <pc:sldMkLst>
          <pc:docMk/>
          <pc:sldMk cId="2773037224" sldId="2146849816"/>
        </pc:sldMkLst>
        <pc:spChg chg="mod">
          <ac:chgData name="Iris Minnema" userId="5cff94b1-6c0b-4c1f-a712-473b84d89636" providerId="ADAL" clId="{00F3FCF3-6486-EC4A-A7E3-69985F299E54}" dt="2024-02-15T08:00:15.730" v="1408" actId="20577"/>
          <ac:spMkLst>
            <pc:docMk/>
            <pc:sldMk cId="2773037224" sldId="2146849816"/>
            <ac:spMk id="2" creationId="{68CA56D3-38D6-8FAF-7F1C-99DF720B702F}"/>
          </ac:spMkLst>
        </pc:spChg>
      </pc:sldChg>
      <pc:sldChg chg="del">
        <pc:chgData name="Iris Minnema" userId="5cff94b1-6c0b-4c1f-a712-473b84d89636" providerId="ADAL" clId="{00F3FCF3-6486-EC4A-A7E3-69985F299E54}" dt="2024-02-15T07:31:46.025" v="81" actId="2696"/>
        <pc:sldMkLst>
          <pc:docMk/>
          <pc:sldMk cId="2531869081" sldId="2147373259"/>
        </pc:sldMkLst>
      </pc:sldChg>
      <pc:sldChg chg="del">
        <pc:chgData name="Iris Minnema" userId="5cff94b1-6c0b-4c1f-a712-473b84d89636" providerId="ADAL" clId="{00F3FCF3-6486-EC4A-A7E3-69985F299E54}" dt="2024-02-15T07:32:48.306" v="155" actId="2696"/>
        <pc:sldMkLst>
          <pc:docMk/>
          <pc:sldMk cId="877799909" sldId="2147373260"/>
        </pc:sldMkLst>
      </pc:sldChg>
      <pc:sldChg chg="modSp mod ord">
        <pc:chgData name="Iris Minnema" userId="5cff94b1-6c0b-4c1f-a712-473b84d89636" providerId="ADAL" clId="{00F3FCF3-6486-EC4A-A7E3-69985F299E54}" dt="2024-02-15T08:03:04.616" v="1468" actId="5793"/>
        <pc:sldMkLst>
          <pc:docMk/>
          <pc:sldMk cId="2625471115" sldId="2147373261"/>
        </pc:sldMkLst>
        <pc:spChg chg="mod">
          <ac:chgData name="Iris Minnema" userId="5cff94b1-6c0b-4c1f-a712-473b84d89636" providerId="ADAL" clId="{00F3FCF3-6486-EC4A-A7E3-69985F299E54}" dt="2024-02-15T07:36:52.871" v="199" actId="20577"/>
          <ac:spMkLst>
            <pc:docMk/>
            <pc:sldMk cId="2625471115" sldId="2147373261"/>
            <ac:spMk id="2" creationId="{5BF70966-679A-B04E-F58C-15635832311C}"/>
          </ac:spMkLst>
        </pc:spChg>
        <pc:graphicFrameChg chg="mod modGraphic">
          <ac:chgData name="Iris Minnema" userId="5cff94b1-6c0b-4c1f-a712-473b84d89636" providerId="ADAL" clId="{00F3FCF3-6486-EC4A-A7E3-69985F299E54}" dt="2024-02-15T08:03:04.616" v="1468" actId="5793"/>
          <ac:graphicFrameMkLst>
            <pc:docMk/>
            <pc:sldMk cId="2625471115" sldId="2147373261"/>
            <ac:graphicFrameMk id="5" creationId="{ED0D0F3B-022C-3A9C-BB22-459378F865C6}"/>
          </ac:graphicFrameMkLst>
        </pc:graphicFrameChg>
        <pc:cxnChg chg="mod">
          <ac:chgData name="Iris Minnema" userId="5cff94b1-6c0b-4c1f-a712-473b84d89636" providerId="ADAL" clId="{00F3FCF3-6486-EC4A-A7E3-69985F299E54}" dt="2024-02-15T07:37:17.839" v="214" actId="14100"/>
          <ac:cxnSpMkLst>
            <pc:docMk/>
            <pc:sldMk cId="2625471115" sldId="2147373261"/>
            <ac:cxnSpMk id="3" creationId="{AF64E708-B6D2-3C82-392D-F467D0F4FD85}"/>
          </ac:cxnSpMkLst>
        </pc:cxnChg>
      </pc:sldChg>
      <pc:sldChg chg="modSp del mod">
        <pc:chgData name="Iris Minnema" userId="5cff94b1-6c0b-4c1f-a712-473b84d89636" providerId="ADAL" clId="{00F3FCF3-6486-EC4A-A7E3-69985F299E54}" dt="2024-02-15T07:57:20.846" v="1383" actId="2696"/>
        <pc:sldMkLst>
          <pc:docMk/>
          <pc:sldMk cId="3096052738" sldId="2147373263"/>
        </pc:sldMkLst>
        <pc:spChg chg="mod">
          <ac:chgData name="Iris Minnema" userId="5cff94b1-6c0b-4c1f-a712-473b84d89636" providerId="ADAL" clId="{00F3FCF3-6486-EC4A-A7E3-69985F299E54}" dt="2024-02-15T07:55:56.693" v="1316" actId="20577"/>
          <ac:spMkLst>
            <pc:docMk/>
            <pc:sldMk cId="3096052738" sldId="2147373263"/>
            <ac:spMk id="2" creationId="{94DD66D6-8CED-6653-3BB5-F847B5A33600}"/>
          </ac:spMkLst>
        </pc:spChg>
      </pc:sldChg>
      <pc:sldChg chg="modSp mod">
        <pc:chgData name="Iris Minnema" userId="5cff94b1-6c0b-4c1f-a712-473b84d89636" providerId="ADAL" clId="{00F3FCF3-6486-EC4A-A7E3-69985F299E54}" dt="2024-02-15T07:32:28.069" v="152" actId="20577"/>
        <pc:sldMkLst>
          <pc:docMk/>
          <pc:sldMk cId="2397910568" sldId="2147373266"/>
        </pc:sldMkLst>
        <pc:spChg chg="mod">
          <ac:chgData name="Iris Minnema" userId="5cff94b1-6c0b-4c1f-a712-473b84d89636" providerId="ADAL" clId="{00F3FCF3-6486-EC4A-A7E3-69985F299E54}" dt="2024-02-15T07:32:05.363" v="102" actId="20577"/>
          <ac:spMkLst>
            <pc:docMk/>
            <pc:sldMk cId="2397910568" sldId="2147373266"/>
            <ac:spMk id="2" creationId="{5BF70966-679A-B04E-F58C-15635832311C}"/>
          </ac:spMkLst>
        </pc:spChg>
        <pc:spChg chg="mod">
          <ac:chgData name="Iris Minnema" userId="5cff94b1-6c0b-4c1f-a712-473b84d89636" providerId="ADAL" clId="{00F3FCF3-6486-EC4A-A7E3-69985F299E54}" dt="2024-02-15T07:32:28.069" v="152" actId="20577"/>
          <ac:spMkLst>
            <pc:docMk/>
            <pc:sldMk cId="2397910568" sldId="2147373266"/>
            <ac:spMk id="4" creationId="{2672B142-9F5F-95D3-52C7-09BA837311AE}"/>
          </ac:spMkLst>
        </pc:spChg>
        <pc:cxnChg chg="mod">
          <ac:chgData name="Iris Minnema" userId="5cff94b1-6c0b-4c1f-a712-473b84d89636" providerId="ADAL" clId="{00F3FCF3-6486-EC4A-A7E3-69985F299E54}" dt="2024-02-15T07:32:11.279" v="103" actId="14100"/>
          <ac:cxnSpMkLst>
            <pc:docMk/>
            <pc:sldMk cId="2397910568" sldId="2147373266"/>
            <ac:cxnSpMk id="3" creationId="{AF64E708-B6D2-3C82-392D-F467D0F4FD85}"/>
          </ac:cxnSpMkLst>
        </pc:cxnChg>
      </pc:sldChg>
      <pc:sldChg chg="del">
        <pc:chgData name="Iris Minnema" userId="5cff94b1-6c0b-4c1f-a712-473b84d89636" providerId="ADAL" clId="{00F3FCF3-6486-EC4A-A7E3-69985F299E54}" dt="2024-02-15T07:32:36.548" v="154" actId="2696"/>
        <pc:sldMkLst>
          <pc:docMk/>
          <pc:sldMk cId="3323422743" sldId="2147373267"/>
        </pc:sldMkLst>
      </pc:sldChg>
      <pc:sldChg chg="del">
        <pc:chgData name="Iris Minnema" userId="5cff94b1-6c0b-4c1f-a712-473b84d89636" providerId="ADAL" clId="{00F3FCF3-6486-EC4A-A7E3-69985F299E54}" dt="2024-02-15T07:59:39.595" v="1401" actId="2696"/>
        <pc:sldMkLst>
          <pc:docMk/>
          <pc:sldMk cId="1134504174" sldId="2147373273"/>
        </pc:sldMkLst>
      </pc:sldChg>
      <pc:sldChg chg="modSp mod">
        <pc:chgData name="Iris Minnema" userId="5cff94b1-6c0b-4c1f-a712-473b84d89636" providerId="ADAL" clId="{00F3FCF3-6486-EC4A-A7E3-69985F299E54}" dt="2024-02-15T07:29:55.130" v="52" actId="20577"/>
        <pc:sldMkLst>
          <pc:docMk/>
          <pc:sldMk cId="3070996370" sldId="2147373274"/>
        </pc:sldMkLst>
        <pc:spChg chg="mod">
          <ac:chgData name="Iris Minnema" userId="5cff94b1-6c0b-4c1f-a712-473b84d89636" providerId="ADAL" clId="{00F3FCF3-6486-EC4A-A7E3-69985F299E54}" dt="2024-02-15T07:29:55.130" v="52" actId="20577"/>
          <ac:spMkLst>
            <pc:docMk/>
            <pc:sldMk cId="3070996370" sldId="2147373274"/>
            <ac:spMk id="3" creationId="{479BF544-110C-B2FE-EBA6-0D2BC1E5F373}"/>
          </ac:spMkLst>
        </pc:spChg>
      </pc:sldChg>
      <pc:sldChg chg="modSp add del mod">
        <pc:chgData name="Iris Minnema" userId="5cff94b1-6c0b-4c1f-a712-473b84d89636" providerId="ADAL" clId="{00F3FCF3-6486-EC4A-A7E3-69985F299E54}" dt="2024-02-15T07:59:54.168" v="1402" actId="2696"/>
        <pc:sldMkLst>
          <pc:docMk/>
          <pc:sldMk cId="2360753359" sldId="2147373275"/>
        </pc:sldMkLst>
        <pc:spChg chg="mod">
          <ac:chgData name="Iris Minnema" userId="5cff94b1-6c0b-4c1f-a712-473b84d89636" providerId="ADAL" clId="{00F3FCF3-6486-EC4A-A7E3-69985F299E54}" dt="2024-02-15T07:29:29.056" v="24" actId="20577"/>
          <ac:spMkLst>
            <pc:docMk/>
            <pc:sldMk cId="2360753359" sldId="2147373275"/>
            <ac:spMk id="3" creationId="{858EBF30-AA74-94FB-6EEF-F3C8E982D276}"/>
          </ac:spMkLst>
        </pc:spChg>
      </pc:sldChg>
      <pc:sldChg chg="modSp add mod">
        <pc:chgData name="Iris Minnema" userId="5cff94b1-6c0b-4c1f-a712-473b84d89636" providerId="ADAL" clId="{00F3FCF3-6486-EC4A-A7E3-69985F299E54}" dt="2024-02-15T07:31:43.717" v="80" actId="313"/>
        <pc:sldMkLst>
          <pc:docMk/>
          <pc:sldMk cId="2729278528" sldId="2147373276"/>
        </pc:sldMkLst>
        <pc:spChg chg="mod">
          <ac:chgData name="Iris Minnema" userId="5cff94b1-6c0b-4c1f-a712-473b84d89636" providerId="ADAL" clId="{00F3FCF3-6486-EC4A-A7E3-69985F299E54}" dt="2024-02-15T07:31:20.695" v="58" actId="20577"/>
          <ac:spMkLst>
            <pc:docMk/>
            <pc:sldMk cId="2729278528" sldId="2147373276"/>
            <ac:spMk id="2" creationId="{261857CC-8308-35E4-EC18-283067344D4E}"/>
          </ac:spMkLst>
        </pc:spChg>
        <pc:spChg chg="mod">
          <ac:chgData name="Iris Minnema" userId="5cff94b1-6c0b-4c1f-a712-473b84d89636" providerId="ADAL" clId="{00F3FCF3-6486-EC4A-A7E3-69985F299E54}" dt="2024-02-15T07:31:43.717" v="80" actId="313"/>
          <ac:spMkLst>
            <pc:docMk/>
            <pc:sldMk cId="2729278528" sldId="2147373276"/>
            <ac:spMk id="3" creationId="{479BF544-110C-B2FE-EBA6-0D2BC1E5F373}"/>
          </ac:spMkLst>
        </pc:spChg>
      </pc:sldChg>
      <pc:sldChg chg="addSp delSp modSp add mod">
        <pc:chgData name="Iris Minnema" userId="5cff94b1-6c0b-4c1f-a712-473b84d89636" providerId="ADAL" clId="{00F3FCF3-6486-EC4A-A7E3-69985F299E54}" dt="2024-02-15T07:58:38.186" v="1396" actId="14100"/>
        <pc:sldMkLst>
          <pc:docMk/>
          <pc:sldMk cId="3207355810" sldId="2147373277"/>
        </pc:sldMkLst>
        <pc:spChg chg="mod">
          <ac:chgData name="Iris Minnema" userId="5cff94b1-6c0b-4c1f-a712-473b84d89636" providerId="ADAL" clId="{00F3FCF3-6486-EC4A-A7E3-69985F299E54}" dt="2024-02-15T07:57:18.328" v="1382" actId="20577"/>
          <ac:spMkLst>
            <pc:docMk/>
            <pc:sldMk cId="3207355810" sldId="2147373277"/>
            <ac:spMk id="2" creationId="{02E450C0-FE33-D875-FB2D-CE57CBAFA2D2}"/>
          </ac:spMkLst>
        </pc:spChg>
        <pc:spChg chg="del mod">
          <ac:chgData name="Iris Minnema" userId="5cff94b1-6c0b-4c1f-a712-473b84d89636" providerId="ADAL" clId="{00F3FCF3-6486-EC4A-A7E3-69985F299E54}" dt="2024-02-15T07:58:15.591" v="1386" actId="478"/>
          <ac:spMkLst>
            <pc:docMk/>
            <pc:sldMk cId="3207355810" sldId="2147373277"/>
            <ac:spMk id="5" creationId="{F6A35D09-C8F9-68F5-8689-3C12BE7D15E9}"/>
          </ac:spMkLst>
        </pc:spChg>
        <pc:spChg chg="add mod">
          <ac:chgData name="Iris Minnema" userId="5cff94b1-6c0b-4c1f-a712-473b84d89636" providerId="ADAL" clId="{00F3FCF3-6486-EC4A-A7E3-69985F299E54}" dt="2024-02-15T07:58:30.928" v="1395" actId="20577"/>
          <ac:spMkLst>
            <pc:docMk/>
            <pc:sldMk cId="3207355810" sldId="2147373277"/>
            <ac:spMk id="11" creationId="{D4F9008E-3730-37FF-60DF-8D7532054E8D}"/>
          </ac:spMkLst>
        </pc:spChg>
        <pc:cxnChg chg="del mod">
          <ac:chgData name="Iris Minnema" userId="5cff94b1-6c0b-4c1f-a712-473b84d89636" providerId="ADAL" clId="{00F3FCF3-6486-EC4A-A7E3-69985F299E54}" dt="2024-02-15T07:58:15.591" v="1386" actId="478"/>
          <ac:cxnSpMkLst>
            <pc:docMk/>
            <pc:sldMk cId="3207355810" sldId="2147373277"/>
            <ac:cxnSpMk id="6" creationId="{2D85A589-448C-53B2-6931-38733377BD99}"/>
          </ac:cxnSpMkLst>
        </pc:cxnChg>
        <pc:cxnChg chg="add mod">
          <ac:chgData name="Iris Minnema" userId="5cff94b1-6c0b-4c1f-a712-473b84d89636" providerId="ADAL" clId="{00F3FCF3-6486-EC4A-A7E3-69985F299E54}" dt="2024-02-15T07:58:38.186" v="1396" actId="14100"/>
          <ac:cxnSpMkLst>
            <pc:docMk/>
            <pc:sldMk cId="3207355810" sldId="2147373277"/>
            <ac:cxnSpMk id="12" creationId="{6ADA3C64-571F-FE8D-91C2-2CF4179EA7C2}"/>
          </ac:cxnSpMkLst>
        </pc:cxnChg>
      </pc:sldChg>
    </pc:docChg>
  </pc:docChgLst>
  <pc:docChgLst>
    <pc:chgData name="Mattias Vermeire" userId="afe8c86d-d01e-472e-9838-e047f8f3f33b" providerId="ADAL" clId="{6F8D5D05-22E2-D743-BBE4-8DB11C78D16E}"/>
    <pc:docChg chg="custSel addSld modSld">
      <pc:chgData name="Mattias Vermeire" userId="afe8c86d-d01e-472e-9838-e047f8f3f33b" providerId="ADAL" clId="{6F8D5D05-22E2-D743-BBE4-8DB11C78D16E}" dt="2024-02-07T13:06:53.577" v="3"/>
      <pc:docMkLst>
        <pc:docMk/>
      </pc:docMkLst>
      <pc:sldChg chg="addSp delSp modSp new mod modAnim">
        <pc:chgData name="Mattias Vermeire" userId="afe8c86d-d01e-472e-9838-e047f8f3f33b" providerId="ADAL" clId="{6F8D5D05-22E2-D743-BBE4-8DB11C78D16E}" dt="2024-02-07T13:06:53.577" v="3"/>
        <pc:sldMkLst>
          <pc:docMk/>
          <pc:sldMk cId="323268784" sldId="2146849004"/>
        </pc:sldMkLst>
        <pc:spChg chg="del">
          <ac:chgData name="Mattias Vermeire" userId="afe8c86d-d01e-472e-9838-e047f8f3f33b" providerId="ADAL" clId="{6F8D5D05-22E2-D743-BBE4-8DB11C78D16E}" dt="2024-02-07T13:02:14.191" v="2" actId="478"/>
          <ac:spMkLst>
            <pc:docMk/>
            <pc:sldMk cId="323268784" sldId="2146849004"/>
            <ac:spMk id="2" creationId="{2F70A64A-23DA-92D9-E8E6-CA612E606532}"/>
          </ac:spMkLst>
        </pc:spChg>
        <pc:spChg chg="del mod">
          <ac:chgData name="Mattias Vermeire" userId="afe8c86d-d01e-472e-9838-e047f8f3f33b" providerId="ADAL" clId="{6F8D5D05-22E2-D743-BBE4-8DB11C78D16E}" dt="2024-02-07T13:02:14.191" v="2" actId="478"/>
          <ac:spMkLst>
            <pc:docMk/>
            <pc:sldMk cId="323268784" sldId="2146849004"/>
            <ac:spMk id="3" creationId="{E81D6CDB-6EBF-1298-4635-10B8CF877B29}"/>
          </ac:spMkLst>
        </pc:spChg>
        <pc:picChg chg="add mod">
          <ac:chgData name="Mattias Vermeire" userId="afe8c86d-d01e-472e-9838-e047f8f3f33b" providerId="ADAL" clId="{6F8D5D05-22E2-D743-BBE4-8DB11C78D16E}" dt="2024-02-07T13:06:53.577" v="3"/>
          <ac:picMkLst>
            <pc:docMk/>
            <pc:sldMk cId="323268784" sldId="2146849004"/>
            <ac:picMk id="4" creationId="{0F9F7789-10C8-3DD7-087A-F01AA65CE7A9}"/>
          </ac:picMkLst>
        </pc:picChg>
      </pc:sldChg>
    </pc:docChg>
  </pc:docChgLst>
  <pc:docChgLst>
    <pc:chgData name="Joey Boeters" userId="S::joey@happiness-anywhere.com::7d7b6226-a873-4578-afb9-e91876783442" providerId="AD" clId="Web-{AC103322-9BC3-C80C-AE42-D037922A90E6}"/>
    <pc:docChg chg="modSld">
      <pc:chgData name="Joey Boeters" userId="S::joey@happiness-anywhere.com::7d7b6226-a873-4578-afb9-e91876783442" providerId="AD" clId="Web-{AC103322-9BC3-C80C-AE42-D037922A90E6}" dt="2024-02-14T14:39:41.140" v="23"/>
      <pc:docMkLst>
        <pc:docMk/>
      </pc:docMkLst>
      <pc:sldChg chg="addSp">
        <pc:chgData name="Joey Boeters" userId="S::joey@happiness-anywhere.com::7d7b6226-a873-4578-afb9-e91876783442" providerId="AD" clId="Web-{AC103322-9BC3-C80C-AE42-D037922A90E6}" dt="2024-02-14T14:39:21.061" v="9"/>
        <pc:sldMkLst>
          <pc:docMk/>
          <pc:sldMk cId="1452127213" sldId="2145707937"/>
        </pc:sldMkLst>
        <pc:inkChg chg="add">
          <ac:chgData name="Joey Boeters" userId="S::joey@happiness-anywhere.com::7d7b6226-a873-4578-afb9-e91876783442" providerId="AD" clId="Web-{AC103322-9BC3-C80C-AE42-D037922A90E6}" dt="2024-02-14T14:39:19.108" v="5"/>
          <ac:inkMkLst>
            <pc:docMk/>
            <pc:sldMk cId="1452127213" sldId="2145707937"/>
            <ac:inkMk id="6" creationId="{838DF938-710C-A7A2-A606-5A4174899604}"/>
          </ac:inkMkLst>
        </pc:inkChg>
        <pc:inkChg chg="add">
          <ac:chgData name="Joey Boeters" userId="S::joey@happiness-anywhere.com::7d7b6226-a873-4578-afb9-e91876783442" providerId="AD" clId="Web-{AC103322-9BC3-C80C-AE42-D037922A90E6}" dt="2024-02-14T14:39:19.749" v="6"/>
          <ac:inkMkLst>
            <pc:docMk/>
            <pc:sldMk cId="1452127213" sldId="2145707937"/>
            <ac:inkMk id="10" creationId="{49C3A992-C080-1C91-5A4A-30BCF68DC625}"/>
          </ac:inkMkLst>
        </pc:inkChg>
        <pc:inkChg chg="add">
          <ac:chgData name="Joey Boeters" userId="S::joey@happiness-anywhere.com::7d7b6226-a873-4578-afb9-e91876783442" providerId="AD" clId="Web-{AC103322-9BC3-C80C-AE42-D037922A90E6}" dt="2024-02-14T14:39:20.124" v="7"/>
          <ac:inkMkLst>
            <pc:docMk/>
            <pc:sldMk cId="1452127213" sldId="2145707937"/>
            <ac:inkMk id="11" creationId="{F93DC9DE-E725-CAC5-3886-0845DE069C64}"/>
          </ac:inkMkLst>
        </pc:inkChg>
        <pc:inkChg chg="add">
          <ac:chgData name="Joey Boeters" userId="S::joey@happiness-anywhere.com::7d7b6226-a873-4578-afb9-e91876783442" providerId="AD" clId="Web-{AC103322-9BC3-C80C-AE42-D037922A90E6}" dt="2024-02-14T14:39:20.889" v="8"/>
          <ac:inkMkLst>
            <pc:docMk/>
            <pc:sldMk cId="1452127213" sldId="2145707937"/>
            <ac:inkMk id="13" creationId="{2144DE1D-94C5-5C7E-3400-72974CD479BC}"/>
          </ac:inkMkLst>
        </pc:inkChg>
        <pc:inkChg chg="add">
          <ac:chgData name="Joey Boeters" userId="S::joey@happiness-anywhere.com::7d7b6226-a873-4578-afb9-e91876783442" providerId="AD" clId="Web-{AC103322-9BC3-C80C-AE42-D037922A90E6}" dt="2024-02-14T14:39:21.061" v="9"/>
          <ac:inkMkLst>
            <pc:docMk/>
            <pc:sldMk cId="1452127213" sldId="2145707937"/>
            <ac:inkMk id="17" creationId="{755135C9-A5BB-14D4-2865-CCFAD0F686CF}"/>
          </ac:inkMkLst>
        </pc:inkChg>
      </pc:sldChg>
      <pc:sldChg chg="addSp">
        <pc:chgData name="Joey Boeters" userId="S::joey@happiness-anywhere.com::7d7b6226-a873-4578-afb9-e91876783442" providerId="AD" clId="Web-{AC103322-9BC3-C80C-AE42-D037922A90E6}" dt="2024-02-14T14:39:41.140" v="23"/>
        <pc:sldMkLst>
          <pc:docMk/>
          <pc:sldMk cId="3391162473" sldId="2145707939"/>
        </pc:sldMkLst>
        <pc:inkChg chg="add">
          <ac:chgData name="Joey Boeters" userId="S::joey@happiness-anywhere.com::7d7b6226-a873-4578-afb9-e91876783442" providerId="AD" clId="Web-{AC103322-9BC3-C80C-AE42-D037922A90E6}" dt="2024-02-14T14:39:34.749" v="10"/>
          <ac:inkMkLst>
            <pc:docMk/>
            <pc:sldMk cId="3391162473" sldId="2145707939"/>
            <ac:inkMk id="7" creationId="{40E616A2-E600-7BBE-92C3-E4F8D2F3E684}"/>
          </ac:inkMkLst>
        </pc:inkChg>
        <pc:inkChg chg="add">
          <ac:chgData name="Joey Boeters" userId="S::joey@happiness-anywhere.com::7d7b6226-a873-4578-afb9-e91876783442" providerId="AD" clId="Web-{AC103322-9BC3-C80C-AE42-D037922A90E6}" dt="2024-02-14T14:39:35.499" v="11"/>
          <ac:inkMkLst>
            <pc:docMk/>
            <pc:sldMk cId="3391162473" sldId="2145707939"/>
            <ac:inkMk id="10" creationId="{D1E20DFE-AC44-259A-BD67-5F49EEEC0ABB}"/>
          </ac:inkMkLst>
        </pc:inkChg>
        <pc:inkChg chg="add">
          <ac:chgData name="Joey Boeters" userId="S::joey@happiness-anywhere.com::7d7b6226-a873-4578-afb9-e91876783442" providerId="AD" clId="Web-{AC103322-9BC3-C80C-AE42-D037922A90E6}" dt="2024-02-14T14:39:36.921" v="12"/>
          <ac:inkMkLst>
            <pc:docMk/>
            <pc:sldMk cId="3391162473" sldId="2145707939"/>
            <ac:inkMk id="11" creationId="{3EEE60D2-1F3F-4538-651C-15CAE3B11D5D}"/>
          </ac:inkMkLst>
        </pc:inkChg>
        <pc:inkChg chg="add">
          <ac:chgData name="Joey Boeters" userId="S::joey@happiness-anywhere.com::7d7b6226-a873-4578-afb9-e91876783442" providerId="AD" clId="Web-{AC103322-9BC3-C80C-AE42-D037922A90E6}" dt="2024-02-14T14:39:36.937" v="13"/>
          <ac:inkMkLst>
            <pc:docMk/>
            <pc:sldMk cId="3391162473" sldId="2145707939"/>
            <ac:inkMk id="12" creationId="{12C90A38-AFAF-FB53-D39B-A04D2331BC45}"/>
          </ac:inkMkLst>
        </pc:inkChg>
        <pc:inkChg chg="add">
          <ac:chgData name="Joey Boeters" userId="S::joey@happiness-anywhere.com::7d7b6226-a873-4578-afb9-e91876783442" providerId="AD" clId="Web-{AC103322-9BC3-C80C-AE42-D037922A90E6}" dt="2024-02-14T14:39:36.952" v="14"/>
          <ac:inkMkLst>
            <pc:docMk/>
            <pc:sldMk cId="3391162473" sldId="2145707939"/>
            <ac:inkMk id="18" creationId="{E9E425EA-5DAC-1092-3795-06E777EFEDB6}"/>
          </ac:inkMkLst>
        </pc:inkChg>
        <pc:inkChg chg="add">
          <ac:chgData name="Joey Boeters" userId="S::joey@happiness-anywhere.com::7d7b6226-a873-4578-afb9-e91876783442" providerId="AD" clId="Web-{AC103322-9BC3-C80C-AE42-D037922A90E6}" dt="2024-02-14T14:39:38.109" v="15"/>
          <ac:inkMkLst>
            <pc:docMk/>
            <pc:sldMk cId="3391162473" sldId="2145707939"/>
            <ac:inkMk id="19" creationId="{94ED584B-D161-25EE-1441-1B7D5D9D1A3B}"/>
          </ac:inkMkLst>
        </pc:inkChg>
        <pc:inkChg chg="add">
          <ac:chgData name="Joey Boeters" userId="S::joey@happiness-anywhere.com::7d7b6226-a873-4578-afb9-e91876783442" providerId="AD" clId="Web-{AC103322-9BC3-C80C-AE42-D037922A90E6}" dt="2024-02-14T14:39:38.124" v="16"/>
          <ac:inkMkLst>
            <pc:docMk/>
            <pc:sldMk cId="3391162473" sldId="2145707939"/>
            <ac:inkMk id="20" creationId="{F727CC67-D92C-5EAF-33F8-3E1D23C96065}"/>
          </ac:inkMkLst>
        </pc:inkChg>
        <pc:inkChg chg="add">
          <ac:chgData name="Joey Boeters" userId="S::joey@happiness-anywhere.com::7d7b6226-a873-4578-afb9-e91876783442" providerId="AD" clId="Web-{AC103322-9BC3-C80C-AE42-D037922A90E6}" dt="2024-02-14T14:39:38.968" v="17"/>
          <ac:inkMkLst>
            <pc:docMk/>
            <pc:sldMk cId="3391162473" sldId="2145707939"/>
            <ac:inkMk id="21" creationId="{71F2329A-242F-EFFE-2380-6B45C917E588}"/>
          </ac:inkMkLst>
        </pc:inkChg>
        <pc:inkChg chg="add">
          <ac:chgData name="Joey Boeters" userId="S::joey@happiness-anywhere.com::7d7b6226-a873-4578-afb9-e91876783442" providerId="AD" clId="Web-{AC103322-9BC3-C80C-AE42-D037922A90E6}" dt="2024-02-14T14:39:38.984" v="18"/>
          <ac:inkMkLst>
            <pc:docMk/>
            <pc:sldMk cId="3391162473" sldId="2145707939"/>
            <ac:inkMk id="22" creationId="{D97071BE-B36A-FFC1-7F8E-C963F72CDF7E}"/>
          </ac:inkMkLst>
        </pc:inkChg>
        <pc:inkChg chg="add">
          <ac:chgData name="Joey Boeters" userId="S::joey@happiness-anywhere.com::7d7b6226-a873-4578-afb9-e91876783442" providerId="AD" clId="Web-{AC103322-9BC3-C80C-AE42-D037922A90E6}" dt="2024-02-14T14:39:40.921" v="19"/>
          <ac:inkMkLst>
            <pc:docMk/>
            <pc:sldMk cId="3391162473" sldId="2145707939"/>
            <ac:inkMk id="23" creationId="{AB6E94A0-D82E-7D79-FF21-01694A8D69C8}"/>
          </ac:inkMkLst>
        </pc:inkChg>
        <pc:inkChg chg="add">
          <ac:chgData name="Joey Boeters" userId="S::joey@happiness-anywhere.com::7d7b6226-a873-4578-afb9-e91876783442" providerId="AD" clId="Web-{AC103322-9BC3-C80C-AE42-D037922A90E6}" dt="2024-02-14T14:39:40.999" v="20"/>
          <ac:inkMkLst>
            <pc:docMk/>
            <pc:sldMk cId="3391162473" sldId="2145707939"/>
            <ac:inkMk id="24" creationId="{E59D5B91-832C-F931-993E-9511C914A5BD}"/>
          </ac:inkMkLst>
        </pc:inkChg>
        <pc:inkChg chg="add">
          <ac:chgData name="Joey Boeters" userId="S::joey@happiness-anywhere.com::7d7b6226-a873-4578-afb9-e91876783442" providerId="AD" clId="Web-{AC103322-9BC3-C80C-AE42-D037922A90E6}" dt="2024-02-14T14:39:41.015" v="21"/>
          <ac:inkMkLst>
            <pc:docMk/>
            <pc:sldMk cId="3391162473" sldId="2145707939"/>
            <ac:inkMk id="25" creationId="{0CD858CB-2591-7B10-D3D6-6D0CA31F4719}"/>
          </ac:inkMkLst>
        </pc:inkChg>
        <pc:inkChg chg="add">
          <ac:chgData name="Joey Boeters" userId="S::joey@happiness-anywhere.com::7d7b6226-a873-4578-afb9-e91876783442" providerId="AD" clId="Web-{AC103322-9BC3-C80C-AE42-D037922A90E6}" dt="2024-02-14T14:39:41.031" v="22"/>
          <ac:inkMkLst>
            <pc:docMk/>
            <pc:sldMk cId="3391162473" sldId="2145707939"/>
            <ac:inkMk id="26" creationId="{2F66B662-48D5-E54B-7EA1-D353B9B9CE2A}"/>
          </ac:inkMkLst>
        </pc:inkChg>
        <pc:inkChg chg="add">
          <ac:chgData name="Joey Boeters" userId="S::joey@happiness-anywhere.com::7d7b6226-a873-4578-afb9-e91876783442" providerId="AD" clId="Web-{AC103322-9BC3-C80C-AE42-D037922A90E6}" dt="2024-02-14T14:39:41.140" v="23"/>
          <ac:inkMkLst>
            <pc:docMk/>
            <pc:sldMk cId="3391162473" sldId="2145707939"/>
            <ac:inkMk id="27" creationId="{1826383C-ED34-7686-6FF4-33407C1F78F1}"/>
          </ac:inkMkLst>
        </pc:inkChg>
      </pc:sldChg>
      <pc:sldChg chg="addSp">
        <pc:chgData name="Joey Boeters" userId="S::joey@happiness-anywhere.com::7d7b6226-a873-4578-afb9-e91876783442" providerId="AD" clId="Web-{AC103322-9BC3-C80C-AE42-D037922A90E6}" dt="2024-02-14T14:38:40.107" v="4"/>
        <pc:sldMkLst>
          <pc:docMk/>
          <pc:sldMk cId="3074706286" sldId="2146849010"/>
        </pc:sldMkLst>
        <pc:inkChg chg="add">
          <ac:chgData name="Joey Boeters" userId="S::joey@happiness-anywhere.com::7d7b6226-a873-4578-afb9-e91876783442" providerId="AD" clId="Web-{AC103322-9BC3-C80C-AE42-D037922A90E6}" dt="2024-02-14T14:38:37.575" v="0"/>
          <ac:inkMkLst>
            <pc:docMk/>
            <pc:sldMk cId="3074706286" sldId="2146849010"/>
            <ac:inkMk id="3" creationId="{1A8283CF-7B95-A752-E575-6D03C9A49952}"/>
          </ac:inkMkLst>
        </pc:inkChg>
        <pc:inkChg chg="add">
          <ac:chgData name="Joey Boeters" userId="S::joey@happiness-anywhere.com::7d7b6226-a873-4578-afb9-e91876783442" providerId="AD" clId="Web-{AC103322-9BC3-C80C-AE42-D037922A90E6}" dt="2024-02-14T14:38:39.169" v="1"/>
          <ac:inkMkLst>
            <pc:docMk/>
            <pc:sldMk cId="3074706286" sldId="2146849010"/>
            <ac:inkMk id="4" creationId="{126E04D9-AAE6-8F3B-7F4D-1A81CBDD0CD3}"/>
          </ac:inkMkLst>
        </pc:inkChg>
        <pc:inkChg chg="add">
          <ac:chgData name="Joey Boeters" userId="S::joey@happiness-anywhere.com::7d7b6226-a873-4578-afb9-e91876783442" providerId="AD" clId="Web-{AC103322-9BC3-C80C-AE42-D037922A90E6}" dt="2024-02-14T14:38:39.357" v="2"/>
          <ac:inkMkLst>
            <pc:docMk/>
            <pc:sldMk cId="3074706286" sldId="2146849010"/>
            <ac:inkMk id="7" creationId="{2101B46B-FAE7-B22D-51CF-D3E4FAB5AB37}"/>
          </ac:inkMkLst>
        </pc:inkChg>
        <pc:inkChg chg="add">
          <ac:chgData name="Joey Boeters" userId="S::joey@happiness-anywhere.com::7d7b6226-a873-4578-afb9-e91876783442" providerId="AD" clId="Web-{AC103322-9BC3-C80C-AE42-D037922A90E6}" dt="2024-02-14T14:38:39.779" v="3"/>
          <ac:inkMkLst>
            <pc:docMk/>
            <pc:sldMk cId="3074706286" sldId="2146849010"/>
            <ac:inkMk id="8" creationId="{A63A2894-18FD-4E38-497D-8F7B4939E033}"/>
          </ac:inkMkLst>
        </pc:inkChg>
        <pc:inkChg chg="add">
          <ac:chgData name="Joey Boeters" userId="S::joey@happiness-anywhere.com::7d7b6226-a873-4578-afb9-e91876783442" providerId="AD" clId="Web-{AC103322-9BC3-C80C-AE42-D037922A90E6}" dt="2024-02-14T14:38:40.107" v="4"/>
          <ac:inkMkLst>
            <pc:docMk/>
            <pc:sldMk cId="3074706286" sldId="2146849010"/>
            <ac:inkMk id="9" creationId="{037577AF-AB29-AA71-3A57-AF2A6F63D2A3}"/>
          </ac:inkMkLst>
        </pc:inkChg>
      </pc:sldChg>
    </pc:docChg>
  </pc:docChgLst>
  <pc:docChgLst>
    <pc:chgData name="Mattias Vermeire" userId="afe8c86d-d01e-472e-9838-e047f8f3f33b" providerId="ADAL" clId="{028736F4-493E-9E46-88E7-861CB7A07834}"/>
    <pc:docChg chg="undo custSel addSld delSld modSld sldOrd">
      <pc:chgData name="Mattias Vermeire" userId="afe8c86d-d01e-472e-9838-e047f8f3f33b" providerId="ADAL" clId="{028736F4-493E-9E46-88E7-861CB7A07834}" dt="2024-02-14T16:13:27.856" v="2630" actId="14100"/>
      <pc:docMkLst>
        <pc:docMk/>
      </pc:docMkLst>
      <pc:sldChg chg="modSp add del mod">
        <pc:chgData name="Mattias Vermeire" userId="afe8c86d-d01e-472e-9838-e047f8f3f33b" providerId="ADAL" clId="{028736F4-493E-9E46-88E7-861CB7A07834}" dt="2024-02-14T14:36:57.924" v="291" actId="2696"/>
        <pc:sldMkLst>
          <pc:docMk/>
          <pc:sldMk cId="409714118" sldId="9558"/>
        </pc:sldMkLst>
        <pc:spChg chg="mod">
          <ac:chgData name="Mattias Vermeire" userId="afe8c86d-d01e-472e-9838-e047f8f3f33b" providerId="ADAL" clId="{028736F4-493E-9E46-88E7-861CB7A07834}" dt="2024-02-14T13:55:46.320" v="258" actId="12"/>
          <ac:spMkLst>
            <pc:docMk/>
            <pc:sldMk cId="409714118" sldId="9558"/>
            <ac:spMk id="6" creationId="{EAEF6A66-FDF4-0FBA-4FF6-1ED2730AFE41}"/>
          </ac:spMkLst>
        </pc:spChg>
        <pc:spChg chg="mod">
          <ac:chgData name="Mattias Vermeire" userId="afe8c86d-d01e-472e-9838-e047f8f3f33b" providerId="ADAL" clId="{028736F4-493E-9E46-88E7-861CB7A07834}" dt="2024-02-14T13:55:50.525" v="261" actId="12"/>
          <ac:spMkLst>
            <pc:docMk/>
            <pc:sldMk cId="409714118" sldId="9558"/>
            <ac:spMk id="21" creationId="{2AC90F1F-E178-C58B-5AEF-73A1227D2CB3}"/>
          </ac:spMkLst>
        </pc:spChg>
        <pc:picChg chg="mod">
          <ac:chgData name="Mattias Vermeire" userId="afe8c86d-d01e-472e-9838-e047f8f3f33b" providerId="ADAL" clId="{028736F4-493E-9E46-88E7-861CB7A07834}" dt="2024-02-14T13:51:33.746" v="91" actId="14100"/>
          <ac:picMkLst>
            <pc:docMk/>
            <pc:sldMk cId="409714118" sldId="9558"/>
            <ac:picMk id="22" creationId="{CC5026F3-F657-1178-0876-6E9341D7D21D}"/>
          </ac:picMkLst>
        </pc:picChg>
      </pc:sldChg>
      <pc:sldChg chg="modSp mod">
        <pc:chgData name="Mattias Vermeire" userId="afe8c86d-d01e-472e-9838-e047f8f3f33b" providerId="ADAL" clId="{028736F4-493E-9E46-88E7-861CB7A07834}" dt="2024-02-14T13:30:40.132" v="8" actId="18131"/>
        <pc:sldMkLst>
          <pc:docMk/>
          <pc:sldMk cId="3974761832" sldId="9605"/>
        </pc:sldMkLst>
        <pc:picChg chg="mod modCrop">
          <ac:chgData name="Mattias Vermeire" userId="afe8c86d-d01e-472e-9838-e047f8f3f33b" providerId="ADAL" clId="{028736F4-493E-9E46-88E7-861CB7A07834}" dt="2024-02-14T13:30:40.132" v="8" actId="18131"/>
          <ac:picMkLst>
            <pc:docMk/>
            <pc:sldMk cId="3974761832" sldId="9605"/>
            <ac:picMk id="33" creationId="{140527A3-2806-4FC9-A7EC-0090A9AF31F1}"/>
          </ac:picMkLst>
        </pc:picChg>
      </pc:sldChg>
      <pc:sldChg chg="addSp delSp modSp mod">
        <pc:chgData name="Mattias Vermeire" userId="afe8c86d-d01e-472e-9838-e047f8f3f33b" providerId="ADAL" clId="{028736F4-493E-9E46-88E7-861CB7A07834}" dt="2024-02-14T16:13:27.856" v="2630" actId="14100"/>
        <pc:sldMkLst>
          <pc:docMk/>
          <pc:sldMk cId="3040644318" sldId="2146848759"/>
        </pc:sldMkLst>
        <pc:spChg chg="mod">
          <ac:chgData name="Mattias Vermeire" userId="afe8c86d-d01e-472e-9838-e047f8f3f33b" providerId="ADAL" clId="{028736F4-493E-9E46-88E7-861CB7A07834}" dt="2024-02-14T16:08:37.862" v="2534" actId="1076"/>
          <ac:spMkLst>
            <pc:docMk/>
            <pc:sldMk cId="3040644318" sldId="2146848759"/>
            <ac:spMk id="4" creationId="{2D8A6FAD-4801-D347-40D7-50416710E91B}"/>
          </ac:spMkLst>
        </pc:spChg>
        <pc:spChg chg="mod">
          <ac:chgData name="Mattias Vermeire" userId="afe8c86d-d01e-472e-9838-e047f8f3f33b" providerId="ADAL" clId="{028736F4-493E-9E46-88E7-861CB7A07834}" dt="2024-02-14T13:32:01.610" v="84" actId="20577"/>
          <ac:spMkLst>
            <pc:docMk/>
            <pc:sldMk cId="3040644318" sldId="2146848759"/>
            <ac:spMk id="8" creationId="{8D1867EB-DAA9-8C09-68C4-DF294693B1E7}"/>
          </ac:spMkLst>
        </pc:spChg>
        <pc:spChg chg="mod">
          <ac:chgData name="Mattias Vermeire" userId="afe8c86d-d01e-472e-9838-e047f8f3f33b" providerId="ADAL" clId="{028736F4-493E-9E46-88E7-861CB7A07834}" dt="2024-02-14T16:10:55.317" v="2576" actId="14100"/>
          <ac:spMkLst>
            <pc:docMk/>
            <pc:sldMk cId="3040644318" sldId="2146848759"/>
            <ac:spMk id="13" creationId="{FED6E178-D596-3426-6661-516392FEEB0A}"/>
          </ac:spMkLst>
        </pc:spChg>
        <pc:spChg chg="add mod">
          <ac:chgData name="Mattias Vermeire" userId="afe8c86d-d01e-472e-9838-e047f8f3f33b" providerId="ADAL" clId="{028736F4-493E-9E46-88E7-861CB7A07834}" dt="2024-02-14T16:11:11.772" v="2580" actId="167"/>
          <ac:spMkLst>
            <pc:docMk/>
            <pc:sldMk cId="3040644318" sldId="2146848759"/>
            <ac:spMk id="43" creationId="{B3C126C1-003E-C46E-E2FD-EE36EBE8C7A0}"/>
          </ac:spMkLst>
        </pc:spChg>
        <pc:spChg chg="mod">
          <ac:chgData name="Mattias Vermeire" userId="afe8c86d-d01e-472e-9838-e047f8f3f33b" providerId="ADAL" clId="{028736F4-493E-9E46-88E7-861CB7A07834}" dt="2024-02-14T16:11:21.820" v="2582" actId="20577"/>
          <ac:spMkLst>
            <pc:docMk/>
            <pc:sldMk cId="3040644318" sldId="2146848759"/>
            <ac:spMk id="45" creationId="{A6E0C83D-40CB-5F03-87BC-AC33EA391AA4}"/>
          </ac:spMkLst>
        </pc:spChg>
        <pc:spChg chg="mod">
          <ac:chgData name="Mattias Vermeire" userId="afe8c86d-d01e-472e-9838-e047f8f3f33b" providerId="ADAL" clId="{028736F4-493E-9E46-88E7-861CB7A07834}" dt="2024-02-14T16:13:27.856" v="2630" actId="14100"/>
          <ac:spMkLst>
            <pc:docMk/>
            <pc:sldMk cId="3040644318" sldId="2146848759"/>
            <ac:spMk id="63" creationId="{A18A863C-127C-CDAF-3E1B-A3A2A1D99CD9}"/>
          </ac:spMkLst>
        </pc:spChg>
        <pc:picChg chg="add del mod">
          <ac:chgData name="Mattias Vermeire" userId="afe8c86d-d01e-472e-9838-e047f8f3f33b" providerId="ADAL" clId="{028736F4-493E-9E46-88E7-861CB7A07834}" dt="2024-02-14T15:27:48.468" v="1287" actId="478"/>
          <ac:picMkLst>
            <pc:docMk/>
            <pc:sldMk cId="3040644318" sldId="2146848759"/>
            <ac:picMk id="14" creationId="{EFBA13FF-C627-0130-E803-9F77C14AFDB2}"/>
          </ac:picMkLst>
        </pc:picChg>
        <pc:picChg chg="add del mod">
          <ac:chgData name="Mattias Vermeire" userId="afe8c86d-d01e-472e-9838-e047f8f3f33b" providerId="ADAL" clId="{028736F4-493E-9E46-88E7-861CB7A07834}" dt="2024-02-14T15:29:24.920" v="1299" actId="478"/>
          <ac:picMkLst>
            <pc:docMk/>
            <pc:sldMk cId="3040644318" sldId="2146848759"/>
            <ac:picMk id="16" creationId="{4FE54BCC-2D9F-B98E-D317-3F0B9CB51246}"/>
          </ac:picMkLst>
        </pc:picChg>
        <pc:picChg chg="add mod modCrop">
          <ac:chgData name="Mattias Vermeire" userId="afe8c86d-d01e-472e-9838-e047f8f3f33b" providerId="ADAL" clId="{028736F4-493E-9E46-88E7-861CB7A07834}" dt="2024-02-14T15:29:46.535" v="1306" actId="18131"/>
          <ac:picMkLst>
            <pc:docMk/>
            <pc:sldMk cId="3040644318" sldId="2146848759"/>
            <ac:picMk id="39" creationId="{8F6DABE7-763D-FEB3-73EF-4B9788C86AA0}"/>
          </ac:picMkLst>
        </pc:picChg>
        <pc:picChg chg="add mod">
          <ac:chgData name="Mattias Vermeire" userId="afe8c86d-d01e-472e-9838-e047f8f3f33b" providerId="ADAL" clId="{028736F4-493E-9E46-88E7-861CB7A07834}" dt="2024-02-14T15:30:15.402" v="1309" actId="14826"/>
          <ac:picMkLst>
            <pc:docMk/>
            <pc:sldMk cId="3040644318" sldId="2146848759"/>
            <ac:picMk id="40" creationId="{11829B77-F268-A49B-EFB8-14D2BE8FDC6A}"/>
          </ac:picMkLst>
        </pc:picChg>
        <pc:picChg chg="add mod">
          <ac:chgData name="Mattias Vermeire" userId="afe8c86d-d01e-472e-9838-e047f8f3f33b" providerId="ADAL" clId="{028736F4-493E-9E46-88E7-861CB7A07834}" dt="2024-02-14T15:31:14.396" v="1313" actId="14826"/>
          <ac:picMkLst>
            <pc:docMk/>
            <pc:sldMk cId="3040644318" sldId="2146848759"/>
            <ac:picMk id="41" creationId="{D4030B84-42C4-6977-7C40-30E39BC9D3DA}"/>
          </ac:picMkLst>
        </pc:picChg>
        <pc:picChg chg="add mod modCrop">
          <ac:chgData name="Mattias Vermeire" userId="afe8c86d-d01e-472e-9838-e047f8f3f33b" providerId="ADAL" clId="{028736F4-493E-9E46-88E7-861CB7A07834}" dt="2024-02-14T15:33:32" v="1331" actId="18131"/>
          <ac:picMkLst>
            <pc:docMk/>
            <pc:sldMk cId="3040644318" sldId="2146848759"/>
            <ac:picMk id="42" creationId="{EA84E3D8-1CF3-5EAA-DBF9-68506CA93E99}"/>
          </ac:picMkLst>
        </pc:picChg>
      </pc:sldChg>
      <pc:sldChg chg="modSp mod">
        <pc:chgData name="Mattias Vermeire" userId="afe8c86d-d01e-472e-9838-e047f8f3f33b" providerId="ADAL" clId="{028736F4-493E-9E46-88E7-861CB7A07834}" dt="2024-02-14T13:31:16.772" v="14" actId="208"/>
        <pc:sldMkLst>
          <pc:docMk/>
          <pc:sldMk cId="1025774212" sldId="2146849006"/>
        </pc:sldMkLst>
        <pc:spChg chg="mod">
          <ac:chgData name="Mattias Vermeire" userId="afe8c86d-d01e-472e-9838-e047f8f3f33b" providerId="ADAL" clId="{028736F4-493E-9E46-88E7-861CB7A07834}" dt="2024-02-14T13:31:16.772" v="14" actId="208"/>
          <ac:spMkLst>
            <pc:docMk/>
            <pc:sldMk cId="1025774212" sldId="2146849006"/>
            <ac:spMk id="15" creationId="{C1BCD9A6-6AB7-B9C1-E871-63EBF79FF4C6}"/>
          </ac:spMkLst>
        </pc:spChg>
      </pc:sldChg>
      <pc:sldChg chg="modSp mod">
        <pc:chgData name="Mattias Vermeire" userId="afe8c86d-d01e-472e-9838-e047f8f3f33b" providerId="ADAL" clId="{028736F4-493E-9E46-88E7-861CB7A07834}" dt="2024-02-14T13:31:01.958" v="13" actId="208"/>
        <pc:sldMkLst>
          <pc:docMk/>
          <pc:sldMk cId="3853740128" sldId="2146849007"/>
        </pc:sldMkLst>
        <pc:spChg chg="mod">
          <ac:chgData name="Mattias Vermeire" userId="afe8c86d-d01e-472e-9838-e047f8f3f33b" providerId="ADAL" clId="{028736F4-493E-9E46-88E7-861CB7A07834}" dt="2024-02-14T13:31:01.958" v="13" actId="208"/>
          <ac:spMkLst>
            <pc:docMk/>
            <pc:sldMk cId="3853740128" sldId="2146849007"/>
            <ac:spMk id="6" creationId="{BDB230E4-EFC8-CA0A-80AF-90F89D8BA816}"/>
          </ac:spMkLst>
        </pc:spChg>
        <pc:spChg chg="mod">
          <ac:chgData name="Mattias Vermeire" userId="afe8c86d-d01e-472e-9838-e047f8f3f33b" providerId="ADAL" clId="{028736F4-493E-9E46-88E7-861CB7A07834}" dt="2024-02-14T13:30:59.603" v="12" actId="208"/>
          <ac:spMkLst>
            <pc:docMk/>
            <pc:sldMk cId="3853740128" sldId="2146849007"/>
            <ac:spMk id="7" creationId="{6C3F5200-92C0-4A53-3BC4-0278C3118800}"/>
          </ac:spMkLst>
        </pc:spChg>
      </pc:sldChg>
      <pc:sldChg chg="modSp mod">
        <pc:chgData name="Mattias Vermeire" userId="afe8c86d-d01e-472e-9838-e047f8f3f33b" providerId="ADAL" clId="{028736F4-493E-9E46-88E7-861CB7A07834}" dt="2024-02-14T15:27:04.627" v="1283" actId="20577"/>
        <pc:sldMkLst>
          <pc:docMk/>
          <pc:sldMk cId="3074706286" sldId="2146849010"/>
        </pc:sldMkLst>
        <pc:spChg chg="mod">
          <ac:chgData name="Mattias Vermeire" userId="afe8c86d-d01e-472e-9838-e047f8f3f33b" providerId="ADAL" clId="{028736F4-493E-9E46-88E7-861CB7A07834}" dt="2024-02-14T15:27:04.627" v="1283" actId="20577"/>
          <ac:spMkLst>
            <pc:docMk/>
            <pc:sldMk cId="3074706286" sldId="2146849010"/>
            <ac:spMk id="2" creationId="{02E450C0-FE33-D875-FB2D-CE57CBAFA2D2}"/>
          </ac:spMkLst>
        </pc:spChg>
      </pc:sldChg>
      <pc:sldChg chg="addSp delSp modSp add del mod">
        <pc:chgData name="Mattias Vermeire" userId="afe8c86d-d01e-472e-9838-e047f8f3f33b" providerId="ADAL" clId="{028736F4-493E-9E46-88E7-861CB7A07834}" dt="2024-02-14T16:12:30.572" v="2629"/>
        <pc:sldMkLst>
          <pc:docMk/>
          <pc:sldMk cId="1583815846" sldId="2146849803"/>
        </pc:sldMkLst>
        <pc:spChg chg="del">
          <ac:chgData name="Mattias Vermeire" userId="afe8c86d-d01e-472e-9838-e047f8f3f33b" providerId="ADAL" clId="{028736F4-493E-9E46-88E7-861CB7A07834}" dt="2024-02-14T15:34:28.527" v="1340" actId="478"/>
          <ac:spMkLst>
            <pc:docMk/>
            <pc:sldMk cId="1583815846" sldId="2146849803"/>
            <ac:spMk id="3" creationId="{406A0D3E-F0CD-B0D5-5DC5-FFA8E38B370B}"/>
          </ac:spMkLst>
        </pc:spChg>
        <pc:spChg chg="del">
          <ac:chgData name="Mattias Vermeire" userId="afe8c86d-d01e-472e-9838-e047f8f3f33b" providerId="ADAL" clId="{028736F4-493E-9E46-88E7-861CB7A07834}" dt="2024-02-14T15:34:28.527" v="1340" actId="478"/>
          <ac:spMkLst>
            <pc:docMk/>
            <pc:sldMk cId="1583815846" sldId="2146849803"/>
            <ac:spMk id="4" creationId="{08CC71B1-EF61-5341-080B-8119A61CA33E}"/>
          </ac:spMkLst>
        </pc:spChg>
        <pc:spChg chg="add del mod">
          <ac:chgData name="Mattias Vermeire" userId="afe8c86d-d01e-472e-9838-e047f8f3f33b" providerId="ADAL" clId="{028736F4-493E-9E46-88E7-861CB7A07834}" dt="2024-02-14T15:34:34.723" v="1343" actId="478"/>
          <ac:spMkLst>
            <pc:docMk/>
            <pc:sldMk cId="1583815846" sldId="2146849803"/>
            <ac:spMk id="5" creationId="{B958B107-1418-F73E-630C-1FD1C0BB73BA}"/>
          </ac:spMkLst>
        </pc:spChg>
        <pc:spChg chg="mod">
          <ac:chgData name="Mattias Vermeire" userId="afe8c86d-d01e-472e-9838-e047f8f3f33b" providerId="ADAL" clId="{028736F4-493E-9E46-88E7-861CB7A07834}" dt="2024-02-14T15:39:57.375" v="1458" actId="20577"/>
          <ac:spMkLst>
            <pc:docMk/>
            <pc:sldMk cId="1583815846" sldId="2146849803"/>
            <ac:spMk id="10" creationId="{896528F0-B1EE-87F4-394C-5B3D3218A346}"/>
          </ac:spMkLst>
        </pc:spChg>
        <pc:spChg chg="mod">
          <ac:chgData name="Mattias Vermeire" userId="afe8c86d-d01e-472e-9838-e047f8f3f33b" providerId="ADAL" clId="{028736F4-493E-9E46-88E7-861CB7A07834}" dt="2024-02-14T14:59:40.011" v="1174" actId="20577"/>
          <ac:spMkLst>
            <pc:docMk/>
            <pc:sldMk cId="1583815846" sldId="2146849803"/>
            <ac:spMk id="11" creationId="{F3097CA7-7819-DCF2-12F7-CC1ABE0B36B4}"/>
          </ac:spMkLst>
        </pc:spChg>
        <pc:spChg chg="mod">
          <ac:chgData name="Mattias Vermeire" userId="afe8c86d-d01e-472e-9838-e047f8f3f33b" providerId="ADAL" clId="{028736F4-493E-9E46-88E7-861CB7A07834}" dt="2024-02-14T14:59:33.184" v="1170" actId="20577"/>
          <ac:spMkLst>
            <pc:docMk/>
            <pc:sldMk cId="1583815846" sldId="2146849803"/>
            <ac:spMk id="12" creationId="{B5303B9A-BD20-3A6F-A124-C08ED8A8D83A}"/>
          </ac:spMkLst>
        </pc:spChg>
        <pc:spChg chg="mod">
          <ac:chgData name="Mattias Vermeire" userId="afe8c86d-d01e-472e-9838-e047f8f3f33b" providerId="ADAL" clId="{028736F4-493E-9E46-88E7-861CB7A07834}" dt="2024-02-14T14:59:43.607" v="1184" actId="20577"/>
          <ac:spMkLst>
            <pc:docMk/>
            <pc:sldMk cId="1583815846" sldId="2146849803"/>
            <ac:spMk id="15" creationId="{17550E3B-9F79-7590-4F7C-0BCCA718A524}"/>
          </ac:spMkLst>
        </pc:spChg>
        <pc:spChg chg="mod">
          <ac:chgData name="Mattias Vermeire" userId="afe8c86d-d01e-472e-9838-e047f8f3f33b" providerId="ADAL" clId="{028736F4-493E-9E46-88E7-861CB7A07834}" dt="2024-02-14T14:59:55.216" v="1205" actId="20577"/>
          <ac:spMkLst>
            <pc:docMk/>
            <pc:sldMk cId="1583815846" sldId="2146849803"/>
            <ac:spMk id="18" creationId="{7E18195B-CB2F-B2D7-B5CE-71B56027CC1D}"/>
          </ac:spMkLst>
        </pc:spChg>
        <pc:spChg chg="add del mod">
          <ac:chgData name="Mattias Vermeire" userId="afe8c86d-d01e-472e-9838-e047f8f3f33b" providerId="ADAL" clId="{028736F4-493E-9E46-88E7-861CB7A07834}" dt="2024-02-14T15:34:34.723" v="1343" actId="478"/>
          <ac:spMkLst>
            <pc:docMk/>
            <pc:sldMk cId="1583815846" sldId="2146849803"/>
            <ac:spMk id="23" creationId="{C6739D8C-628C-EB38-5D8D-8DE6A016758E}"/>
          </ac:spMkLst>
        </pc:spChg>
        <pc:spChg chg="add mod">
          <ac:chgData name="Mattias Vermeire" userId="afe8c86d-d01e-472e-9838-e047f8f3f33b" providerId="ADAL" clId="{028736F4-493E-9E46-88E7-861CB7A07834}" dt="2024-02-14T15:34:29.757" v="1342"/>
          <ac:spMkLst>
            <pc:docMk/>
            <pc:sldMk cId="1583815846" sldId="2146849803"/>
            <ac:spMk id="24" creationId="{38AC4097-4746-B2D0-F65D-261D68FC8529}"/>
          </ac:spMkLst>
        </pc:spChg>
        <pc:spChg chg="add mod">
          <ac:chgData name="Mattias Vermeire" userId="afe8c86d-d01e-472e-9838-e047f8f3f33b" providerId="ADAL" clId="{028736F4-493E-9E46-88E7-861CB7A07834}" dt="2024-02-14T15:34:29.757" v="1342"/>
          <ac:spMkLst>
            <pc:docMk/>
            <pc:sldMk cId="1583815846" sldId="2146849803"/>
            <ac:spMk id="25" creationId="{3513F271-0148-FE8E-0CEE-39D3E99D30B2}"/>
          </ac:spMkLst>
        </pc:spChg>
        <pc:spChg chg="add mod">
          <ac:chgData name="Mattias Vermeire" userId="afe8c86d-d01e-472e-9838-e047f8f3f33b" providerId="ADAL" clId="{028736F4-493E-9E46-88E7-861CB7A07834}" dt="2024-02-14T15:34:40.664" v="1357" actId="20577"/>
          <ac:spMkLst>
            <pc:docMk/>
            <pc:sldMk cId="1583815846" sldId="2146849803"/>
            <ac:spMk id="26" creationId="{2DB8F4BB-E44E-5B76-4C8D-C69057649022}"/>
          </ac:spMkLst>
        </pc:spChg>
        <pc:spChg chg="add mod">
          <ac:chgData name="Mattias Vermeire" userId="afe8c86d-d01e-472e-9838-e047f8f3f33b" providerId="ADAL" clId="{028736F4-493E-9E46-88E7-861CB7A07834}" dt="2024-02-14T15:34:49.967" v="1377" actId="20577"/>
          <ac:spMkLst>
            <pc:docMk/>
            <pc:sldMk cId="1583815846" sldId="2146849803"/>
            <ac:spMk id="27" creationId="{C6BCED24-60AB-6768-A0ED-0009DD7956A3}"/>
          </ac:spMkLst>
        </pc:spChg>
        <pc:picChg chg="add del">
          <ac:chgData name="Mattias Vermeire" userId="afe8c86d-d01e-472e-9838-e047f8f3f33b" providerId="ADAL" clId="{028736F4-493E-9E46-88E7-861CB7A07834}" dt="2024-02-14T13:52:07.069" v="93" actId="478"/>
          <ac:picMkLst>
            <pc:docMk/>
            <pc:sldMk cId="1583815846" sldId="2146849803"/>
            <ac:picMk id="2" creationId="{2B789993-A8F5-BB03-E1A1-AB4658A2937A}"/>
          </ac:picMkLst>
        </pc:picChg>
        <pc:picChg chg="mod modCrop">
          <ac:chgData name="Mattias Vermeire" userId="afe8c86d-d01e-472e-9838-e047f8f3f33b" providerId="ADAL" clId="{028736F4-493E-9E46-88E7-861CB7A07834}" dt="2024-02-14T15:34:13.566" v="1339" actId="18131"/>
          <ac:picMkLst>
            <pc:docMk/>
            <pc:sldMk cId="1583815846" sldId="2146849803"/>
            <ac:picMk id="22" creationId="{A6FD31DC-E15D-6CA8-148B-94D7B404D459}"/>
          </ac:picMkLst>
        </pc:picChg>
        <pc:picChg chg="add mod">
          <ac:chgData name="Mattias Vermeire" userId="afe8c86d-d01e-472e-9838-e047f8f3f33b" providerId="ADAL" clId="{028736F4-493E-9E46-88E7-861CB7A07834}" dt="2024-02-14T16:12:30.572" v="2629"/>
          <ac:picMkLst>
            <pc:docMk/>
            <pc:sldMk cId="1583815846" sldId="2146849803"/>
            <ac:picMk id="28" creationId="{C0FBED09-3D80-B6E8-892E-259358765802}"/>
          </ac:picMkLst>
        </pc:picChg>
      </pc:sldChg>
      <pc:sldChg chg="modSp del mod ord">
        <pc:chgData name="Mattias Vermeire" userId="afe8c86d-d01e-472e-9838-e047f8f3f33b" providerId="ADAL" clId="{028736F4-493E-9E46-88E7-861CB7A07834}" dt="2024-02-14T13:55:05.991" v="219" actId="2696"/>
        <pc:sldMkLst>
          <pc:docMk/>
          <pc:sldMk cId="2525588397" sldId="2146849808"/>
        </pc:sldMkLst>
        <pc:spChg chg="mod">
          <ac:chgData name="Mattias Vermeire" userId="afe8c86d-d01e-472e-9838-e047f8f3f33b" providerId="ADAL" clId="{028736F4-493E-9E46-88E7-861CB7A07834}" dt="2024-02-14T13:53:28.283" v="101" actId="12"/>
          <ac:spMkLst>
            <pc:docMk/>
            <pc:sldMk cId="2525588397" sldId="2146849808"/>
            <ac:spMk id="5" creationId="{071B36D6-4B3E-914E-7073-388E04B197DA}"/>
          </ac:spMkLst>
        </pc:spChg>
        <pc:spChg chg="mod">
          <ac:chgData name="Mattias Vermeire" userId="afe8c86d-d01e-472e-9838-e047f8f3f33b" providerId="ADAL" clId="{028736F4-493E-9E46-88E7-861CB7A07834}" dt="2024-02-14T13:53:24.742" v="100" actId="12"/>
          <ac:spMkLst>
            <pc:docMk/>
            <pc:sldMk cId="2525588397" sldId="2146849808"/>
            <ac:spMk id="60" creationId="{2B533CC6-03EC-1A70-CF99-9D8CFD667CB5}"/>
          </ac:spMkLst>
        </pc:spChg>
        <pc:spChg chg="mod">
          <ac:chgData name="Mattias Vermeire" userId="afe8c86d-d01e-472e-9838-e047f8f3f33b" providerId="ADAL" clId="{028736F4-493E-9E46-88E7-861CB7A07834}" dt="2024-02-14T13:53:24.742" v="100" actId="12"/>
          <ac:spMkLst>
            <pc:docMk/>
            <pc:sldMk cId="2525588397" sldId="2146849808"/>
            <ac:spMk id="61" creationId="{3F0E6312-52C4-889C-3DCB-D5ED42F4B825}"/>
          </ac:spMkLst>
        </pc:spChg>
        <pc:spChg chg="mod">
          <ac:chgData name="Mattias Vermeire" userId="afe8c86d-d01e-472e-9838-e047f8f3f33b" providerId="ADAL" clId="{028736F4-493E-9E46-88E7-861CB7A07834}" dt="2024-02-14T13:53:39.730" v="104" actId="12"/>
          <ac:spMkLst>
            <pc:docMk/>
            <pc:sldMk cId="2525588397" sldId="2146849808"/>
            <ac:spMk id="62" creationId="{8D69E055-77DE-0AAE-21D8-8567BA149919}"/>
          </ac:spMkLst>
        </pc:spChg>
        <pc:picChg chg="mod">
          <ac:chgData name="Mattias Vermeire" userId="afe8c86d-d01e-472e-9838-e047f8f3f33b" providerId="ADAL" clId="{028736F4-493E-9E46-88E7-861CB7A07834}" dt="2024-02-14T13:53:09.209" v="98"/>
          <ac:picMkLst>
            <pc:docMk/>
            <pc:sldMk cId="2525588397" sldId="2146849808"/>
            <ac:picMk id="86" creationId="{D0A25877-BEA3-6CC2-60EC-5F79EC3EC682}"/>
          </ac:picMkLst>
        </pc:picChg>
      </pc:sldChg>
      <pc:sldChg chg="addSp delSp modSp add mod ord">
        <pc:chgData name="Mattias Vermeire" userId="afe8c86d-d01e-472e-9838-e047f8f3f33b" providerId="ADAL" clId="{028736F4-493E-9E46-88E7-861CB7A07834}" dt="2024-02-14T16:12:28.749" v="2627"/>
        <pc:sldMkLst>
          <pc:docMk/>
          <pc:sldMk cId="3887345559" sldId="2146849811"/>
        </pc:sldMkLst>
        <pc:spChg chg="mod">
          <ac:chgData name="Mattias Vermeire" userId="afe8c86d-d01e-472e-9838-e047f8f3f33b" providerId="ADAL" clId="{028736F4-493E-9E46-88E7-861CB7A07834}" dt="2024-02-14T15:08:31.661" v="1271" actId="20577"/>
          <ac:spMkLst>
            <pc:docMk/>
            <pc:sldMk cId="3887345559" sldId="2146849811"/>
            <ac:spMk id="3" creationId="{2D48F2FD-D8C0-BA3D-D1C7-5A8F249022FB}"/>
          </ac:spMkLst>
        </pc:spChg>
        <pc:spChg chg="mod">
          <ac:chgData name="Mattias Vermeire" userId="afe8c86d-d01e-472e-9838-e047f8f3f33b" providerId="ADAL" clId="{028736F4-493E-9E46-88E7-861CB7A07834}" dt="2024-02-14T15:09:23.069" v="1278" actId="20577"/>
          <ac:spMkLst>
            <pc:docMk/>
            <pc:sldMk cId="3887345559" sldId="2146849811"/>
            <ac:spMk id="4" creationId="{740D93F8-FB73-3490-0BB4-73417F6D3678}"/>
          </ac:spMkLst>
        </pc:spChg>
        <pc:spChg chg="del">
          <ac:chgData name="Mattias Vermeire" userId="afe8c86d-d01e-472e-9838-e047f8f3f33b" providerId="ADAL" clId="{028736F4-493E-9E46-88E7-861CB7A07834}" dt="2024-02-14T14:49:58.065" v="1109" actId="478"/>
          <ac:spMkLst>
            <pc:docMk/>
            <pc:sldMk cId="3887345559" sldId="2146849811"/>
            <ac:spMk id="5" creationId="{105F28CF-DF25-14AC-3543-3B5E9FE23C89}"/>
          </ac:spMkLst>
        </pc:spChg>
        <pc:spChg chg="del">
          <ac:chgData name="Mattias Vermeire" userId="afe8c86d-d01e-472e-9838-e047f8f3f33b" providerId="ADAL" clId="{028736F4-493E-9E46-88E7-861CB7A07834}" dt="2024-02-14T14:50:41.495" v="1115" actId="478"/>
          <ac:spMkLst>
            <pc:docMk/>
            <pc:sldMk cId="3887345559" sldId="2146849811"/>
            <ac:spMk id="6" creationId="{52B6ACF4-5C6F-5AD9-AC44-941FFA0A1AA6}"/>
          </ac:spMkLst>
        </pc:spChg>
        <pc:spChg chg="del mod">
          <ac:chgData name="Mattias Vermeire" userId="afe8c86d-d01e-472e-9838-e047f8f3f33b" providerId="ADAL" clId="{028736F4-493E-9E46-88E7-861CB7A07834}" dt="2024-02-14T14:50:41.495" v="1115" actId="478"/>
          <ac:spMkLst>
            <pc:docMk/>
            <pc:sldMk cId="3887345559" sldId="2146849811"/>
            <ac:spMk id="8" creationId="{FC92B014-FF4C-3A03-D293-183D25B84A07}"/>
          </ac:spMkLst>
        </pc:spChg>
        <pc:spChg chg="add del mod">
          <ac:chgData name="Mattias Vermeire" userId="afe8c86d-d01e-472e-9838-e047f8f3f33b" providerId="ADAL" clId="{028736F4-493E-9E46-88E7-861CB7A07834}" dt="2024-02-14T15:08:55.094" v="1273" actId="478"/>
          <ac:spMkLst>
            <pc:docMk/>
            <pc:sldMk cId="3887345559" sldId="2146849811"/>
            <ac:spMk id="10" creationId="{452D0316-F55A-3F7D-5BBA-44F1D2D00529}"/>
          </ac:spMkLst>
        </pc:spChg>
        <pc:spChg chg="add del mod">
          <ac:chgData name="Mattias Vermeire" userId="afe8c86d-d01e-472e-9838-e047f8f3f33b" providerId="ADAL" clId="{028736F4-493E-9E46-88E7-861CB7A07834}" dt="2024-02-14T14:49:39.648" v="1072"/>
          <ac:spMkLst>
            <pc:docMk/>
            <pc:sldMk cId="3887345559" sldId="2146849811"/>
            <ac:spMk id="12" creationId="{6ACD0394-D4CD-DCDA-D2C6-62E514D7CF73}"/>
          </ac:spMkLst>
        </pc:spChg>
        <pc:spChg chg="del mod">
          <ac:chgData name="Mattias Vermeire" userId="afe8c86d-d01e-472e-9838-e047f8f3f33b" providerId="ADAL" clId="{028736F4-493E-9E46-88E7-861CB7A07834}" dt="2024-02-14T14:50:41.495" v="1115" actId="478"/>
          <ac:spMkLst>
            <pc:docMk/>
            <pc:sldMk cId="3887345559" sldId="2146849811"/>
            <ac:spMk id="13" creationId="{172CF3D9-1D89-7277-69F2-11AA31F7ED1E}"/>
          </ac:spMkLst>
        </pc:spChg>
        <pc:spChg chg="del mod">
          <ac:chgData name="Mattias Vermeire" userId="afe8c86d-d01e-472e-9838-e047f8f3f33b" providerId="ADAL" clId="{028736F4-493E-9E46-88E7-861CB7A07834}" dt="2024-02-14T14:50:41.495" v="1115" actId="478"/>
          <ac:spMkLst>
            <pc:docMk/>
            <pc:sldMk cId="3887345559" sldId="2146849811"/>
            <ac:spMk id="14" creationId="{AE44E9BD-F576-A6E3-4F74-C06712D7C874}"/>
          </ac:spMkLst>
        </pc:spChg>
        <pc:spChg chg="del">
          <ac:chgData name="Mattias Vermeire" userId="afe8c86d-d01e-472e-9838-e047f8f3f33b" providerId="ADAL" clId="{028736F4-493E-9E46-88E7-861CB7A07834}" dt="2024-02-14T14:49:37.180" v="1071" actId="478"/>
          <ac:spMkLst>
            <pc:docMk/>
            <pc:sldMk cId="3887345559" sldId="2146849811"/>
            <ac:spMk id="16" creationId="{A2FB8F51-C954-4CD6-E23E-0BD6839F260F}"/>
          </ac:spMkLst>
        </pc:spChg>
        <pc:spChg chg="del mod">
          <ac:chgData name="Mattias Vermeire" userId="afe8c86d-d01e-472e-9838-e047f8f3f33b" providerId="ADAL" clId="{028736F4-493E-9E46-88E7-861CB7A07834}" dt="2024-02-14T14:50:41.495" v="1115" actId="478"/>
          <ac:spMkLst>
            <pc:docMk/>
            <pc:sldMk cId="3887345559" sldId="2146849811"/>
            <ac:spMk id="17" creationId="{9E3F9B2A-E9C4-2D61-ACA9-431E6FCF70F9}"/>
          </ac:spMkLst>
        </pc:spChg>
        <pc:spChg chg="add mod">
          <ac:chgData name="Mattias Vermeire" userId="afe8c86d-d01e-472e-9838-e047f8f3f33b" providerId="ADAL" clId="{028736F4-493E-9E46-88E7-861CB7A07834}" dt="2024-02-14T14:49:39.648" v="1072"/>
          <ac:spMkLst>
            <pc:docMk/>
            <pc:sldMk cId="3887345559" sldId="2146849811"/>
            <ac:spMk id="18" creationId="{FB5F009A-F62A-3477-17A9-D23A06D069C0}"/>
          </ac:spMkLst>
        </pc:spChg>
        <pc:spChg chg="add mod">
          <ac:chgData name="Mattias Vermeire" userId="afe8c86d-d01e-472e-9838-e047f8f3f33b" providerId="ADAL" clId="{028736F4-493E-9E46-88E7-861CB7A07834}" dt="2024-02-14T15:26:12.930" v="1280" actId="12"/>
          <ac:spMkLst>
            <pc:docMk/>
            <pc:sldMk cId="3887345559" sldId="2146849811"/>
            <ac:spMk id="19" creationId="{12125A97-C225-F72C-6C86-B1376DACF9F3}"/>
          </ac:spMkLst>
        </pc:spChg>
        <pc:spChg chg="add mod">
          <ac:chgData name="Mattias Vermeire" userId="afe8c86d-d01e-472e-9838-e047f8f3f33b" providerId="ADAL" clId="{028736F4-493E-9E46-88E7-861CB7A07834}" dt="2024-02-14T14:50:42.012" v="1116"/>
          <ac:spMkLst>
            <pc:docMk/>
            <pc:sldMk cId="3887345559" sldId="2146849811"/>
            <ac:spMk id="20" creationId="{E05DAFD7-1059-90AE-6654-4375BB0763B5}"/>
          </ac:spMkLst>
        </pc:spChg>
        <pc:spChg chg="add mod">
          <ac:chgData name="Mattias Vermeire" userId="afe8c86d-d01e-472e-9838-e047f8f3f33b" providerId="ADAL" clId="{028736F4-493E-9E46-88E7-861CB7A07834}" dt="2024-02-14T15:26:17.110" v="1281" actId="12"/>
          <ac:spMkLst>
            <pc:docMk/>
            <pc:sldMk cId="3887345559" sldId="2146849811"/>
            <ac:spMk id="22" creationId="{9EE8DE71-CD3C-A0B9-24D4-D2AD14F049CA}"/>
          </ac:spMkLst>
        </pc:spChg>
        <pc:spChg chg="add mod">
          <ac:chgData name="Mattias Vermeire" userId="afe8c86d-d01e-472e-9838-e047f8f3f33b" providerId="ADAL" clId="{028736F4-493E-9E46-88E7-861CB7A07834}" dt="2024-02-14T14:50:42.012" v="1116"/>
          <ac:spMkLst>
            <pc:docMk/>
            <pc:sldMk cId="3887345559" sldId="2146849811"/>
            <ac:spMk id="23" creationId="{6A2AC868-AF6E-F102-F642-046AF65F929F}"/>
          </ac:spMkLst>
        </pc:spChg>
        <pc:spChg chg="add mod">
          <ac:chgData name="Mattias Vermeire" userId="afe8c86d-d01e-472e-9838-e047f8f3f33b" providerId="ADAL" clId="{028736F4-493E-9E46-88E7-861CB7A07834}" dt="2024-02-14T14:55:02.391" v="1119" actId="20577"/>
          <ac:spMkLst>
            <pc:docMk/>
            <pc:sldMk cId="3887345559" sldId="2146849811"/>
            <ac:spMk id="24" creationId="{1A3FB962-4FF5-67E6-F882-972A8A9BBAC4}"/>
          </ac:spMkLst>
        </pc:spChg>
        <pc:spChg chg="add mod">
          <ac:chgData name="Mattias Vermeire" userId="afe8c86d-d01e-472e-9838-e047f8f3f33b" providerId="ADAL" clId="{028736F4-493E-9E46-88E7-861CB7A07834}" dt="2024-02-14T14:50:42.012" v="1116"/>
          <ac:spMkLst>
            <pc:docMk/>
            <pc:sldMk cId="3887345559" sldId="2146849811"/>
            <ac:spMk id="25" creationId="{B9E104F8-BFBA-771E-A6D8-F86DC982DBA8}"/>
          </ac:spMkLst>
        </pc:spChg>
        <pc:spChg chg="add mod">
          <ac:chgData name="Mattias Vermeire" userId="afe8c86d-d01e-472e-9838-e047f8f3f33b" providerId="ADAL" clId="{028736F4-493E-9E46-88E7-861CB7A07834}" dt="2024-02-14T14:50:42.012" v="1116"/>
          <ac:spMkLst>
            <pc:docMk/>
            <pc:sldMk cId="3887345559" sldId="2146849811"/>
            <ac:spMk id="27" creationId="{BBE0B202-48A1-251B-8784-3B0C186DF8E7}"/>
          </ac:spMkLst>
        </pc:spChg>
        <pc:spChg chg="add mod">
          <ac:chgData name="Mattias Vermeire" userId="afe8c86d-d01e-472e-9838-e047f8f3f33b" providerId="ADAL" clId="{028736F4-493E-9E46-88E7-861CB7A07834}" dt="2024-02-14T14:50:42.012" v="1116"/>
          <ac:spMkLst>
            <pc:docMk/>
            <pc:sldMk cId="3887345559" sldId="2146849811"/>
            <ac:spMk id="29" creationId="{D4CE30F1-1848-DD7D-6608-A389D1E12D8A}"/>
          </ac:spMkLst>
        </pc:spChg>
        <pc:spChg chg="add del mod">
          <ac:chgData name="Mattias Vermeire" userId="afe8c86d-d01e-472e-9838-e047f8f3f33b" providerId="ADAL" clId="{028736F4-493E-9E46-88E7-861CB7A07834}" dt="2024-02-14T15:01:19.792" v="1262" actId="478"/>
          <ac:spMkLst>
            <pc:docMk/>
            <pc:sldMk cId="3887345559" sldId="2146849811"/>
            <ac:spMk id="31" creationId="{47DD3CCB-C005-4299-B081-823A0CC3D727}"/>
          </ac:spMkLst>
        </pc:spChg>
        <pc:picChg chg="del">
          <ac:chgData name="Mattias Vermeire" userId="afe8c86d-d01e-472e-9838-e047f8f3f33b" providerId="ADAL" clId="{028736F4-493E-9E46-88E7-861CB7A07834}" dt="2024-02-14T14:49:28.336" v="1070" actId="478"/>
          <ac:picMkLst>
            <pc:docMk/>
            <pc:sldMk cId="3887345559" sldId="2146849811"/>
            <ac:picMk id="2" creationId="{44A4BC95-44BA-5739-FC8B-DF008D8A64C4}"/>
          </ac:picMkLst>
        </pc:picChg>
        <pc:picChg chg="del mod">
          <ac:chgData name="Mattias Vermeire" userId="afe8c86d-d01e-472e-9838-e047f8f3f33b" providerId="ADAL" clId="{028736F4-493E-9E46-88E7-861CB7A07834}" dt="2024-02-14T14:50:41.495" v="1115" actId="478"/>
          <ac:picMkLst>
            <pc:docMk/>
            <pc:sldMk cId="3887345559" sldId="2146849811"/>
            <ac:picMk id="9" creationId="{BDCCB530-5CDB-77B1-DD51-7C071113AD5A}"/>
          </ac:picMkLst>
        </pc:picChg>
        <pc:picChg chg="del mod">
          <ac:chgData name="Mattias Vermeire" userId="afe8c86d-d01e-472e-9838-e047f8f3f33b" providerId="ADAL" clId="{028736F4-493E-9E46-88E7-861CB7A07834}" dt="2024-02-14T14:50:41.495" v="1115" actId="478"/>
          <ac:picMkLst>
            <pc:docMk/>
            <pc:sldMk cId="3887345559" sldId="2146849811"/>
            <ac:picMk id="15" creationId="{ECBCB31E-FFAB-FEBB-9256-64042CB97F1C}"/>
          </ac:picMkLst>
        </pc:picChg>
        <pc:picChg chg="add mod">
          <ac:chgData name="Mattias Vermeire" userId="afe8c86d-d01e-472e-9838-e047f8f3f33b" providerId="ADAL" clId="{028736F4-493E-9E46-88E7-861CB7A07834}" dt="2024-02-14T14:50:42.012" v="1116"/>
          <ac:picMkLst>
            <pc:docMk/>
            <pc:sldMk cId="3887345559" sldId="2146849811"/>
            <ac:picMk id="21" creationId="{6ED91D14-DF11-4FF9-A7B5-64F31992DB6F}"/>
          </ac:picMkLst>
        </pc:picChg>
        <pc:picChg chg="add mod">
          <ac:chgData name="Mattias Vermeire" userId="afe8c86d-d01e-472e-9838-e047f8f3f33b" providerId="ADAL" clId="{028736F4-493E-9E46-88E7-861CB7A07834}" dt="2024-02-14T14:50:42.012" v="1116"/>
          <ac:picMkLst>
            <pc:docMk/>
            <pc:sldMk cId="3887345559" sldId="2146849811"/>
            <ac:picMk id="26" creationId="{B0BB42C8-ECFE-3C87-2CA0-2E509D0BCAAF}"/>
          </ac:picMkLst>
        </pc:picChg>
        <pc:picChg chg="add mod">
          <ac:chgData name="Mattias Vermeire" userId="afe8c86d-d01e-472e-9838-e047f8f3f33b" providerId="ADAL" clId="{028736F4-493E-9E46-88E7-861CB7A07834}" dt="2024-02-14T14:50:42.012" v="1116"/>
          <ac:picMkLst>
            <pc:docMk/>
            <pc:sldMk cId="3887345559" sldId="2146849811"/>
            <ac:picMk id="28" creationId="{46FC2AAD-048F-E18C-C157-14075BCDA697}"/>
          </ac:picMkLst>
        </pc:picChg>
        <pc:picChg chg="add mod">
          <ac:chgData name="Mattias Vermeire" userId="afe8c86d-d01e-472e-9838-e047f8f3f33b" providerId="ADAL" clId="{028736F4-493E-9E46-88E7-861CB7A07834}" dt="2024-02-14T14:50:42.012" v="1116"/>
          <ac:picMkLst>
            <pc:docMk/>
            <pc:sldMk cId="3887345559" sldId="2146849811"/>
            <ac:picMk id="30" creationId="{0CFBF19D-C62E-EEE8-10A9-0AEE7B4E1B58}"/>
          </ac:picMkLst>
        </pc:picChg>
        <pc:picChg chg="add mod">
          <ac:chgData name="Mattias Vermeire" userId="afe8c86d-d01e-472e-9838-e047f8f3f33b" providerId="ADAL" clId="{028736F4-493E-9E46-88E7-861CB7A07834}" dt="2024-02-14T15:09:06.345" v="1275" actId="14826"/>
          <ac:picMkLst>
            <pc:docMk/>
            <pc:sldMk cId="3887345559" sldId="2146849811"/>
            <ac:picMk id="32" creationId="{396F54B0-E0F4-C658-260C-9852638C2A5E}"/>
          </ac:picMkLst>
        </pc:picChg>
        <pc:picChg chg="add mod">
          <ac:chgData name="Mattias Vermeire" userId="afe8c86d-d01e-472e-9838-e047f8f3f33b" providerId="ADAL" clId="{028736F4-493E-9E46-88E7-861CB7A07834}" dt="2024-02-14T16:12:28.749" v="2627"/>
          <ac:picMkLst>
            <pc:docMk/>
            <pc:sldMk cId="3887345559" sldId="2146849811"/>
            <ac:picMk id="33" creationId="{A3BCD175-0EB4-87BA-2268-CB12ECF6B3B2}"/>
          </ac:picMkLst>
        </pc:picChg>
      </pc:sldChg>
      <pc:sldChg chg="addSp delSp modSp add mod">
        <pc:chgData name="Mattias Vermeire" userId="afe8c86d-d01e-472e-9838-e047f8f3f33b" providerId="ADAL" clId="{028736F4-493E-9E46-88E7-861CB7A07834}" dt="2024-02-14T16:12:24.714" v="2626" actId="207"/>
        <pc:sldMkLst>
          <pc:docMk/>
          <pc:sldMk cId="1722288439" sldId="2146849812"/>
        </pc:sldMkLst>
        <pc:spChg chg="mod">
          <ac:chgData name="Mattias Vermeire" userId="afe8c86d-d01e-472e-9838-e047f8f3f33b" providerId="ADAL" clId="{028736F4-493E-9E46-88E7-861CB7A07834}" dt="2024-02-14T13:54:13.511" v="127" actId="14100"/>
          <ac:spMkLst>
            <pc:docMk/>
            <pc:sldMk cId="1722288439" sldId="2146849812"/>
            <ac:spMk id="3" creationId="{A07B0460-A040-96BE-A5F0-9D2C485E11F8}"/>
          </ac:spMkLst>
        </pc:spChg>
        <pc:spChg chg="mod">
          <ac:chgData name="Mattias Vermeire" userId="afe8c86d-d01e-472e-9838-e047f8f3f33b" providerId="ADAL" clId="{028736F4-493E-9E46-88E7-861CB7A07834}" dt="2024-02-14T13:54:28.173" v="184" actId="20577"/>
          <ac:spMkLst>
            <pc:docMk/>
            <pc:sldMk cId="1722288439" sldId="2146849812"/>
            <ac:spMk id="4" creationId="{F3114F33-C696-9DCB-FCF9-F2184031CAD5}"/>
          </ac:spMkLst>
        </pc:spChg>
        <pc:spChg chg="del">
          <ac:chgData name="Mattias Vermeire" userId="afe8c86d-d01e-472e-9838-e047f8f3f33b" providerId="ADAL" clId="{028736F4-493E-9E46-88E7-861CB7A07834}" dt="2024-02-14T13:53:55.839" v="105" actId="478"/>
          <ac:spMkLst>
            <pc:docMk/>
            <pc:sldMk cId="1722288439" sldId="2146849812"/>
            <ac:spMk id="5" creationId="{165937A2-6A41-379C-05D9-5488785B9B88}"/>
          </ac:spMkLst>
        </pc:spChg>
        <pc:spChg chg="del">
          <ac:chgData name="Mattias Vermeire" userId="afe8c86d-d01e-472e-9838-e047f8f3f33b" providerId="ADAL" clId="{028736F4-493E-9E46-88E7-861CB7A07834}" dt="2024-02-14T13:53:55.839" v="105" actId="478"/>
          <ac:spMkLst>
            <pc:docMk/>
            <pc:sldMk cId="1722288439" sldId="2146849812"/>
            <ac:spMk id="6" creationId="{D902D23E-8709-DEAC-7353-78846A0CA3E6}"/>
          </ac:spMkLst>
        </pc:spChg>
        <pc:spChg chg="add mod">
          <ac:chgData name="Mattias Vermeire" userId="afe8c86d-d01e-472e-9838-e047f8f3f33b" providerId="ADAL" clId="{028736F4-493E-9E46-88E7-861CB7A07834}" dt="2024-02-14T13:53:58.568" v="107"/>
          <ac:spMkLst>
            <pc:docMk/>
            <pc:sldMk cId="1722288439" sldId="2146849812"/>
            <ac:spMk id="7" creationId="{F4971BC7-1602-2699-D192-996DB6BC7C80}"/>
          </ac:spMkLst>
        </pc:spChg>
        <pc:spChg chg="del">
          <ac:chgData name="Mattias Vermeire" userId="afe8c86d-d01e-472e-9838-e047f8f3f33b" providerId="ADAL" clId="{028736F4-493E-9E46-88E7-861CB7A07834}" dt="2024-02-14T13:53:55.839" v="105" actId="478"/>
          <ac:spMkLst>
            <pc:docMk/>
            <pc:sldMk cId="1722288439" sldId="2146849812"/>
            <ac:spMk id="8" creationId="{8D4EDC36-E80F-16BE-4B21-CBF7CA465EE0}"/>
          </ac:spMkLst>
        </pc:spChg>
        <pc:spChg chg="add mod">
          <ac:chgData name="Mattias Vermeire" userId="afe8c86d-d01e-472e-9838-e047f8f3f33b" providerId="ADAL" clId="{028736F4-493E-9E46-88E7-861CB7A07834}" dt="2024-02-14T13:53:58.568" v="107"/>
          <ac:spMkLst>
            <pc:docMk/>
            <pc:sldMk cId="1722288439" sldId="2146849812"/>
            <ac:spMk id="10" creationId="{50B87F9F-2B69-4E9A-7052-1DF07CB5F58C}"/>
          </ac:spMkLst>
        </pc:spChg>
        <pc:spChg chg="add mod">
          <ac:chgData name="Mattias Vermeire" userId="afe8c86d-d01e-472e-9838-e047f8f3f33b" providerId="ADAL" clId="{028736F4-493E-9E46-88E7-861CB7A07834}" dt="2024-02-14T13:53:56.512" v="106"/>
          <ac:spMkLst>
            <pc:docMk/>
            <pc:sldMk cId="1722288439" sldId="2146849812"/>
            <ac:spMk id="11" creationId="{86739483-8BDD-8E31-B9D5-DC998CC20CD6}"/>
          </ac:spMkLst>
        </pc:spChg>
        <pc:spChg chg="add mod">
          <ac:chgData name="Mattias Vermeire" userId="afe8c86d-d01e-472e-9838-e047f8f3f33b" providerId="ADAL" clId="{028736F4-493E-9E46-88E7-861CB7A07834}" dt="2024-02-14T13:53:56.512" v="106"/>
          <ac:spMkLst>
            <pc:docMk/>
            <pc:sldMk cId="1722288439" sldId="2146849812"/>
            <ac:spMk id="12" creationId="{C5B01CC9-8C58-2C8A-66D7-655D3A6E4A86}"/>
          </ac:spMkLst>
        </pc:spChg>
        <pc:spChg chg="del">
          <ac:chgData name="Mattias Vermeire" userId="afe8c86d-d01e-472e-9838-e047f8f3f33b" providerId="ADAL" clId="{028736F4-493E-9E46-88E7-861CB7A07834}" dt="2024-02-14T13:53:55.839" v="105" actId="478"/>
          <ac:spMkLst>
            <pc:docMk/>
            <pc:sldMk cId="1722288439" sldId="2146849812"/>
            <ac:spMk id="13" creationId="{8C9F116E-68B9-C277-2F60-D034065F3DE0}"/>
          </ac:spMkLst>
        </pc:spChg>
        <pc:spChg chg="del">
          <ac:chgData name="Mattias Vermeire" userId="afe8c86d-d01e-472e-9838-e047f8f3f33b" providerId="ADAL" clId="{028736F4-493E-9E46-88E7-861CB7A07834}" dt="2024-02-14T13:53:55.839" v="105" actId="478"/>
          <ac:spMkLst>
            <pc:docMk/>
            <pc:sldMk cId="1722288439" sldId="2146849812"/>
            <ac:spMk id="14" creationId="{B7AE6062-A4A9-322D-FF46-8A7D196F2FDF}"/>
          </ac:spMkLst>
        </pc:spChg>
        <pc:spChg chg="mod">
          <ac:chgData name="Mattias Vermeire" userId="afe8c86d-d01e-472e-9838-e047f8f3f33b" providerId="ADAL" clId="{028736F4-493E-9E46-88E7-861CB7A07834}" dt="2024-02-14T13:54:45.808" v="217" actId="20577"/>
          <ac:spMkLst>
            <pc:docMk/>
            <pc:sldMk cId="1722288439" sldId="2146849812"/>
            <ac:spMk id="16" creationId="{641AAF74-0B5A-BEA1-04A7-4F98ECFC13D4}"/>
          </ac:spMkLst>
        </pc:spChg>
        <pc:spChg chg="del">
          <ac:chgData name="Mattias Vermeire" userId="afe8c86d-d01e-472e-9838-e047f8f3f33b" providerId="ADAL" clId="{028736F4-493E-9E46-88E7-861CB7A07834}" dt="2024-02-14T13:53:55.839" v="105" actId="478"/>
          <ac:spMkLst>
            <pc:docMk/>
            <pc:sldMk cId="1722288439" sldId="2146849812"/>
            <ac:spMk id="17" creationId="{32CF98FB-DA3D-0D58-5063-508160BB577A}"/>
          </ac:spMkLst>
        </pc:spChg>
        <pc:spChg chg="add mod">
          <ac:chgData name="Mattias Vermeire" userId="afe8c86d-d01e-472e-9838-e047f8f3f33b" providerId="ADAL" clId="{028736F4-493E-9E46-88E7-861CB7A07834}" dt="2024-02-14T13:53:56.512" v="106"/>
          <ac:spMkLst>
            <pc:docMk/>
            <pc:sldMk cId="1722288439" sldId="2146849812"/>
            <ac:spMk id="18" creationId="{E1E0DFD3-31E2-3E7C-0E9E-00C366AF45EA}"/>
          </ac:spMkLst>
        </pc:spChg>
        <pc:spChg chg="add mod">
          <ac:chgData name="Mattias Vermeire" userId="afe8c86d-d01e-472e-9838-e047f8f3f33b" providerId="ADAL" clId="{028736F4-493E-9E46-88E7-861CB7A07834}" dt="2024-02-14T13:53:56.512" v="106"/>
          <ac:spMkLst>
            <pc:docMk/>
            <pc:sldMk cId="1722288439" sldId="2146849812"/>
            <ac:spMk id="19" creationId="{B9D1EDE8-1191-649F-0EED-DF338EE39E59}"/>
          </ac:spMkLst>
        </pc:spChg>
        <pc:spChg chg="add mod">
          <ac:chgData name="Mattias Vermeire" userId="afe8c86d-d01e-472e-9838-e047f8f3f33b" providerId="ADAL" clId="{028736F4-493E-9E46-88E7-861CB7A07834}" dt="2024-02-14T13:53:56.512" v="106"/>
          <ac:spMkLst>
            <pc:docMk/>
            <pc:sldMk cId="1722288439" sldId="2146849812"/>
            <ac:spMk id="20" creationId="{41B7ED25-9AEA-5854-5EEC-2CA07408ACF6}"/>
          </ac:spMkLst>
        </pc:spChg>
        <pc:spChg chg="add mod">
          <ac:chgData name="Mattias Vermeire" userId="afe8c86d-d01e-472e-9838-e047f8f3f33b" providerId="ADAL" clId="{028736F4-493E-9E46-88E7-861CB7A07834}" dt="2024-02-14T13:53:56.512" v="106"/>
          <ac:spMkLst>
            <pc:docMk/>
            <pc:sldMk cId="1722288439" sldId="2146849812"/>
            <ac:spMk id="22" creationId="{AABC306C-8517-42B0-6606-B399C17AFFB5}"/>
          </ac:spMkLst>
        </pc:spChg>
        <pc:spChg chg="add mod">
          <ac:chgData name="Mattias Vermeire" userId="afe8c86d-d01e-472e-9838-e047f8f3f33b" providerId="ADAL" clId="{028736F4-493E-9E46-88E7-861CB7A07834}" dt="2024-02-14T13:53:56.512" v="106"/>
          <ac:spMkLst>
            <pc:docMk/>
            <pc:sldMk cId="1722288439" sldId="2146849812"/>
            <ac:spMk id="23" creationId="{3E330BAC-1708-40F1-CCCC-83A9088D4321}"/>
          </ac:spMkLst>
        </pc:spChg>
        <pc:spChg chg="add mod">
          <ac:chgData name="Mattias Vermeire" userId="afe8c86d-d01e-472e-9838-e047f8f3f33b" providerId="ADAL" clId="{028736F4-493E-9E46-88E7-861CB7A07834}" dt="2024-02-14T13:53:56.512" v="106"/>
          <ac:spMkLst>
            <pc:docMk/>
            <pc:sldMk cId="1722288439" sldId="2146849812"/>
            <ac:spMk id="25" creationId="{A10BEB02-3857-5116-CBB9-C339D29B6F9D}"/>
          </ac:spMkLst>
        </pc:spChg>
        <pc:spChg chg="add mod">
          <ac:chgData name="Mattias Vermeire" userId="afe8c86d-d01e-472e-9838-e047f8f3f33b" providerId="ADAL" clId="{028736F4-493E-9E46-88E7-861CB7A07834}" dt="2024-02-14T13:53:56.512" v="106"/>
          <ac:spMkLst>
            <pc:docMk/>
            <pc:sldMk cId="1722288439" sldId="2146849812"/>
            <ac:spMk id="28" creationId="{963E49A5-5838-B428-4563-7D31BA7D4F4C}"/>
          </ac:spMkLst>
        </pc:spChg>
        <pc:spChg chg="add mod">
          <ac:chgData name="Mattias Vermeire" userId="afe8c86d-d01e-472e-9838-e047f8f3f33b" providerId="ADAL" clId="{028736F4-493E-9E46-88E7-861CB7A07834}" dt="2024-02-14T13:53:56.512" v="106"/>
          <ac:spMkLst>
            <pc:docMk/>
            <pc:sldMk cId="1722288439" sldId="2146849812"/>
            <ac:spMk id="30" creationId="{2ECBAB59-2921-C6FF-F0CA-ACEA3D4D5CB9}"/>
          </ac:spMkLst>
        </pc:spChg>
        <pc:spChg chg="add mod">
          <ac:chgData name="Mattias Vermeire" userId="afe8c86d-d01e-472e-9838-e047f8f3f33b" providerId="ADAL" clId="{028736F4-493E-9E46-88E7-861CB7A07834}" dt="2024-02-14T13:53:56.512" v="106"/>
          <ac:spMkLst>
            <pc:docMk/>
            <pc:sldMk cId="1722288439" sldId="2146849812"/>
            <ac:spMk id="36" creationId="{A22DB70F-5AF7-0A82-DB08-E4F978D24C2A}"/>
          </ac:spMkLst>
        </pc:spChg>
        <pc:spChg chg="add mod">
          <ac:chgData name="Mattias Vermeire" userId="afe8c86d-d01e-472e-9838-e047f8f3f33b" providerId="ADAL" clId="{028736F4-493E-9E46-88E7-861CB7A07834}" dt="2024-02-14T13:53:56.512" v="106"/>
          <ac:spMkLst>
            <pc:docMk/>
            <pc:sldMk cId="1722288439" sldId="2146849812"/>
            <ac:spMk id="39" creationId="{43C80B45-00F4-B28B-657A-2EC7F9E0B0E3}"/>
          </ac:spMkLst>
        </pc:spChg>
        <pc:spChg chg="add mod">
          <ac:chgData name="Mattias Vermeire" userId="afe8c86d-d01e-472e-9838-e047f8f3f33b" providerId="ADAL" clId="{028736F4-493E-9E46-88E7-861CB7A07834}" dt="2024-02-14T16:00:25.070" v="1625" actId="1035"/>
          <ac:spMkLst>
            <pc:docMk/>
            <pc:sldMk cId="1722288439" sldId="2146849812"/>
            <ac:spMk id="40" creationId="{AE770019-F014-77D1-E932-0CF8EE275113}"/>
          </ac:spMkLst>
        </pc:spChg>
        <pc:spChg chg="add mod">
          <ac:chgData name="Mattias Vermeire" userId="afe8c86d-d01e-472e-9838-e047f8f3f33b" providerId="ADAL" clId="{028736F4-493E-9E46-88E7-861CB7A07834}" dt="2024-02-14T16:00:25.070" v="1625" actId="1035"/>
          <ac:spMkLst>
            <pc:docMk/>
            <pc:sldMk cId="1722288439" sldId="2146849812"/>
            <ac:spMk id="41" creationId="{2191F93D-554D-91F5-E12A-E2C3A48FBFF3}"/>
          </ac:spMkLst>
        </pc:spChg>
        <pc:spChg chg="add mod">
          <ac:chgData name="Mattias Vermeire" userId="afe8c86d-d01e-472e-9838-e047f8f3f33b" providerId="ADAL" clId="{028736F4-493E-9E46-88E7-861CB7A07834}" dt="2024-02-14T16:00:25.070" v="1625" actId="1035"/>
          <ac:spMkLst>
            <pc:docMk/>
            <pc:sldMk cId="1722288439" sldId="2146849812"/>
            <ac:spMk id="42" creationId="{6CC51049-A68D-5835-A65E-9F605B19E208}"/>
          </ac:spMkLst>
        </pc:spChg>
        <pc:spChg chg="add del mod">
          <ac:chgData name="Mattias Vermeire" userId="afe8c86d-d01e-472e-9838-e047f8f3f33b" providerId="ADAL" clId="{028736F4-493E-9E46-88E7-861CB7A07834}" dt="2024-02-14T14:35:43.547" v="280" actId="478"/>
          <ac:spMkLst>
            <pc:docMk/>
            <pc:sldMk cId="1722288439" sldId="2146849812"/>
            <ac:spMk id="43" creationId="{1D3C748E-CFCE-AC18-0839-C85A5B9FB7ED}"/>
          </ac:spMkLst>
        </pc:spChg>
        <pc:spChg chg="add mod">
          <ac:chgData name="Mattias Vermeire" userId="afe8c86d-d01e-472e-9838-e047f8f3f33b" providerId="ADAL" clId="{028736F4-493E-9E46-88E7-861CB7A07834}" dt="2024-02-14T16:00:25.070" v="1625" actId="1035"/>
          <ac:spMkLst>
            <pc:docMk/>
            <pc:sldMk cId="1722288439" sldId="2146849812"/>
            <ac:spMk id="44" creationId="{B6327D59-D9A9-7446-49B2-D8D214596700}"/>
          </ac:spMkLst>
        </pc:spChg>
        <pc:spChg chg="add mod">
          <ac:chgData name="Mattias Vermeire" userId="afe8c86d-d01e-472e-9838-e047f8f3f33b" providerId="ADAL" clId="{028736F4-493E-9E46-88E7-861CB7A07834}" dt="2024-02-14T16:00:25.070" v="1625" actId="1035"/>
          <ac:spMkLst>
            <pc:docMk/>
            <pc:sldMk cId="1722288439" sldId="2146849812"/>
            <ac:spMk id="46" creationId="{22880B60-2D11-8CC6-E9B3-7856DEFE0641}"/>
          </ac:spMkLst>
        </pc:spChg>
        <pc:spChg chg="add mod">
          <ac:chgData name="Mattias Vermeire" userId="afe8c86d-d01e-472e-9838-e047f8f3f33b" providerId="ADAL" clId="{028736F4-493E-9E46-88E7-861CB7A07834}" dt="2024-02-14T16:00:25.070" v="1625" actId="1035"/>
          <ac:spMkLst>
            <pc:docMk/>
            <pc:sldMk cId="1722288439" sldId="2146849812"/>
            <ac:spMk id="47" creationId="{C4A33D27-B1D2-0D10-8890-9C33E38DAD4C}"/>
          </ac:spMkLst>
        </pc:spChg>
        <pc:spChg chg="add mod">
          <ac:chgData name="Mattias Vermeire" userId="afe8c86d-d01e-472e-9838-e047f8f3f33b" providerId="ADAL" clId="{028736F4-493E-9E46-88E7-861CB7A07834}" dt="2024-02-14T16:00:25.070" v="1625" actId="1035"/>
          <ac:spMkLst>
            <pc:docMk/>
            <pc:sldMk cId="1722288439" sldId="2146849812"/>
            <ac:spMk id="49" creationId="{C3A84D2E-7129-18B3-59D2-CFC665630605}"/>
          </ac:spMkLst>
        </pc:spChg>
        <pc:spChg chg="add mod">
          <ac:chgData name="Mattias Vermeire" userId="afe8c86d-d01e-472e-9838-e047f8f3f33b" providerId="ADAL" clId="{028736F4-493E-9E46-88E7-861CB7A07834}" dt="2024-02-14T16:00:25.070" v="1625" actId="1035"/>
          <ac:spMkLst>
            <pc:docMk/>
            <pc:sldMk cId="1722288439" sldId="2146849812"/>
            <ac:spMk id="52" creationId="{BC23DB49-23F9-E9C4-AC65-1F57FC7E0C3A}"/>
          </ac:spMkLst>
        </pc:spChg>
        <pc:spChg chg="add mod">
          <ac:chgData name="Mattias Vermeire" userId="afe8c86d-d01e-472e-9838-e047f8f3f33b" providerId="ADAL" clId="{028736F4-493E-9E46-88E7-861CB7A07834}" dt="2024-02-14T16:07:07.695" v="2511" actId="1035"/>
          <ac:spMkLst>
            <pc:docMk/>
            <pc:sldMk cId="1722288439" sldId="2146849812"/>
            <ac:spMk id="54" creationId="{D2D76356-9041-F8D3-6563-77F6F36DE880}"/>
          </ac:spMkLst>
        </pc:spChg>
        <pc:spChg chg="add del mod">
          <ac:chgData name="Mattias Vermeire" userId="afe8c86d-d01e-472e-9838-e047f8f3f33b" providerId="ADAL" clId="{028736F4-493E-9E46-88E7-861CB7A07834}" dt="2024-02-14T13:57:04.353" v="278" actId="478"/>
          <ac:spMkLst>
            <pc:docMk/>
            <pc:sldMk cId="1722288439" sldId="2146849812"/>
            <ac:spMk id="60" creationId="{5284F33F-918E-1DC7-99BF-94F064589D89}"/>
          </ac:spMkLst>
        </pc:spChg>
        <pc:spChg chg="add del mod">
          <ac:chgData name="Mattias Vermeire" userId="afe8c86d-d01e-472e-9838-e047f8f3f33b" providerId="ADAL" clId="{028736F4-493E-9E46-88E7-861CB7A07834}" dt="2024-02-14T13:57:04.353" v="278" actId="478"/>
          <ac:spMkLst>
            <pc:docMk/>
            <pc:sldMk cId="1722288439" sldId="2146849812"/>
            <ac:spMk id="63" creationId="{5A3E5A64-B97E-F0DB-3A7D-F6265FDFFADF}"/>
          </ac:spMkLst>
        </pc:spChg>
        <pc:spChg chg="add mod">
          <ac:chgData name="Mattias Vermeire" userId="afe8c86d-d01e-472e-9838-e047f8f3f33b" providerId="ADAL" clId="{028736F4-493E-9E46-88E7-861CB7A07834}" dt="2024-02-14T16:00:25.070" v="1625" actId="1035"/>
          <ac:spMkLst>
            <pc:docMk/>
            <pc:sldMk cId="1722288439" sldId="2146849812"/>
            <ac:spMk id="64" creationId="{261DC368-5826-9673-AFB5-C9DD9101DA68}"/>
          </ac:spMkLst>
        </pc:spChg>
        <pc:spChg chg="add mod">
          <ac:chgData name="Mattias Vermeire" userId="afe8c86d-d01e-472e-9838-e047f8f3f33b" providerId="ADAL" clId="{028736F4-493E-9E46-88E7-861CB7A07834}" dt="2024-02-14T16:06:55.813" v="2506" actId="20577"/>
          <ac:spMkLst>
            <pc:docMk/>
            <pc:sldMk cId="1722288439" sldId="2146849812"/>
            <ac:spMk id="65" creationId="{0A509FB1-9178-93A2-E519-2A34541A2A34}"/>
          </ac:spMkLst>
        </pc:spChg>
        <pc:picChg chg="mod">
          <ac:chgData name="Mattias Vermeire" userId="afe8c86d-d01e-472e-9838-e047f8f3f33b" providerId="ADAL" clId="{028736F4-493E-9E46-88E7-861CB7A07834}" dt="2024-02-14T13:55:03.106" v="218" actId="14826"/>
          <ac:picMkLst>
            <pc:docMk/>
            <pc:sldMk cId="1722288439" sldId="2146849812"/>
            <ac:picMk id="2" creationId="{0CF354DD-73A0-2C04-C125-5B510E93A950}"/>
          </ac:picMkLst>
        </pc:picChg>
        <pc:picChg chg="del">
          <ac:chgData name="Mattias Vermeire" userId="afe8c86d-d01e-472e-9838-e047f8f3f33b" providerId="ADAL" clId="{028736F4-493E-9E46-88E7-861CB7A07834}" dt="2024-02-14T13:53:55.839" v="105" actId="478"/>
          <ac:picMkLst>
            <pc:docMk/>
            <pc:sldMk cId="1722288439" sldId="2146849812"/>
            <ac:picMk id="9" creationId="{9FDA4A47-3EEF-F011-54F3-50B4ED2E586E}"/>
          </ac:picMkLst>
        </pc:picChg>
        <pc:picChg chg="del">
          <ac:chgData name="Mattias Vermeire" userId="afe8c86d-d01e-472e-9838-e047f8f3f33b" providerId="ADAL" clId="{028736F4-493E-9E46-88E7-861CB7A07834}" dt="2024-02-14T13:53:55.839" v="105" actId="478"/>
          <ac:picMkLst>
            <pc:docMk/>
            <pc:sldMk cId="1722288439" sldId="2146849812"/>
            <ac:picMk id="15" creationId="{8FB2FE7E-A9ED-CCAC-C319-73760BC85E86}"/>
          </ac:picMkLst>
        </pc:picChg>
        <pc:picChg chg="add mod">
          <ac:chgData name="Mattias Vermeire" userId="afe8c86d-d01e-472e-9838-e047f8f3f33b" providerId="ADAL" clId="{028736F4-493E-9E46-88E7-861CB7A07834}" dt="2024-02-14T13:53:56.512" v="106"/>
          <ac:picMkLst>
            <pc:docMk/>
            <pc:sldMk cId="1722288439" sldId="2146849812"/>
            <ac:picMk id="21" creationId="{DED42115-162F-9ABB-C23E-E124B226A088}"/>
          </ac:picMkLst>
        </pc:picChg>
        <pc:picChg chg="add mod">
          <ac:chgData name="Mattias Vermeire" userId="afe8c86d-d01e-472e-9838-e047f8f3f33b" providerId="ADAL" clId="{028736F4-493E-9E46-88E7-861CB7A07834}" dt="2024-02-14T13:53:56.512" v="106"/>
          <ac:picMkLst>
            <pc:docMk/>
            <pc:sldMk cId="1722288439" sldId="2146849812"/>
            <ac:picMk id="24" creationId="{FA8B583B-8255-D41F-0281-63BB41E5FE71}"/>
          </ac:picMkLst>
        </pc:picChg>
        <pc:picChg chg="add mod">
          <ac:chgData name="Mattias Vermeire" userId="afe8c86d-d01e-472e-9838-e047f8f3f33b" providerId="ADAL" clId="{028736F4-493E-9E46-88E7-861CB7A07834}" dt="2024-02-14T13:53:56.512" v="106"/>
          <ac:picMkLst>
            <pc:docMk/>
            <pc:sldMk cId="1722288439" sldId="2146849812"/>
            <ac:picMk id="26" creationId="{E6967415-D90D-6C20-1241-FA6DDCB94CE9}"/>
          </ac:picMkLst>
        </pc:picChg>
        <pc:picChg chg="add mod">
          <ac:chgData name="Mattias Vermeire" userId="afe8c86d-d01e-472e-9838-e047f8f3f33b" providerId="ADAL" clId="{028736F4-493E-9E46-88E7-861CB7A07834}" dt="2024-02-14T13:53:56.512" v="106"/>
          <ac:picMkLst>
            <pc:docMk/>
            <pc:sldMk cId="1722288439" sldId="2146849812"/>
            <ac:picMk id="27" creationId="{95C35432-A26B-D32B-F66D-FB56A4AFC74B}"/>
          </ac:picMkLst>
        </pc:picChg>
        <pc:picChg chg="add mod">
          <ac:chgData name="Mattias Vermeire" userId="afe8c86d-d01e-472e-9838-e047f8f3f33b" providerId="ADAL" clId="{028736F4-493E-9E46-88E7-861CB7A07834}" dt="2024-02-14T13:53:56.512" v="106"/>
          <ac:picMkLst>
            <pc:docMk/>
            <pc:sldMk cId="1722288439" sldId="2146849812"/>
            <ac:picMk id="29" creationId="{BA8A0D7F-3FBA-50A6-6F7E-FA24DBCE1B62}"/>
          </ac:picMkLst>
        </pc:picChg>
        <pc:picChg chg="add mod">
          <ac:chgData name="Mattias Vermeire" userId="afe8c86d-d01e-472e-9838-e047f8f3f33b" providerId="ADAL" clId="{028736F4-493E-9E46-88E7-861CB7A07834}" dt="2024-02-14T13:53:56.512" v="106"/>
          <ac:picMkLst>
            <pc:docMk/>
            <pc:sldMk cId="1722288439" sldId="2146849812"/>
            <ac:picMk id="38" creationId="{3DC8B865-5FC6-AE70-83C1-587ED1676543}"/>
          </ac:picMkLst>
        </pc:picChg>
        <pc:picChg chg="add mod">
          <ac:chgData name="Mattias Vermeire" userId="afe8c86d-d01e-472e-9838-e047f8f3f33b" providerId="ADAL" clId="{028736F4-493E-9E46-88E7-861CB7A07834}" dt="2024-02-14T16:00:25.070" v="1625" actId="1035"/>
          <ac:picMkLst>
            <pc:docMk/>
            <pc:sldMk cId="1722288439" sldId="2146849812"/>
            <ac:picMk id="45" creationId="{A8729A0C-ABEB-7B25-F395-E62D39A6E5E1}"/>
          </ac:picMkLst>
        </pc:picChg>
        <pc:picChg chg="add mod">
          <ac:chgData name="Mattias Vermeire" userId="afe8c86d-d01e-472e-9838-e047f8f3f33b" providerId="ADAL" clId="{028736F4-493E-9E46-88E7-861CB7A07834}" dt="2024-02-14T16:00:25.070" v="1625" actId="1035"/>
          <ac:picMkLst>
            <pc:docMk/>
            <pc:sldMk cId="1722288439" sldId="2146849812"/>
            <ac:picMk id="48" creationId="{C1D0B24A-903C-4FCA-462C-C311FD4CD721}"/>
          </ac:picMkLst>
        </pc:picChg>
        <pc:picChg chg="add mod">
          <ac:chgData name="Mattias Vermeire" userId="afe8c86d-d01e-472e-9838-e047f8f3f33b" providerId="ADAL" clId="{028736F4-493E-9E46-88E7-861CB7A07834}" dt="2024-02-14T16:00:25.070" v="1625" actId="1035"/>
          <ac:picMkLst>
            <pc:docMk/>
            <pc:sldMk cId="1722288439" sldId="2146849812"/>
            <ac:picMk id="50" creationId="{1FB3B186-4039-3AE2-C16A-46A6567DA477}"/>
          </ac:picMkLst>
        </pc:picChg>
        <pc:picChg chg="add mod">
          <ac:chgData name="Mattias Vermeire" userId="afe8c86d-d01e-472e-9838-e047f8f3f33b" providerId="ADAL" clId="{028736F4-493E-9E46-88E7-861CB7A07834}" dt="2024-02-14T16:00:25.070" v="1625" actId="1035"/>
          <ac:picMkLst>
            <pc:docMk/>
            <pc:sldMk cId="1722288439" sldId="2146849812"/>
            <ac:picMk id="51" creationId="{6BE49593-952D-A631-C277-F2BE07F399E2}"/>
          </ac:picMkLst>
        </pc:picChg>
        <pc:picChg chg="add mod">
          <ac:chgData name="Mattias Vermeire" userId="afe8c86d-d01e-472e-9838-e047f8f3f33b" providerId="ADAL" clId="{028736F4-493E-9E46-88E7-861CB7A07834}" dt="2024-02-14T16:00:25.070" v="1625" actId="1035"/>
          <ac:picMkLst>
            <pc:docMk/>
            <pc:sldMk cId="1722288439" sldId="2146849812"/>
            <ac:picMk id="53" creationId="{DBA25A85-A8C0-D09D-5415-6D4F424825AB}"/>
          </ac:picMkLst>
        </pc:picChg>
        <pc:picChg chg="add del mod">
          <ac:chgData name="Mattias Vermeire" userId="afe8c86d-d01e-472e-9838-e047f8f3f33b" providerId="ADAL" clId="{028736F4-493E-9E46-88E7-861CB7A07834}" dt="2024-02-14T13:57:04.353" v="278" actId="478"/>
          <ac:picMkLst>
            <pc:docMk/>
            <pc:sldMk cId="1722288439" sldId="2146849812"/>
            <ac:picMk id="62" creationId="{ADC75186-DC89-8FA8-4EBA-741951250828}"/>
          </ac:picMkLst>
        </pc:picChg>
        <pc:picChg chg="add mod">
          <ac:chgData name="Mattias Vermeire" userId="afe8c86d-d01e-472e-9838-e047f8f3f33b" providerId="ADAL" clId="{028736F4-493E-9E46-88E7-861CB7A07834}" dt="2024-02-14T16:12:24.714" v="2626" actId="207"/>
          <ac:picMkLst>
            <pc:docMk/>
            <pc:sldMk cId="1722288439" sldId="2146849812"/>
            <ac:picMk id="66" creationId="{9182B57C-488C-F3B6-EAE8-3934D244E54F}"/>
          </ac:picMkLst>
        </pc:picChg>
        <pc:cxnChg chg="add mod">
          <ac:chgData name="Mattias Vermeire" userId="afe8c86d-d01e-472e-9838-e047f8f3f33b" providerId="ADAL" clId="{028736F4-493E-9E46-88E7-861CB7A07834}" dt="2024-02-14T13:53:56.512" v="106"/>
          <ac:cxnSpMkLst>
            <pc:docMk/>
            <pc:sldMk cId="1722288439" sldId="2146849812"/>
            <ac:cxnSpMk id="31" creationId="{0C5B3F4C-7F60-E069-FAED-0290082FD0B3}"/>
          </ac:cxnSpMkLst>
        </pc:cxnChg>
        <pc:cxnChg chg="add mod">
          <ac:chgData name="Mattias Vermeire" userId="afe8c86d-d01e-472e-9838-e047f8f3f33b" providerId="ADAL" clId="{028736F4-493E-9E46-88E7-861CB7A07834}" dt="2024-02-14T13:53:56.512" v="106"/>
          <ac:cxnSpMkLst>
            <pc:docMk/>
            <pc:sldMk cId="1722288439" sldId="2146849812"/>
            <ac:cxnSpMk id="32" creationId="{BD03A1AF-81BC-D1F4-6796-7BB5E797B584}"/>
          </ac:cxnSpMkLst>
        </pc:cxnChg>
        <pc:cxnChg chg="add mod">
          <ac:chgData name="Mattias Vermeire" userId="afe8c86d-d01e-472e-9838-e047f8f3f33b" providerId="ADAL" clId="{028736F4-493E-9E46-88E7-861CB7A07834}" dt="2024-02-14T13:53:56.512" v="106"/>
          <ac:cxnSpMkLst>
            <pc:docMk/>
            <pc:sldMk cId="1722288439" sldId="2146849812"/>
            <ac:cxnSpMk id="33" creationId="{053B0B40-5DE5-4003-A1D1-D5633E59BB25}"/>
          </ac:cxnSpMkLst>
        </pc:cxnChg>
        <pc:cxnChg chg="add mod">
          <ac:chgData name="Mattias Vermeire" userId="afe8c86d-d01e-472e-9838-e047f8f3f33b" providerId="ADAL" clId="{028736F4-493E-9E46-88E7-861CB7A07834}" dt="2024-02-14T13:53:56.512" v="106"/>
          <ac:cxnSpMkLst>
            <pc:docMk/>
            <pc:sldMk cId="1722288439" sldId="2146849812"/>
            <ac:cxnSpMk id="34" creationId="{05654A9E-1BAD-DD19-584F-AD73CDF6900D}"/>
          </ac:cxnSpMkLst>
        </pc:cxnChg>
        <pc:cxnChg chg="add mod">
          <ac:chgData name="Mattias Vermeire" userId="afe8c86d-d01e-472e-9838-e047f8f3f33b" providerId="ADAL" clId="{028736F4-493E-9E46-88E7-861CB7A07834}" dt="2024-02-14T13:53:56.512" v="106"/>
          <ac:cxnSpMkLst>
            <pc:docMk/>
            <pc:sldMk cId="1722288439" sldId="2146849812"/>
            <ac:cxnSpMk id="35" creationId="{3713D39D-AC26-787A-8611-B1D67085D8B2}"/>
          </ac:cxnSpMkLst>
        </pc:cxnChg>
        <pc:cxnChg chg="add mod">
          <ac:chgData name="Mattias Vermeire" userId="afe8c86d-d01e-472e-9838-e047f8f3f33b" providerId="ADAL" clId="{028736F4-493E-9E46-88E7-861CB7A07834}" dt="2024-02-14T13:53:56.512" v="106"/>
          <ac:cxnSpMkLst>
            <pc:docMk/>
            <pc:sldMk cId="1722288439" sldId="2146849812"/>
            <ac:cxnSpMk id="37" creationId="{64DF65F5-2558-3B9F-D4E0-C92561F7BF40}"/>
          </ac:cxnSpMkLst>
        </pc:cxnChg>
        <pc:cxnChg chg="add del mod">
          <ac:chgData name="Mattias Vermeire" userId="afe8c86d-d01e-472e-9838-e047f8f3f33b" providerId="ADAL" clId="{028736F4-493E-9E46-88E7-861CB7A07834}" dt="2024-02-14T13:56:48.846" v="271" actId="478"/>
          <ac:cxnSpMkLst>
            <pc:docMk/>
            <pc:sldMk cId="1722288439" sldId="2146849812"/>
            <ac:cxnSpMk id="55" creationId="{D784FBFB-ACF6-E8BC-68A0-99515FC1CAF8}"/>
          </ac:cxnSpMkLst>
        </pc:cxnChg>
        <pc:cxnChg chg="add del mod">
          <ac:chgData name="Mattias Vermeire" userId="afe8c86d-d01e-472e-9838-e047f8f3f33b" providerId="ADAL" clId="{028736F4-493E-9E46-88E7-861CB7A07834}" dt="2024-02-14T13:56:51.010" v="272" actId="478"/>
          <ac:cxnSpMkLst>
            <pc:docMk/>
            <pc:sldMk cId="1722288439" sldId="2146849812"/>
            <ac:cxnSpMk id="56" creationId="{179D96DB-FC84-0BCF-039A-283851BE68FD}"/>
          </ac:cxnSpMkLst>
        </pc:cxnChg>
        <pc:cxnChg chg="add del mod">
          <ac:chgData name="Mattias Vermeire" userId="afe8c86d-d01e-472e-9838-e047f8f3f33b" providerId="ADAL" clId="{028736F4-493E-9E46-88E7-861CB7A07834}" dt="2024-02-14T13:56:58.493" v="275" actId="478"/>
          <ac:cxnSpMkLst>
            <pc:docMk/>
            <pc:sldMk cId="1722288439" sldId="2146849812"/>
            <ac:cxnSpMk id="57" creationId="{D65396BF-A570-1EF0-A8C1-84ABE9456569}"/>
          </ac:cxnSpMkLst>
        </pc:cxnChg>
        <pc:cxnChg chg="add del mod">
          <ac:chgData name="Mattias Vermeire" userId="afe8c86d-d01e-472e-9838-e047f8f3f33b" providerId="ADAL" clId="{028736F4-493E-9E46-88E7-861CB7A07834}" dt="2024-02-14T13:56:59.774" v="276" actId="478"/>
          <ac:cxnSpMkLst>
            <pc:docMk/>
            <pc:sldMk cId="1722288439" sldId="2146849812"/>
            <ac:cxnSpMk id="58" creationId="{742A1EB3-06DF-40B5-5FC4-DAB389C34B30}"/>
          </ac:cxnSpMkLst>
        </pc:cxnChg>
        <pc:cxnChg chg="add del mod">
          <ac:chgData name="Mattias Vermeire" userId="afe8c86d-d01e-472e-9838-e047f8f3f33b" providerId="ADAL" clId="{028736F4-493E-9E46-88E7-861CB7A07834}" dt="2024-02-14T13:57:01.532" v="277" actId="478"/>
          <ac:cxnSpMkLst>
            <pc:docMk/>
            <pc:sldMk cId="1722288439" sldId="2146849812"/>
            <ac:cxnSpMk id="59" creationId="{64A78895-1D72-0227-6315-8560A9668163}"/>
          </ac:cxnSpMkLst>
        </pc:cxnChg>
        <pc:cxnChg chg="add del mod">
          <ac:chgData name="Mattias Vermeire" userId="afe8c86d-d01e-472e-9838-e047f8f3f33b" providerId="ADAL" clId="{028736F4-493E-9E46-88E7-861CB7A07834}" dt="2024-02-14T13:57:04.353" v="278" actId="478"/>
          <ac:cxnSpMkLst>
            <pc:docMk/>
            <pc:sldMk cId="1722288439" sldId="2146849812"/>
            <ac:cxnSpMk id="61" creationId="{46E61042-467C-41C9-9736-4FFE5BB3E2AC}"/>
          </ac:cxnSpMkLst>
        </pc:cxnChg>
      </pc:sldChg>
      <pc:sldChg chg="addSp delSp modSp add mod ord">
        <pc:chgData name="Mattias Vermeire" userId="afe8c86d-d01e-472e-9838-e047f8f3f33b" providerId="ADAL" clId="{028736F4-493E-9E46-88E7-861CB7A07834}" dt="2024-02-14T16:08:16.111" v="2533" actId="20577"/>
        <pc:sldMkLst>
          <pc:docMk/>
          <pc:sldMk cId="2228196799" sldId="2146849813"/>
        </pc:sldMkLst>
        <pc:spChg chg="mod">
          <ac:chgData name="Mattias Vermeire" userId="afe8c86d-d01e-472e-9838-e047f8f3f33b" providerId="ADAL" clId="{028736F4-493E-9E46-88E7-861CB7A07834}" dt="2024-02-14T13:55:20.252" v="246" actId="20577"/>
          <ac:spMkLst>
            <pc:docMk/>
            <pc:sldMk cId="2228196799" sldId="2146849813"/>
            <ac:spMk id="3" creationId="{78520003-BFA0-267B-DBA7-9F1FB82DCBAB}"/>
          </ac:spMkLst>
        </pc:spChg>
        <pc:spChg chg="mod">
          <ac:chgData name="Mattias Vermeire" userId="afe8c86d-d01e-472e-9838-e047f8f3f33b" providerId="ADAL" clId="{028736F4-493E-9E46-88E7-861CB7A07834}" dt="2024-02-14T16:08:16.111" v="2533" actId="20577"/>
          <ac:spMkLst>
            <pc:docMk/>
            <pc:sldMk cId="2228196799" sldId="2146849813"/>
            <ac:spMk id="4" creationId="{9F4D29FA-A355-8271-6889-AB49AFC6EB12}"/>
          </ac:spMkLst>
        </pc:spChg>
        <pc:spChg chg="add mod">
          <ac:chgData name="Mattias Vermeire" userId="afe8c86d-d01e-472e-9838-e047f8f3f33b" providerId="ADAL" clId="{028736F4-493E-9E46-88E7-861CB7A07834}" dt="2024-02-14T13:56:27.848" v="268" actId="1076"/>
          <ac:spMkLst>
            <pc:docMk/>
            <pc:sldMk cId="2228196799" sldId="2146849813"/>
            <ac:spMk id="5" creationId="{5F7A1A43-376D-567D-F18F-26E1BF945E39}"/>
          </ac:spMkLst>
        </pc:spChg>
        <pc:spChg chg="add del mod">
          <ac:chgData name="Mattias Vermeire" userId="afe8c86d-d01e-472e-9838-e047f8f3f33b" providerId="ADAL" clId="{028736F4-493E-9E46-88E7-861CB7A07834}" dt="2024-02-14T14:38:48.299" v="371" actId="478"/>
          <ac:spMkLst>
            <pc:docMk/>
            <pc:sldMk cId="2228196799" sldId="2146849813"/>
            <ac:spMk id="6" creationId="{6BB0416C-4200-CFBF-1312-37CC6B5684B3}"/>
          </ac:spMkLst>
        </pc:spChg>
        <pc:spChg chg="add del mod">
          <ac:chgData name="Mattias Vermeire" userId="afe8c86d-d01e-472e-9838-e047f8f3f33b" providerId="ADAL" clId="{028736F4-493E-9E46-88E7-861CB7A07834}" dt="2024-02-14T13:56:18.841" v="267" actId="478"/>
          <ac:spMkLst>
            <pc:docMk/>
            <pc:sldMk cId="2228196799" sldId="2146849813"/>
            <ac:spMk id="7" creationId="{067A35F8-5056-1A9A-CAA0-826EF43DCA8E}"/>
          </ac:spMkLst>
        </pc:spChg>
        <pc:spChg chg="add del mod">
          <ac:chgData name="Mattias Vermeire" userId="afe8c86d-d01e-472e-9838-e047f8f3f33b" providerId="ADAL" clId="{028736F4-493E-9E46-88E7-861CB7A07834}" dt="2024-02-14T14:38:46.551" v="370" actId="478"/>
          <ac:spMkLst>
            <pc:docMk/>
            <pc:sldMk cId="2228196799" sldId="2146849813"/>
            <ac:spMk id="9" creationId="{A4696EC6-CCF4-4188-9624-9D2EC3C3C776}"/>
          </ac:spMkLst>
        </pc:spChg>
        <pc:spChg chg="add mod">
          <ac:chgData name="Mattias Vermeire" userId="afe8c86d-d01e-472e-9838-e047f8f3f33b" providerId="ADAL" clId="{028736F4-493E-9E46-88E7-861CB7A07834}" dt="2024-02-14T13:56:27.848" v="268" actId="1076"/>
          <ac:spMkLst>
            <pc:docMk/>
            <pc:sldMk cId="2228196799" sldId="2146849813"/>
            <ac:spMk id="11" creationId="{D97888B9-3D2A-1487-4153-77B27F2F18D2}"/>
          </ac:spMkLst>
        </pc:spChg>
        <pc:spChg chg="add mod">
          <ac:chgData name="Mattias Vermeire" userId="afe8c86d-d01e-472e-9838-e047f8f3f33b" providerId="ADAL" clId="{028736F4-493E-9E46-88E7-861CB7A07834}" dt="2024-02-14T13:56:27.848" v="268" actId="1076"/>
          <ac:spMkLst>
            <pc:docMk/>
            <pc:sldMk cId="2228196799" sldId="2146849813"/>
            <ac:spMk id="13" creationId="{69FDF991-3600-B079-608A-95F59D45CE95}"/>
          </ac:spMkLst>
        </pc:spChg>
        <pc:spChg chg="add mod">
          <ac:chgData name="Mattias Vermeire" userId="afe8c86d-d01e-472e-9838-e047f8f3f33b" providerId="ADAL" clId="{028736F4-493E-9E46-88E7-861CB7A07834}" dt="2024-02-14T15:58:51.099" v="1545" actId="1035"/>
          <ac:spMkLst>
            <pc:docMk/>
            <pc:sldMk cId="2228196799" sldId="2146849813"/>
            <ac:spMk id="14" creationId="{B961DF25-0C81-5046-7A57-C63751D616C0}"/>
          </ac:spMkLst>
        </pc:spChg>
        <pc:spChg chg="add del mod">
          <ac:chgData name="Mattias Vermeire" userId="afe8c86d-d01e-472e-9838-e047f8f3f33b" providerId="ADAL" clId="{028736F4-493E-9E46-88E7-861CB7A07834}" dt="2024-02-14T13:57:11.535" v="279" actId="478"/>
          <ac:spMkLst>
            <pc:docMk/>
            <pc:sldMk cId="2228196799" sldId="2146849813"/>
            <ac:spMk id="15" creationId="{6D4108A8-B97C-99AE-49BE-F493FFE2BCC1}"/>
          </ac:spMkLst>
        </pc:spChg>
        <pc:spChg chg="del">
          <ac:chgData name="Mattias Vermeire" userId="afe8c86d-d01e-472e-9838-e047f8f3f33b" providerId="ADAL" clId="{028736F4-493E-9E46-88E7-861CB7A07834}" dt="2024-02-14T14:36:24.112" v="286" actId="478"/>
          <ac:spMkLst>
            <pc:docMk/>
            <pc:sldMk cId="2228196799" sldId="2146849813"/>
            <ac:spMk id="16" creationId="{7C1C94C2-71DA-08D4-9B12-E09621E93446}"/>
          </ac:spMkLst>
        </pc:spChg>
        <pc:spChg chg="add mod">
          <ac:chgData name="Mattias Vermeire" userId="afe8c86d-d01e-472e-9838-e047f8f3f33b" providerId="ADAL" clId="{028736F4-493E-9E46-88E7-861CB7A07834}" dt="2024-02-14T15:58:51.099" v="1545" actId="1035"/>
          <ac:spMkLst>
            <pc:docMk/>
            <pc:sldMk cId="2228196799" sldId="2146849813"/>
            <ac:spMk id="17" creationId="{CDE0CC4F-E488-BF06-03C2-EC423F39B472}"/>
          </ac:spMkLst>
        </pc:spChg>
        <pc:spChg chg="add del mod">
          <ac:chgData name="Mattias Vermeire" userId="afe8c86d-d01e-472e-9838-e047f8f3f33b" providerId="ADAL" clId="{028736F4-493E-9E46-88E7-861CB7A07834}" dt="2024-02-14T13:57:11.535" v="279" actId="478"/>
          <ac:spMkLst>
            <pc:docMk/>
            <pc:sldMk cId="2228196799" sldId="2146849813"/>
            <ac:spMk id="18" creationId="{52FBFB56-D5CB-D8D2-C070-3033519402A3}"/>
          </ac:spMkLst>
        </pc:spChg>
        <pc:spChg chg="add mod">
          <ac:chgData name="Mattias Vermeire" userId="afe8c86d-d01e-472e-9838-e047f8f3f33b" providerId="ADAL" clId="{028736F4-493E-9E46-88E7-861CB7A07834}" dt="2024-02-14T14:36:09.322" v="283" actId="478"/>
          <ac:spMkLst>
            <pc:docMk/>
            <pc:sldMk cId="2228196799" sldId="2146849813"/>
            <ac:spMk id="22" creationId="{9F0E7685-C721-637B-29B1-528B7491197C}"/>
          </ac:spMkLst>
        </pc:spChg>
        <pc:spChg chg="add del mod">
          <ac:chgData name="Mattias Vermeire" userId="afe8c86d-d01e-472e-9838-e047f8f3f33b" providerId="ADAL" clId="{028736F4-493E-9E46-88E7-861CB7A07834}" dt="2024-02-14T14:36:27.746" v="287" actId="478"/>
          <ac:spMkLst>
            <pc:docMk/>
            <pc:sldMk cId="2228196799" sldId="2146849813"/>
            <ac:spMk id="25" creationId="{C90A258A-5FE7-6D2B-1112-88B8D3FEFCCE}"/>
          </ac:spMkLst>
        </pc:spChg>
        <pc:spChg chg="add mod">
          <ac:chgData name="Mattias Vermeire" userId="afe8c86d-d01e-472e-9838-e047f8f3f33b" providerId="ADAL" clId="{028736F4-493E-9E46-88E7-861CB7A07834}" dt="2024-02-14T14:36:28.308" v="288"/>
          <ac:spMkLst>
            <pc:docMk/>
            <pc:sldMk cId="2228196799" sldId="2146849813"/>
            <ac:spMk id="26" creationId="{71FC600B-CF68-5187-BCDF-9E10C8FACD4C}"/>
          </ac:spMkLst>
        </pc:spChg>
        <pc:spChg chg="add mod">
          <ac:chgData name="Mattias Vermeire" userId="afe8c86d-d01e-472e-9838-e047f8f3f33b" providerId="ADAL" clId="{028736F4-493E-9E46-88E7-861CB7A07834}" dt="2024-02-14T15:59:00.463" v="1578" actId="1035"/>
          <ac:spMkLst>
            <pc:docMk/>
            <pc:sldMk cId="2228196799" sldId="2146849813"/>
            <ac:spMk id="27" creationId="{856A23D2-E82D-F21E-FD94-80DC75F5FCEE}"/>
          </ac:spMkLst>
        </pc:spChg>
        <pc:spChg chg="add mod">
          <ac:chgData name="Mattias Vermeire" userId="afe8c86d-d01e-472e-9838-e047f8f3f33b" providerId="ADAL" clId="{028736F4-493E-9E46-88E7-861CB7A07834}" dt="2024-02-14T15:58:56.148" v="1563" actId="1035"/>
          <ac:spMkLst>
            <pc:docMk/>
            <pc:sldMk cId="2228196799" sldId="2146849813"/>
            <ac:spMk id="28" creationId="{307B307A-7CD9-8AEE-6A12-A10300132215}"/>
          </ac:spMkLst>
        </pc:spChg>
        <pc:spChg chg="add mod">
          <ac:chgData name="Mattias Vermeire" userId="afe8c86d-d01e-472e-9838-e047f8f3f33b" providerId="ADAL" clId="{028736F4-493E-9E46-88E7-861CB7A07834}" dt="2024-02-14T14:39:26.468" v="483" actId="20577"/>
          <ac:spMkLst>
            <pc:docMk/>
            <pc:sldMk cId="2228196799" sldId="2146849813"/>
            <ac:spMk id="30" creationId="{69A10649-1DC1-74EC-B596-A97080CDD64E}"/>
          </ac:spMkLst>
        </pc:spChg>
        <pc:spChg chg="add mod">
          <ac:chgData name="Mattias Vermeire" userId="afe8c86d-d01e-472e-9838-e047f8f3f33b" providerId="ADAL" clId="{028736F4-493E-9E46-88E7-861CB7A07834}" dt="2024-02-14T14:38:52.933" v="375" actId="20577"/>
          <ac:spMkLst>
            <pc:docMk/>
            <pc:sldMk cId="2228196799" sldId="2146849813"/>
            <ac:spMk id="31" creationId="{01368F03-551A-7E93-6207-366C271F517D}"/>
          </ac:spMkLst>
        </pc:spChg>
        <pc:spChg chg="add mod">
          <ac:chgData name="Mattias Vermeire" userId="afe8c86d-d01e-472e-9838-e047f8f3f33b" providerId="ADAL" clId="{028736F4-493E-9E46-88E7-861CB7A07834}" dt="2024-02-14T15:01:31.407" v="1268" actId="20577"/>
          <ac:spMkLst>
            <pc:docMk/>
            <pc:sldMk cId="2228196799" sldId="2146849813"/>
            <ac:spMk id="33" creationId="{5026ADD0-68CA-A9E0-63F6-FD025D1C1261}"/>
          </ac:spMkLst>
        </pc:spChg>
        <pc:spChg chg="del">
          <ac:chgData name="Mattias Vermeire" userId="afe8c86d-d01e-472e-9838-e047f8f3f33b" providerId="ADAL" clId="{028736F4-493E-9E46-88E7-861CB7A07834}" dt="2024-02-14T13:56:04.005" v="262" actId="478"/>
          <ac:spMkLst>
            <pc:docMk/>
            <pc:sldMk cId="2228196799" sldId="2146849813"/>
            <ac:spMk id="40" creationId="{26688ED8-27BF-583C-820A-F01A44F6C4D4}"/>
          </ac:spMkLst>
        </pc:spChg>
        <pc:spChg chg="del">
          <ac:chgData name="Mattias Vermeire" userId="afe8c86d-d01e-472e-9838-e047f8f3f33b" providerId="ADAL" clId="{028736F4-493E-9E46-88E7-861CB7A07834}" dt="2024-02-14T13:56:04.005" v="262" actId="478"/>
          <ac:spMkLst>
            <pc:docMk/>
            <pc:sldMk cId="2228196799" sldId="2146849813"/>
            <ac:spMk id="41" creationId="{B6E4A41F-07E4-467C-401B-5D75345B38A5}"/>
          </ac:spMkLst>
        </pc:spChg>
        <pc:spChg chg="del">
          <ac:chgData name="Mattias Vermeire" userId="afe8c86d-d01e-472e-9838-e047f8f3f33b" providerId="ADAL" clId="{028736F4-493E-9E46-88E7-861CB7A07834}" dt="2024-02-14T13:56:04.005" v="262" actId="478"/>
          <ac:spMkLst>
            <pc:docMk/>
            <pc:sldMk cId="2228196799" sldId="2146849813"/>
            <ac:spMk id="42" creationId="{134BF36B-66AD-5B07-3451-D95FBEE0951D}"/>
          </ac:spMkLst>
        </pc:spChg>
        <pc:spChg chg="del">
          <ac:chgData name="Mattias Vermeire" userId="afe8c86d-d01e-472e-9838-e047f8f3f33b" providerId="ADAL" clId="{028736F4-493E-9E46-88E7-861CB7A07834}" dt="2024-02-14T13:56:04.005" v="262" actId="478"/>
          <ac:spMkLst>
            <pc:docMk/>
            <pc:sldMk cId="2228196799" sldId="2146849813"/>
            <ac:spMk id="43" creationId="{6FD572ED-CC24-2E71-8153-CE925A4A8C6C}"/>
          </ac:spMkLst>
        </pc:spChg>
        <pc:spChg chg="del">
          <ac:chgData name="Mattias Vermeire" userId="afe8c86d-d01e-472e-9838-e047f8f3f33b" providerId="ADAL" clId="{028736F4-493E-9E46-88E7-861CB7A07834}" dt="2024-02-14T13:56:40.517" v="269" actId="478"/>
          <ac:spMkLst>
            <pc:docMk/>
            <pc:sldMk cId="2228196799" sldId="2146849813"/>
            <ac:spMk id="46" creationId="{3B965681-10AC-7589-99EC-028336066A20}"/>
          </ac:spMkLst>
        </pc:spChg>
        <pc:spChg chg="del">
          <ac:chgData name="Mattias Vermeire" userId="afe8c86d-d01e-472e-9838-e047f8f3f33b" providerId="ADAL" clId="{028736F4-493E-9E46-88E7-861CB7A07834}" dt="2024-02-14T13:56:04.005" v="262" actId="478"/>
          <ac:spMkLst>
            <pc:docMk/>
            <pc:sldMk cId="2228196799" sldId="2146849813"/>
            <ac:spMk id="47" creationId="{B407FCF3-1579-9ED0-D921-CEAB6B8467BF}"/>
          </ac:spMkLst>
        </pc:spChg>
        <pc:spChg chg="del">
          <ac:chgData name="Mattias Vermeire" userId="afe8c86d-d01e-472e-9838-e047f8f3f33b" providerId="ADAL" clId="{028736F4-493E-9E46-88E7-861CB7A07834}" dt="2024-02-14T13:56:04.005" v="262" actId="478"/>
          <ac:spMkLst>
            <pc:docMk/>
            <pc:sldMk cId="2228196799" sldId="2146849813"/>
            <ac:spMk id="49" creationId="{28CF8A12-E5DF-A1DC-404A-EB0D9AE2E105}"/>
          </ac:spMkLst>
        </pc:spChg>
        <pc:spChg chg="del">
          <ac:chgData name="Mattias Vermeire" userId="afe8c86d-d01e-472e-9838-e047f8f3f33b" providerId="ADAL" clId="{028736F4-493E-9E46-88E7-861CB7A07834}" dt="2024-02-14T13:56:04.005" v="262" actId="478"/>
          <ac:spMkLst>
            <pc:docMk/>
            <pc:sldMk cId="2228196799" sldId="2146849813"/>
            <ac:spMk id="52" creationId="{3C4B3926-D01D-BAA2-EAB8-154E84EE9A1E}"/>
          </ac:spMkLst>
        </pc:spChg>
        <pc:spChg chg="del">
          <ac:chgData name="Mattias Vermeire" userId="afe8c86d-d01e-472e-9838-e047f8f3f33b" providerId="ADAL" clId="{028736F4-493E-9E46-88E7-861CB7A07834}" dt="2024-02-14T13:56:04.005" v="262" actId="478"/>
          <ac:spMkLst>
            <pc:docMk/>
            <pc:sldMk cId="2228196799" sldId="2146849813"/>
            <ac:spMk id="54" creationId="{2DB0F257-24DC-3771-36B0-703D478F309C}"/>
          </ac:spMkLst>
        </pc:spChg>
        <pc:spChg chg="del">
          <ac:chgData name="Mattias Vermeire" userId="afe8c86d-d01e-472e-9838-e047f8f3f33b" providerId="ADAL" clId="{028736F4-493E-9E46-88E7-861CB7A07834}" dt="2024-02-14T13:56:04.005" v="262" actId="478"/>
          <ac:spMkLst>
            <pc:docMk/>
            <pc:sldMk cId="2228196799" sldId="2146849813"/>
            <ac:spMk id="60" creationId="{3BD8B391-C226-682C-517B-FABD762EF394}"/>
          </ac:spMkLst>
        </pc:spChg>
        <pc:spChg chg="del">
          <ac:chgData name="Mattias Vermeire" userId="afe8c86d-d01e-472e-9838-e047f8f3f33b" providerId="ADAL" clId="{028736F4-493E-9E46-88E7-861CB7A07834}" dt="2024-02-14T13:56:04.005" v="262" actId="478"/>
          <ac:spMkLst>
            <pc:docMk/>
            <pc:sldMk cId="2228196799" sldId="2146849813"/>
            <ac:spMk id="63" creationId="{E0460E65-819F-4321-C394-4C836205A37E}"/>
          </ac:spMkLst>
        </pc:spChg>
        <pc:picChg chg="del">
          <ac:chgData name="Mattias Vermeire" userId="afe8c86d-d01e-472e-9838-e047f8f3f33b" providerId="ADAL" clId="{028736F4-493E-9E46-88E7-861CB7A07834}" dt="2024-02-14T14:36:09.322" v="283" actId="478"/>
          <ac:picMkLst>
            <pc:docMk/>
            <pc:sldMk cId="2228196799" sldId="2146849813"/>
            <ac:picMk id="2" creationId="{0AAABDE9-03DC-CB09-240D-8625DB5AB107}"/>
          </ac:picMkLst>
        </pc:picChg>
        <pc:picChg chg="mod">
          <ac:chgData name="Mattias Vermeire" userId="afe8c86d-d01e-472e-9838-e047f8f3f33b" providerId="ADAL" clId="{028736F4-493E-9E46-88E7-861CB7A07834}" dt="2024-02-14T15:58:51.099" v="1545" actId="1035"/>
          <ac:picMkLst>
            <pc:docMk/>
            <pc:sldMk cId="2228196799" sldId="2146849813"/>
            <ac:picMk id="2" creationId="{8114485A-21E9-426A-CEEE-CCD6FA3206D6}"/>
          </ac:picMkLst>
        </pc:picChg>
        <pc:picChg chg="add del mod">
          <ac:chgData name="Mattias Vermeire" userId="afe8c86d-d01e-472e-9838-e047f8f3f33b" providerId="ADAL" clId="{028736F4-493E-9E46-88E7-861CB7A07834}" dt="2024-02-14T13:56:16.367" v="266" actId="478"/>
          <ac:picMkLst>
            <pc:docMk/>
            <pc:sldMk cId="2228196799" sldId="2146849813"/>
            <ac:picMk id="8" creationId="{A14E5478-F530-7286-F0ED-5E6647189B83}"/>
          </ac:picMkLst>
        </pc:picChg>
        <pc:picChg chg="add del mod">
          <ac:chgData name="Mattias Vermeire" userId="afe8c86d-d01e-472e-9838-e047f8f3f33b" providerId="ADAL" clId="{028736F4-493E-9E46-88E7-861CB7A07834}" dt="2024-02-14T14:38:46.551" v="370" actId="478"/>
          <ac:picMkLst>
            <pc:docMk/>
            <pc:sldMk cId="2228196799" sldId="2146849813"/>
            <ac:picMk id="10" creationId="{38DFC82C-8C7D-5070-7D95-67E6731B5383}"/>
          </ac:picMkLst>
        </pc:picChg>
        <pc:picChg chg="add mod">
          <ac:chgData name="Mattias Vermeire" userId="afe8c86d-d01e-472e-9838-e047f8f3f33b" providerId="ADAL" clId="{028736F4-493E-9E46-88E7-861CB7A07834}" dt="2024-02-14T13:56:27.848" v="268" actId="1076"/>
          <ac:picMkLst>
            <pc:docMk/>
            <pc:sldMk cId="2228196799" sldId="2146849813"/>
            <ac:picMk id="12" creationId="{16528796-19D3-2C8A-4E7C-6198974859A8}"/>
          </ac:picMkLst>
        </pc:picChg>
        <pc:picChg chg="add del mod">
          <ac:chgData name="Mattias Vermeire" userId="afe8c86d-d01e-472e-9838-e047f8f3f33b" providerId="ADAL" clId="{028736F4-493E-9E46-88E7-861CB7A07834}" dt="2024-02-14T13:57:11.535" v="279" actId="478"/>
          <ac:picMkLst>
            <pc:docMk/>
            <pc:sldMk cId="2228196799" sldId="2146849813"/>
            <ac:picMk id="19" creationId="{25137C37-8F45-57B9-7AD3-F23F983A8C80}"/>
          </ac:picMkLst>
        </pc:picChg>
        <pc:picChg chg="add mod">
          <ac:chgData name="Mattias Vermeire" userId="afe8c86d-d01e-472e-9838-e047f8f3f33b" providerId="ADAL" clId="{028736F4-493E-9E46-88E7-861CB7A07834}" dt="2024-02-14T14:39:44.544" v="495" actId="1036"/>
          <ac:picMkLst>
            <pc:docMk/>
            <pc:sldMk cId="2228196799" sldId="2146849813"/>
            <ac:picMk id="20" creationId="{5F9B0DD4-85B2-6AAA-F288-F066F52549BC}"/>
          </ac:picMkLst>
        </pc:picChg>
        <pc:picChg chg="add mod">
          <ac:chgData name="Mattias Vermeire" userId="afe8c86d-d01e-472e-9838-e047f8f3f33b" providerId="ADAL" clId="{028736F4-493E-9E46-88E7-861CB7A07834}" dt="2024-02-14T14:36:12.673" v="285" actId="1076"/>
          <ac:picMkLst>
            <pc:docMk/>
            <pc:sldMk cId="2228196799" sldId="2146849813"/>
            <ac:picMk id="23" creationId="{CF00DFF4-8987-7F71-46BF-65FD72494477}"/>
          </ac:picMkLst>
        </pc:picChg>
        <pc:picChg chg="add mod">
          <ac:chgData name="Mattias Vermeire" userId="afe8c86d-d01e-472e-9838-e047f8f3f33b" providerId="ADAL" clId="{028736F4-493E-9E46-88E7-861CB7A07834}" dt="2024-02-14T15:58:56.148" v="1563" actId="1035"/>
          <ac:picMkLst>
            <pc:docMk/>
            <pc:sldMk cId="2228196799" sldId="2146849813"/>
            <ac:picMk id="29" creationId="{0456AFFC-5F71-2635-8E91-3261DDD1CCA1}"/>
          </ac:picMkLst>
        </pc:picChg>
        <pc:picChg chg="add mod">
          <ac:chgData name="Mattias Vermeire" userId="afe8c86d-d01e-472e-9838-e047f8f3f33b" providerId="ADAL" clId="{028736F4-493E-9E46-88E7-861CB7A07834}" dt="2024-02-14T14:38:38.830" v="368" actId="1076"/>
          <ac:picMkLst>
            <pc:docMk/>
            <pc:sldMk cId="2228196799" sldId="2146849813"/>
            <ac:picMk id="32" creationId="{F25017C5-A192-CB25-4A7D-5BC0C6433B0B}"/>
          </ac:picMkLst>
        </pc:picChg>
        <pc:picChg chg="del">
          <ac:chgData name="Mattias Vermeire" userId="afe8c86d-d01e-472e-9838-e047f8f3f33b" providerId="ADAL" clId="{028736F4-493E-9E46-88E7-861CB7A07834}" dt="2024-02-14T13:56:40.517" v="269" actId="478"/>
          <ac:picMkLst>
            <pc:docMk/>
            <pc:sldMk cId="2228196799" sldId="2146849813"/>
            <ac:picMk id="48" creationId="{F577126C-7DF9-0A7F-D896-538822DE4D50}"/>
          </ac:picMkLst>
        </pc:picChg>
        <pc:picChg chg="del">
          <ac:chgData name="Mattias Vermeire" userId="afe8c86d-d01e-472e-9838-e047f8f3f33b" providerId="ADAL" clId="{028736F4-493E-9E46-88E7-861CB7A07834}" dt="2024-02-14T13:56:04.005" v="262" actId="478"/>
          <ac:picMkLst>
            <pc:docMk/>
            <pc:sldMk cId="2228196799" sldId="2146849813"/>
            <ac:picMk id="50" creationId="{6560CA63-D72F-BE77-D6DF-BA093E4AAC8B}"/>
          </ac:picMkLst>
        </pc:picChg>
        <pc:picChg chg="del">
          <ac:chgData name="Mattias Vermeire" userId="afe8c86d-d01e-472e-9838-e047f8f3f33b" providerId="ADAL" clId="{028736F4-493E-9E46-88E7-861CB7A07834}" dt="2024-02-14T13:56:04.005" v="262" actId="478"/>
          <ac:picMkLst>
            <pc:docMk/>
            <pc:sldMk cId="2228196799" sldId="2146849813"/>
            <ac:picMk id="51" creationId="{34BC810D-495E-C7FD-5CE4-356E70E2394A}"/>
          </ac:picMkLst>
        </pc:picChg>
        <pc:picChg chg="del">
          <ac:chgData name="Mattias Vermeire" userId="afe8c86d-d01e-472e-9838-e047f8f3f33b" providerId="ADAL" clId="{028736F4-493E-9E46-88E7-861CB7A07834}" dt="2024-02-14T13:56:04.005" v="262" actId="478"/>
          <ac:picMkLst>
            <pc:docMk/>
            <pc:sldMk cId="2228196799" sldId="2146849813"/>
            <ac:picMk id="53" creationId="{0E2D4EC9-1F51-0948-6599-C54D7C0EB920}"/>
          </ac:picMkLst>
        </pc:picChg>
        <pc:picChg chg="del">
          <ac:chgData name="Mattias Vermeire" userId="afe8c86d-d01e-472e-9838-e047f8f3f33b" providerId="ADAL" clId="{028736F4-493E-9E46-88E7-861CB7A07834}" dt="2024-02-14T13:56:04.005" v="262" actId="478"/>
          <ac:picMkLst>
            <pc:docMk/>
            <pc:sldMk cId="2228196799" sldId="2146849813"/>
            <ac:picMk id="62" creationId="{AB56D9B2-7275-13FA-0B9E-7921768F50AB}"/>
          </ac:picMkLst>
        </pc:picChg>
        <pc:cxnChg chg="del">
          <ac:chgData name="Mattias Vermeire" userId="afe8c86d-d01e-472e-9838-e047f8f3f33b" providerId="ADAL" clId="{028736F4-493E-9E46-88E7-861CB7A07834}" dt="2024-02-14T14:36:38.739" v="289" actId="478"/>
          <ac:cxnSpMkLst>
            <pc:docMk/>
            <pc:sldMk cId="2228196799" sldId="2146849813"/>
            <ac:cxnSpMk id="55" creationId="{43F2341F-821D-F0CE-6B3A-2E1F0672F4CE}"/>
          </ac:cxnSpMkLst>
        </pc:cxnChg>
        <pc:cxnChg chg="del">
          <ac:chgData name="Mattias Vermeire" userId="afe8c86d-d01e-472e-9838-e047f8f3f33b" providerId="ADAL" clId="{028736F4-493E-9E46-88E7-861CB7A07834}" dt="2024-02-14T13:56:04.005" v="262" actId="478"/>
          <ac:cxnSpMkLst>
            <pc:docMk/>
            <pc:sldMk cId="2228196799" sldId="2146849813"/>
            <ac:cxnSpMk id="56" creationId="{54D4BC65-5A01-3E70-9A19-A7C535B2B64D}"/>
          </ac:cxnSpMkLst>
        </pc:cxnChg>
        <pc:cxnChg chg="del">
          <ac:chgData name="Mattias Vermeire" userId="afe8c86d-d01e-472e-9838-e047f8f3f33b" providerId="ADAL" clId="{028736F4-493E-9E46-88E7-861CB7A07834}" dt="2024-02-14T13:56:40.517" v="269" actId="478"/>
          <ac:cxnSpMkLst>
            <pc:docMk/>
            <pc:sldMk cId="2228196799" sldId="2146849813"/>
            <ac:cxnSpMk id="57" creationId="{362AA44D-0E63-9351-BF24-BA6EA6319E0B}"/>
          </ac:cxnSpMkLst>
        </pc:cxnChg>
        <pc:cxnChg chg="del">
          <ac:chgData name="Mattias Vermeire" userId="afe8c86d-d01e-472e-9838-e047f8f3f33b" providerId="ADAL" clId="{028736F4-493E-9E46-88E7-861CB7A07834}" dt="2024-02-14T13:56:04.005" v="262" actId="478"/>
          <ac:cxnSpMkLst>
            <pc:docMk/>
            <pc:sldMk cId="2228196799" sldId="2146849813"/>
            <ac:cxnSpMk id="58" creationId="{681B9474-B2FD-2AF8-9191-1FA4C61F1669}"/>
          </ac:cxnSpMkLst>
        </pc:cxnChg>
        <pc:cxnChg chg="del">
          <ac:chgData name="Mattias Vermeire" userId="afe8c86d-d01e-472e-9838-e047f8f3f33b" providerId="ADAL" clId="{028736F4-493E-9E46-88E7-861CB7A07834}" dt="2024-02-14T13:56:04.005" v="262" actId="478"/>
          <ac:cxnSpMkLst>
            <pc:docMk/>
            <pc:sldMk cId="2228196799" sldId="2146849813"/>
            <ac:cxnSpMk id="59" creationId="{23937A03-FE70-EE41-3A1E-0E93DEB9456A}"/>
          </ac:cxnSpMkLst>
        </pc:cxnChg>
        <pc:cxnChg chg="del">
          <ac:chgData name="Mattias Vermeire" userId="afe8c86d-d01e-472e-9838-e047f8f3f33b" providerId="ADAL" clId="{028736F4-493E-9E46-88E7-861CB7A07834}" dt="2024-02-14T13:56:04.005" v="262" actId="478"/>
          <ac:cxnSpMkLst>
            <pc:docMk/>
            <pc:sldMk cId="2228196799" sldId="2146849813"/>
            <ac:cxnSpMk id="61" creationId="{B67E2B61-C7B0-9742-095D-7582D60008E1}"/>
          </ac:cxnSpMkLst>
        </pc:cxnChg>
      </pc:sldChg>
      <pc:sldChg chg="addSp delSp modSp add del mod">
        <pc:chgData name="Mattias Vermeire" userId="afe8c86d-d01e-472e-9838-e047f8f3f33b" providerId="ADAL" clId="{028736F4-493E-9E46-88E7-861CB7A07834}" dt="2024-02-14T14:39:49.242" v="496" actId="2696"/>
        <pc:sldMkLst>
          <pc:docMk/>
          <pc:sldMk cId="1490929424" sldId="2146849814"/>
        </pc:sldMkLst>
        <pc:spChg chg="mod">
          <ac:chgData name="Mattias Vermeire" userId="afe8c86d-d01e-472e-9838-e047f8f3f33b" providerId="ADAL" clId="{028736F4-493E-9E46-88E7-861CB7A07834}" dt="2024-02-14T14:37:06.041" v="305" actId="20577"/>
          <ac:spMkLst>
            <pc:docMk/>
            <pc:sldMk cId="1490929424" sldId="2146849814"/>
            <ac:spMk id="3" creationId="{CB5CEF40-BF31-9F00-CCBA-36B9B964D5DA}"/>
          </ac:spMkLst>
        </pc:spChg>
        <pc:spChg chg="mod">
          <ac:chgData name="Mattias Vermeire" userId="afe8c86d-d01e-472e-9838-e047f8f3f33b" providerId="ADAL" clId="{028736F4-493E-9E46-88E7-861CB7A07834}" dt="2024-02-14T14:37:31.012" v="327" actId="20577"/>
          <ac:spMkLst>
            <pc:docMk/>
            <pc:sldMk cId="1490929424" sldId="2146849814"/>
            <ac:spMk id="4" creationId="{B7E59D0C-CB1F-AE46-A399-16015756B661}"/>
          </ac:spMkLst>
        </pc:spChg>
        <pc:spChg chg="del">
          <ac:chgData name="Mattias Vermeire" userId="afe8c86d-d01e-472e-9838-e047f8f3f33b" providerId="ADAL" clId="{028736F4-493E-9E46-88E7-861CB7A07834}" dt="2024-02-14T14:37:44.179" v="328" actId="478"/>
          <ac:spMkLst>
            <pc:docMk/>
            <pc:sldMk cId="1490929424" sldId="2146849814"/>
            <ac:spMk id="5" creationId="{B3F01B77-9877-3889-37B4-DB2CC30D51E8}"/>
          </ac:spMkLst>
        </pc:spChg>
        <pc:spChg chg="del">
          <ac:chgData name="Mattias Vermeire" userId="afe8c86d-d01e-472e-9838-e047f8f3f33b" providerId="ADAL" clId="{028736F4-493E-9E46-88E7-861CB7A07834}" dt="2024-02-14T14:37:46.629" v="329" actId="478"/>
          <ac:spMkLst>
            <pc:docMk/>
            <pc:sldMk cId="1490929424" sldId="2146849814"/>
            <ac:spMk id="6" creationId="{206D2048-9489-212A-68A9-BED16F4C2B41}"/>
          </ac:spMkLst>
        </pc:spChg>
        <pc:spChg chg="add del mod">
          <ac:chgData name="Mattias Vermeire" userId="afe8c86d-d01e-472e-9838-e047f8f3f33b" providerId="ADAL" clId="{028736F4-493E-9E46-88E7-861CB7A07834}" dt="2024-02-14T14:37:15.448" v="308" actId="478"/>
          <ac:spMkLst>
            <pc:docMk/>
            <pc:sldMk cId="1490929424" sldId="2146849814"/>
            <ac:spMk id="7" creationId="{CD435E4E-ACCE-915F-C8AC-05D54B2812DF}"/>
          </ac:spMkLst>
        </pc:spChg>
        <pc:spChg chg="add mod">
          <ac:chgData name="Mattias Vermeire" userId="afe8c86d-d01e-472e-9838-e047f8f3f33b" providerId="ADAL" clId="{028736F4-493E-9E46-88E7-861CB7A07834}" dt="2024-02-14T14:37:49.446" v="331" actId="1076"/>
          <ac:spMkLst>
            <pc:docMk/>
            <pc:sldMk cId="1490929424" sldId="2146849814"/>
            <ac:spMk id="8" creationId="{DEECC78E-144A-95B0-19B9-0C0248B275C0}"/>
          </ac:spMkLst>
        </pc:spChg>
        <pc:spChg chg="del">
          <ac:chgData name="Mattias Vermeire" userId="afe8c86d-d01e-472e-9838-e047f8f3f33b" providerId="ADAL" clId="{028736F4-493E-9E46-88E7-861CB7A07834}" dt="2024-02-14T14:37:44.179" v="328" actId="478"/>
          <ac:spMkLst>
            <pc:docMk/>
            <pc:sldMk cId="1490929424" sldId="2146849814"/>
            <ac:spMk id="9" creationId="{BE1D3E3B-F57C-F50C-68E3-D64982322423}"/>
          </ac:spMkLst>
        </pc:spChg>
        <pc:spChg chg="del">
          <ac:chgData name="Mattias Vermeire" userId="afe8c86d-d01e-472e-9838-e047f8f3f33b" providerId="ADAL" clId="{028736F4-493E-9E46-88E7-861CB7A07834}" dt="2024-02-14T14:37:44.179" v="328" actId="478"/>
          <ac:spMkLst>
            <pc:docMk/>
            <pc:sldMk cId="1490929424" sldId="2146849814"/>
            <ac:spMk id="11" creationId="{016DD8B4-E80F-A4F9-904C-276FFD0DDA4D}"/>
          </ac:spMkLst>
        </pc:spChg>
        <pc:spChg chg="del">
          <ac:chgData name="Mattias Vermeire" userId="afe8c86d-d01e-472e-9838-e047f8f3f33b" providerId="ADAL" clId="{028736F4-493E-9E46-88E7-861CB7A07834}" dt="2024-02-14T14:37:44.179" v="328" actId="478"/>
          <ac:spMkLst>
            <pc:docMk/>
            <pc:sldMk cId="1490929424" sldId="2146849814"/>
            <ac:spMk id="13" creationId="{DFB0CDFD-60BF-1AC5-59A8-719EA2A89AFC}"/>
          </ac:spMkLst>
        </pc:spChg>
        <pc:spChg chg="del">
          <ac:chgData name="Mattias Vermeire" userId="afe8c86d-d01e-472e-9838-e047f8f3f33b" providerId="ADAL" clId="{028736F4-493E-9E46-88E7-861CB7A07834}" dt="2024-02-14T14:37:44.179" v="328" actId="478"/>
          <ac:spMkLst>
            <pc:docMk/>
            <pc:sldMk cId="1490929424" sldId="2146849814"/>
            <ac:spMk id="14" creationId="{87E35D3D-2E0A-72E3-B376-100E1998CD75}"/>
          </ac:spMkLst>
        </pc:spChg>
        <pc:spChg chg="add mod">
          <ac:chgData name="Mattias Vermeire" userId="afe8c86d-d01e-472e-9838-e047f8f3f33b" providerId="ADAL" clId="{028736F4-493E-9E46-88E7-861CB7A07834}" dt="2024-02-14T14:37:47.051" v="330"/>
          <ac:spMkLst>
            <pc:docMk/>
            <pc:sldMk cId="1490929424" sldId="2146849814"/>
            <ac:spMk id="16" creationId="{52692C75-2537-F3F7-36E5-8A1D1C9A4DCF}"/>
          </ac:spMkLst>
        </pc:spChg>
        <pc:spChg chg="del">
          <ac:chgData name="Mattias Vermeire" userId="afe8c86d-d01e-472e-9838-e047f8f3f33b" providerId="ADAL" clId="{028736F4-493E-9E46-88E7-861CB7A07834}" dt="2024-02-14T14:37:44.179" v="328" actId="478"/>
          <ac:spMkLst>
            <pc:docMk/>
            <pc:sldMk cId="1490929424" sldId="2146849814"/>
            <ac:spMk id="17" creationId="{2B706A1A-4326-463E-D8A7-B408BC689DB1}"/>
          </ac:spMkLst>
        </pc:spChg>
        <pc:spChg chg="add mod">
          <ac:chgData name="Mattias Vermeire" userId="afe8c86d-d01e-472e-9838-e047f8f3f33b" providerId="ADAL" clId="{028736F4-493E-9E46-88E7-861CB7A07834}" dt="2024-02-14T14:37:47.051" v="330"/>
          <ac:spMkLst>
            <pc:docMk/>
            <pc:sldMk cId="1490929424" sldId="2146849814"/>
            <ac:spMk id="18" creationId="{0130A138-E9D6-6358-A15F-4B1113541C27}"/>
          </ac:spMkLst>
        </pc:spChg>
        <pc:spChg chg="add mod">
          <ac:chgData name="Mattias Vermeire" userId="afe8c86d-d01e-472e-9838-e047f8f3f33b" providerId="ADAL" clId="{028736F4-493E-9E46-88E7-861CB7A07834}" dt="2024-02-14T14:37:47.051" v="330"/>
          <ac:spMkLst>
            <pc:docMk/>
            <pc:sldMk cId="1490929424" sldId="2146849814"/>
            <ac:spMk id="19" creationId="{D6C13783-F645-4353-4578-EC09166509D0}"/>
          </ac:spMkLst>
        </pc:spChg>
        <pc:spChg chg="add mod">
          <ac:chgData name="Mattias Vermeire" userId="afe8c86d-d01e-472e-9838-e047f8f3f33b" providerId="ADAL" clId="{028736F4-493E-9E46-88E7-861CB7A07834}" dt="2024-02-14T14:37:47.051" v="330"/>
          <ac:spMkLst>
            <pc:docMk/>
            <pc:sldMk cId="1490929424" sldId="2146849814"/>
            <ac:spMk id="21" creationId="{95EDDEC9-C964-4832-DD6B-17FEB6300FB6}"/>
          </ac:spMkLst>
        </pc:spChg>
        <pc:spChg chg="add mod">
          <ac:chgData name="Mattias Vermeire" userId="afe8c86d-d01e-472e-9838-e047f8f3f33b" providerId="ADAL" clId="{028736F4-493E-9E46-88E7-861CB7A07834}" dt="2024-02-14T14:37:47.051" v="330"/>
          <ac:spMkLst>
            <pc:docMk/>
            <pc:sldMk cId="1490929424" sldId="2146849814"/>
            <ac:spMk id="24" creationId="{B5DB0F8D-FA1B-AA87-958F-C7F416205119}"/>
          </ac:spMkLst>
        </pc:spChg>
        <pc:spChg chg="add mod">
          <ac:chgData name="Mattias Vermeire" userId="afe8c86d-d01e-472e-9838-e047f8f3f33b" providerId="ADAL" clId="{028736F4-493E-9E46-88E7-861CB7A07834}" dt="2024-02-14T14:37:47.051" v="330"/>
          <ac:spMkLst>
            <pc:docMk/>
            <pc:sldMk cId="1490929424" sldId="2146849814"/>
            <ac:spMk id="25" creationId="{3470E939-7DAC-B5B0-CDB5-487E56F3A1B4}"/>
          </ac:spMkLst>
        </pc:spChg>
        <pc:spChg chg="del">
          <ac:chgData name="Mattias Vermeire" userId="afe8c86d-d01e-472e-9838-e047f8f3f33b" providerId="ADAL" clId="{028736F4-493E-9E46-88E7-861CB7A07834}" dt="2024-02-14T14:37:14.120" v="307" actId="478"/>
          <ac:spMkLst>
            <pc:docMk/>
            <pc:sldMk cId="1490929424" sldId="2146849814"/>
            <ac:spMk id="26" creationId="{74E24647-30EF-BE07-B5C0-C06F2D51CC3B}"/>
          </ac:spMkLst>
        </pc:spChg>
        <pc:spChg chg="add mod">
          <ac:chgData name="Mattias Vermeire" userId="afe8c86d-d01e-472e-9838-e047f8f3f33b" providerId="ADAL" clId="{028736F4-493E-9E46-88E7-861CB7A07834}" dt="2024-02-14T14:37:47.051" v="330"/>
          <ac:spMkLst>
            <pc:docMk/>
            <pc:sldMk cId="1490929424" sldId="2146849814"/>
            <ac:spMk id="27" creationId="{FA814A01-C21A-2C77-8EB2-CECBBE8C3BE1}"/>
          </ac:spMkLst>
        </pc:spChg>
        <pc:spChg chg="add mod">
          <ac:chgData name="Mattias Vermeire" userId="afe8c86d-d01e-472e-9838-e047f8f3f33b" providerId="ADAL" clId="{028736F4-493E-9E46-88E7-861CB7A07834}" dt="2024-02-14T14:37:47.051" v="330"/>
          <ac:spMkLst>
            <pc:docMk/>
            <pc:sldMk cId="1490929424" sldId="2146849814"/>
            <ac:spMk id="30" creationId="{9B4F361A-0BF7-243B-F170-1D9AD79278E7}"/>
          </ac:spMkLst>
        </pc:spChg>
        <pc:spChg chg="add mod">
          <ac:chgData name="Mattias Vermeire" userId="afe8c86d-d01e-472e-9838-e047f8f3f33b" providerId="ADAL" clId="{028736F4-493E-9E46-88E7-861CB7A07834}" dt="2024-02-14T14:37:47.051" v="330"/>
          <ac:spMkLst>
            <pc:docMk/>
            <pc:sldMk cId="1490929424" sldId="2146849814"/>
            <ac:spMk id="31" creationId="{45E0085A-6504-0AA7-FE01-512A324B0BF4}"/>
          </ac:spMkLst>
        </pc:spChg>
        <pc:spChg chg="add mod">
          <ac:chgData name="Mattias Vermeire" userId="afe8c86d-d01e-472e-9838-e047f8f3f33b" providerId="ADAL" clId="{028736F4-493E-9E46-88E7-861CB7A07834}" dt="2024-02-14T14:38:11.702" v="363" actId="20577"/>
          <ac:spMkLst>
            <pc:docMk/>
            <pc:sldMk cId="1490929424" sldId="2146849814"/>
            <ac:spMk id="33" creationId="{5ED3B135-CD8B-EAB7-8E58-C8BCCE187642}"/>
          </ac:spMkLst>
        </pc:spChg>
        <pc:spChg chg="del">
          <ac:chgData name="Mattias Vermeire" userId="afe8c86d-d01e-472e-9838-e047f8f3f33b" providerId="ADAL" clId="{028736F4-493E-9E46-88E7-861CB7A07834}" dt="2024-02-14T14:37:44.179" v="328" actId="478"/>
          <ac:spMkLst>
            <pc:docMk/>
            <pc:sldMk cId="1490929424" sldId="2146849814"/>
            <ac:spMk id="44" creationId="{673F72E6-DBA6-1367-F65C-6267A6C768A6}"/>
          </ac:spMkLst>
        </pc:spChg>
        <pc:picChg chg="del">
          <ac:chgData name="Mattias Vermeire" userId="afe8c86d-d01e-472e-9838-e047f8f3f33b" providerId="ADAL" clId="{028736F4-493E-9E46-88E7-861CB7A07834}" dt="2024-02-14T14:37:44.179" v="328" actId="478"/>
          <ac:picMkLst>
            <pc:docMk/>
            <pc:sldMk cId="1490929424" sldId="2146849814"/>
            <ac:picMk id="10" creationId="{45ED25E7-1FF2-0D5B-0C52-BDA5D6B0BDFA}"/>
          </ac:picMkLst>
        </pc:picChg>
        <pc:picChg chg="del">
          <ac:chgData name="Mattias Vermeire" userId="afe8c86d-d01e-472e-9838-e047f8f3f33b" providerId="ADAL" clId="{028736F4-493E-9E46-88E7-861CB7A07834}" dt="2024-02-14T14:37:44.179" v="328" actId="478"/>
          <ac:picMkLst>
            <pc:docMk/>
            <pc:sldMk cId="1490929424" sldId="2146849814"/>
            <ac:picMk id="12" creationId="{8BBDE1B3-1BA3-4C69-CB02-A0EBF613C96E}"/>
          </ac:picMkLst>
        </pc:picChg>
        <pc:picChg chg="add mod">
          <ac:chgData name="Mattias Vermeire" userId="afe8c86d-d01e-472e-9838-e047f8f3f33b" providerId="ADAL" clId="{028736F4-493E-9E46-88E7-861CB7A07834}" dt="2024-02-14T14:37:22.564" v="310" actId="1076"/>
          <ac:picMkLst>
            <pc:docMk/>
            <pc:sldMk cId="1490929424" sldId="2146849814"/>
            <ac:picMk id="15" creationId="{847CB1A3-C488-358B-5545-300FF928B830}"/>
          </ac:picMkLst>
        </pc:picChg>
        <pc:picChg chg="del">
          <ac:chgData name="Mattias Vermeire" userId="afe8c86d-d01e-472e-9838-e047f8f3f33b" providerId="ADAL" clId="{028736F4-493E-9E46-88E7-861CB7A07834}" dt="2024-02-14T14:37:44.179" v="328" actId="478"/>
          <ac:picMkLst>
            <pc:docMk/>
            <pc:sldMk cId="1490929424" sldId="2146849814"/>
            <ac:picMk id="20" creationId="{21BB0EC8-B3F6-0B58-FA10-403429A422DF}"/>
          </ac:picMkLst>
        </pc:picChg>
        <pc:picChg chg="del">
          <ac:chgData name="Mattias Vermeire" userId="afe8c86d-d01e-472e-9838-e047f8f3f33b" providerId="ADAL" clId="{028736F4-493E-9E46-88E7-861CB7A07834}" dt="2024-02-14T14:37:12.165" v="306" actId="478"/>
          <ac:picMkLst>
            <pc:docMk/>
            <pc:sldMk cId="1490929424" sldId="2146849814"/>
            <ac:picMk id="23" creationId="{883671ED-5EB8-04BC-705D-41C7AD59D59C}"/>
          </ac:picMkLst>
        </pc:picChg>
        <pc:picChg chg="add mod">
          <ac:chgData name="Mattias Vermeire" userId="afe8c86d-d01e-472e-9838-e047f8f3f33b" providerId="ADAL" clId="{028736F4-493E-9E46-88E7-861CB7A07834}" dt="2024-02-14T14:37:47.051" v="330"/>
          <ac:picMkLst>
            <pc:docMk/>
            <pc:sldMk cId="1490929424" sldId="2146849814"/>
            <ac:picMk id="28" creationId="{076E77C6-9BD8-AF6A-AEF9-DE1ECF9FF199}"/>
          </ac:picMkLst>
        </pc:picChg>
        <pc:picChg chg="add mod">
          <ac:chgData name="Mattias Vermeire" userId="afe8c86d-d01e-472e-9838-e047f8f3f33b" providerId="ADAL" clId="{028736F4-493E-9E46-88E7-861CB7A07834}" dt="2024-02-14T14:37:47.051" v="330"/>
          <ac:picMkLst>
            <pc:docMk/>
            <pc:sldMk cId="1490929424" sldId="2146849814"/>
            <ac:picMk id="29" creationId="{131D9AB4-0BF5-315B-6BD7-7F57576C1799}"/>
          </ac:picMkLst>
        </pc:picChg>
        <pc:picChg chg="add mod">
          <ac:chgData name="Mattias Vermeire" userId="afe8c86d-d01e-472e-9838-e047f8f3f33b" providerId="ADAL" clId="{028736F4-493E-9E46-88E7-861CB7A07834}" dt="2024-02-14T14:37:47.051" v="330"/>
          <ac:picMkLst>
            <pc:docMk/>
            <pc:sldMk cId="1490929424" sldId="2146849814"/>
            <ac:picMk id="32" creationId="{4D01BFD1-60F6-353B-0CF7-90BC61AE0120}"/>
          </ac:picMkLst>
        </pc:picChg>
        <pc:picChg chg="add mod">
          <ac:chgData name="Mattias Vermeire" userId="afe8c86d-d01e-472e-9838-e047f8f3f33b" providerId="ADAL" clId="{028736F4-493E-9E46-88E7-861CB7A07834}" dt="2024-02-14T14:37:47.051" v="330"/>
          <ac:picMkLst>
            <pc:docMk/>
            <pc:sldMk cId="1490929424" sldId="2146849814"/>
            <ac:picMk id="34" creationId="{539D536B-54A5-9D77-EC0D-75F04EF2BAD9}"/>
          </ac:picMkLst>
        </pc:picChg>
        <pc:picChg chg="add mod">
          <ac:chgData name="Mattias Vermeire" userId="afe8c86d-d01e-472e-9838-e047f8f3f33b" providerId="ADAL" clId="{028736F4-493E-9E46-88E7-861CB7A07834}" dt="2024-02-14T14:37:47.051" v="330"/>
          <ac:picMkLst>
            <pc:docMk/>
            <pc:sldMk cId="1490929424" sldId="2146849814"/>
            <ac:picMk id="35" creationId="{09D16ABA-1C43-3241-30BE-B48918D5DECC}"/>
          </ac:picMkLst>
        </pc:picChg>
        <pc:picChg chg="del">
          <ac:chgData name="Mattias Vermeire" userId="afe8c86d-d01e-472e-9838-e047f8f3f33b" providerId="ADAL" clId="{028736F4-493E-9E46-88E7-861CB7A07834}" dt="2024-02-14T14:37:44.179" v="328" actId="478"/>
          <ac:picMkLst>
            <pc:docMk/>
            <pc:sldMk cId="1490929424" sldId="2146849814"/>
            <ac:picMk id="45" creationId="{8897A8E2-9C7C-4DF2-6009-4F8335599D70}"/>
          </ac:picMkLst>
        </pc:picChg>
      </pc:sldChg>
      <pc:sldChg chg="addSp delSp modSp add mod">
        <pc:chgData name="Mattias Vermeire" userId="afe8c86d-d01e-472e-9838-e047f8f3f33b" providerId="ADAL" clId="{028736F4-493E-9E46-88E7-861CB7A07834}" dt="2024-02-14T16:12:29.544" v="2628"/>
        <pc:sldMkLst>
          <pc:docMk/>
          <pc:sldMk cId="3806750613" sldId="2146849814"/>
        </pc:sldMkLst>
        <pc:spChg chg="add mod">
          <ac:chgData name="Mattias Vermeire" userId="afe8c86d-d01e-472e-9838-e047f8f3f33b" providerId="ADAL" clId="{028736F4-493E-9E46-88E7-861CB7A07834}" dt="2024-02-14T15:01:12.986" v="1260" actId="20577"/>
          <ac:spMkLst>
            <pc:docMk/>
            <pc:sldMk cId="3806750613" sldId="2146849814"/>
            <ac:spMk id="2" creationId="{F5F8B51D-14B3-E69B-798B-77077E5D74CA}"/>
          </ac:spMkLst>
        </pc:spChg>
        <pc:spChg chg="mod">
          <ac:chgData name="Mattias Vermeire" userId="afe8c86d-d01e-472e-9838-e047f8f3f33b" providerId="ADAL" clId="{028736F4-493E-9E46-88E7-861CB7A07834}" dt="2024-02-14T15:01:00.481" v="1238" actId="20577"/>
          <ac:spMkLst>
            <pc:docMk/>
            <pc:sldMk cId="3806750613" sldId="2146849814"/>
            <ac:spMk id="3" creationId="{86316F5A-E29F-2506-5227-789233425A0D}"/>
          </ac:spMkLst>
        </pc:spChg>
        <pc:spChg chg="mod">
          <ac:chgData name="Mattias Vermeire" userId="afe8c86d-d01e-472e-9838-e047f8f3f33b" providerId="ADAL" clId="{028736F4-493E-9E46-88E7-861CB7A07834}" dt="2024-02-14T15:01:06.495" v="1249" actId="20577"/>
          <ac:spMkLst>
            <pc:docMk/>
            <pc:sldMk cId="3806750613" sldId="2146849814"/>
            <ac:spMk id="4" creationId="{83D2E820-0A01-DB11-80FC-269609285745}"/>
          </ac:spMkLst>
        </pc:spChg>
        <pc:picChg chg="add mod">
          <ac:chgData name="Mattias Vermeire" userId="afe8c86d-d01e-472e-9838-e047f8f3f33b" providerId="ADAL" clId="{028736F4-493E-9E46-88E7-861CB7A07834}" dt="2024-02-14T16:12:29.544" v="2628"/>
          <ac:picMkLst>
            <pc:docMk/>
            <pc:sldMk cId="3806750613" sldId="2146849814"/>
            <ac:picMk id="6" creationId="{1981E4F4-7903-8BF5-46B6-B9EE1F425B33}"/>
          </ac:picMkLst>
        </pc:picChg>
        <pc:picChg chg="del">
          <ac:chgData name="Mattias Vermeire" userId="afe8c86d-d01e-472e-9838-e047f8f3f33b" providerId="ADAL" clId="{028736F4-493E-9E46-88E7-861CB7A07834}" dt="2024-02-14T15:01:34.041" v="1269" actId="478"/>
          <ac:picMkLst>
            <pc:docMk/>
            <pc:sldMk cId="3806750613" sldId="2146849814"/>
            <ac:picMk id="23" creationId="{45950F3E-960C-78DB-CEA6-C6E6CC090451}"/>
          </ac:picMkLst>
        </pc:picChg>
      </pc:sldChg>
      <pc:sldChg chg="delSp modSp add del mod">
        <pc:chgData name="Mattias Vermeire" userId="afe8c86d-d01e-472e-9838-e047f8f3f33b" providerId="ADAL" clId="{028736F4-493E-9E46-88E7-861CB7A07834}" dt="2024-02-14T14:51:01.098" v="1118" actId="2696"/>
        <pc:sldMkLst>
          <pc:docMk/>
          <pc:sldMk cId="1896923157" sldId="2146849823"/>
        </pc:sldMkLst>
        <pc:spChg chg="mod">
          <ac:chgData name="Mattias Vermeire" userId="afe8c86d-d01e-472e-9838-e047f8f3f33b" providerId="ADAL" clId="{028736F4-493E-9E46-88E7-861CB7A07834}" dt="2024-02-14T14:50:33.581" v="1114" actId="1076"/>
          <ac:spMkLst>
            <pc:docMk/>
            <pc:sldMk cId="1896923157" sldId="2146849823"/>
            <ac:spMk id="7" creationId="{64AFAB7A-8AB5-4CB4-3227-BE8F863D1B11}"/>
          </ac:spMkLst>
        </pc:spChg>
        <pc:spChg chg="mod">
          <ac:chgData name="Mattias Vermeire" userId="afe8c86d-d01e-472e-9838-e047f8f3f33b" providerId="ADAL" clId="{028736F4-493E-9E46-88E7-861CB7A07834}" dt="2024-02-14T14:50:33.581" v="1114" actId="1076"/>
          <ac:spMkLst>
            <pc:docMk/>
            <pc:sldMk cId="1896923157" sldId="2146849823"/>
            <ac:spMk id="12" creationId="{20DEAEC2-22E6-51AB-6142-4B4FED3898F1}"/>
          </ac:spMkLst>
        </pc:spChg>
        <pc:spChg chg="del">
          <ac:chgData name="Mattias Vermeire" userId="afe8c86d-d01e-472e-9838-e047f8f3f33b" providerId="ADAL" clId="{028736F4-493E-9E46-88E7-861CB7A07834}" dt="2024-02-14T14:50:26.111" v="1111" actId="478"/>
          <ac:spMkLst>
            <pc:docMk/>
            <pc:sldMk cId="1896923157" sldId="2146849823"/>
            <ac:spMk id="14" creationId="{FA55CF75-2199-0E6D-40E7-2B840D1200EB}"/>
          </ac:spMkLst>
        </pc:spChg>
        <pc:spChg chg="mod">
          <ac:chgData name="Mattias Vermeire" userId="afe8c86d-d01e-472e-9838-e047f8f3f33b" providerId="ADAL" clId="{028736F4-493E-9E46-88E7-861CB7A07834}" dt="2024-02-14T14:50:33.581" v="1114" actId="1076"/>
          <ac:spMkLst>
            <pc:docMk/>
            <pc:sldMk cId="1896923157" sldId="2146849823"/>
            <ac:spMk id="25" creationId="{EBB50C0A-484D-023B-A675-5DAED4EBD5CB}"/>
          </ac:spMkLst>
        </pc:spChg>
        <pc:spChg chg="mod">
          <ac:chgData name="Mattias Vermeire" userId="afe8c86d-d01e-472e-9838-e047f8f3f33b" providerId="ADAL" clId="{028736F4-493E-9E46-88E7-861CB7A07834}" dt="2024-02-14T14:50:33.581" v="1114" actId="1076"/>
          <ac:spMkLst>
            <pc:docMk/>
            <pc:sldMk cId="1896923157" sldId="2146849823"/>
            <ac:spMk id="27" creationId="{074DA5C8-EB2A-80CC-D484-8B66161924B7}"/>
          </ac:spMkLst>
        </pc:spChg>
        <pc:spChg chg="del">
          <ac:chgData name="Mattias Vermeire" userId="afe8c86d-d01e-472e-9838-e047f8f3f33b" providerId="ADAL" clId="{028736F4-493E-9E46-88E7-861CB7A07834}" dt="2024-02-14T14:50:26.111" v="1111" actId="478"/>
          <ac:spMkLst>
            <pc:docMk/>
            <pc:sldMk cId="1896923157" sldId="2146849823"/>
            <ac:spMk id="28" creationId="{C7A9A57E-9678-1B41-0EBC-D5EC1B2243BF}"/>
          </ac:spMkLst>
        </pc:spChg>
        <pc:picChg chg="mod">
          <ac:chgData name="Mattias Vermeire" userId="afe8c86d-d01e-472e-9838-e047f8f3f33b" providerId="ADAL" clId="{028736F4-493E-9E46-88E7-861CB7A07834}" dt="2024-02-14T14:50:33.581" v="1114" actId="1076"/>
          <ac:picMkLst>
            <pc:docMk/>
            <pc:sldMk cId="1896923157" sldId="2146849823"/>
            <ac:picMk id="26" creationId="{9A7CCF88-7B0E-2824-5CCF-D5EF5AE11A7F}"/>
          </ac:picMkLst>
        </pc:picChg>
        <pc:picChg chg="mod">
          <ac:chgData name="Mattias Vermeire" userId="afe8c86d-d01e-472e-9838-e047f8f3f33b" providerId="ADAL" clId="{028736F4-493E-9E46-88E7-861CB7A07834}" dt="2024-02-14T14:50:33.581" v="1114" actId="1076"/>
          <ac:picMkLst>
            <pc:docMk/>
            <pc:sldMk cId="1896923157" sldId="2146849823"/>
            <ac:picMk id="29" creationId="{794CC552-AB88-3900-F686-4C23F0D5C00A}"/>
          </ac:picMkLst>
        </pc:picChg>
        <pc:picChg chg="del">
          <ac:chgData name="Mattias Vermeire" userId="afe8c86d-d01e-472e-9838-e047f8f3f33b" providerId="ADAL" clId="{028736F4-493E-9E46-88E7-861CB7A07834}" dt="2024-02-14T14:50:26.111" v="1111" actId="478"/>
          <ac:picMkLst>
            <pc:docMk/>
            <pc:sldMk cId="1896923157" sldId="2146849823"/>
            <ac:picMk id="32" creationId="{4DDB9315-59D8-C5B9-6740-D56FE555A5E4}"/>
          </ac:picMkLst>
        </pc:picChg>
      </pc:sldChg>
      <pc:sldMasterChg chg="delSldLayout">
        <pc:chgData name="Mattias Vermeire" userId="afe8c86d-d01e-472e-9838-e047f8f3f33b" providerId="ADAL" clId="{028736F4-493E-9E46-88E7-861CB7A07834}" dt="2024-02-14T13:55:05.993" v="220" actId="2696"/>
        <pc:sldMasterMkLst>
          <pc:docMk/>
          <pc:sldMasterMk cId="689156119" sldId="2147483664"/>
        </pc:sldMasterMkLst>
        <pc:sldLayoutChg chg="del">
          <pc:chgData name="Mattias Vermeire" userId="afe8c86d-d01e-472e-9838-e047f8f3f33b" providerId="ADAL" clId="{028736F4-493E-9E46-88E7-861CB7A07834}" dt="2024-02-14T13:55:05.993" v="220" actId="2696"/>
          <pc:sldLayoutMkLst>
            <pc:docMk/>
            <pc:sldMasterMk cId="689156119" sldId="2147483664"/>
            <pc:sldLayoutMk cId="2876860294" sldId="2147483713"/>
          </pc:sldLayoutMkLst>
        </pc:sldLayoutChg>
      </pc:sldMasterChg>
    </pc:docChg>
  </pc:docChgLst>
  <pc:docChgLst>
    <pc:chgData name="Iris Minnema" userId="5cff94b1-6c0b-4c1f-a712-473b84d89636" providerId="ADAL" clId="{B7B2C978-F2AB-234B-B797-232674CF87FB}"/>
    <pc:docChg chg="undo custSel addSld delSld modSld sldOrd">
      <pc:chgData name="Iris Minnema" userId="5cff94b1-6c0b-4c1f-a712-473b84d89636" providerId="ADAL" clId="{B7B2C978-F2AB-234B-B797-232674CF87FB}" dt="2024-02-14T19:07:17.303" v="2435" actId="20577"/>
      <pc:docMkLst>
        <pc:docMk/>
      </pc:docMkLst>
      <pc:sldChg chg="del">
        <pc:chgData name="Iris Minnema" userId="5cff94b1-6c0b-4c1f-a712-473b84d89636" providerId="ADAL" clId="{B7B2C978-F2AB-234B-B797-232674CF87FB}" dt="2024-02-11T19:11:35.167" v="432" actId="2696"/>
        <pc:sldMkLst>
          <pc:docMk/>
          <pc:sldMk cId="2887077126" sldId="260"/>
        </pc:sldMkLst>
      </pc:sldChg>
      <pc:sldChg chg="del">
        <pc:chgData name="Iris Minnema" userId="5cff94b1-6c0b-4c1f-a712-473b84d89636" providerId="ADAL" clId="{B7B2C978-F2AB-234B-B797-232674CF87FB}" dt="2024-02-11T19:11:35.114" v="416" actId="2696"/>
        <pc:sldMkLst>
          <pc:docMk/>
          <pc:sldMk cId="876013424" sldId="271"/>
        </pc:sldMkLst>
      </pc:sldChg>
      <pc:sldChg chg="add del">
        <pc:chgData name="Iris Minnema" userId="5cff94b1-6c0b-4c1f-a712-473b84d89636" providerId="ADAL" clId="{B7B2C978-F2AB-234B-B797-232674CF87FB}" dt="2024-02-13T20:19:50.123" v="1731" actId="2696"/>
        <pc:sldMkLst>
          <pc:docMk/>
          <pc:sldMk cId="2843028181" sldId="377"/>
        </pc:sldMkLst>
      </pc:sldChg>
      <pc:sldChg chg="del">
        <pc:chgData name="Iris Minnema" userId="5cff94b1-6c0b-4c1f-a712-473b84d89636" providerId="ADAL" clId="{B7B2C978-F2AB-234B-B797-232674CF87FB}" dt="2024-02-11T19:11:35.112" v="415" actId="2696"/>
        <pc:sldMkLst>
          <pc:docMk/>
          <pc:sldMk cId="1197034845" sldId="9553"/>
        </pc:sldMkLst>
      </pc:sldChg>
      <pc:sldChg chg="del">
        <pc:chgData name="Iris Minnema" userId="5cff94b1-6c0b-4c1f-a712-473b84d89636" providerId="ADAL" clId="{B7B2C978-F2AB-234B-B797-232674CF87FB}" dt="2024-02-11T19:11:35.153" v="430" actId="2696"/>
        <pc:sldMkLst>
          <pc:docMk/>
          <pc:sldMk cId="923315107" sldId="9555"/>
        </pc:sldMkLst>
      </pc:sldChg>
      <pc:sldChg chg="del">
        <pc:chgData name="Iris Minnema" userId="5cff94b1-6c0b-4c1f-a712-473b84d89636" providerId="ADAL" clId="{B7B2C978-F2AB-234B-B797-232674CF87FB}" dt="2024-02-11T19:11:35.140" v="423" actId="2696"/>
        <pc:sldMkLst>
          <pc:docMk/>
          <pc:sldMk cId="1048911304" sldId="9569"/>
        </pc:sldMkLst>
      </pc:sldChg>
      <pc:sldChg chg="del">
        <pc:chgData name="Iris Minnema" userId="5cff94b1-6c0b-4c1f-a712-473b84d89636" providerId="ADAL" clId="{B7B2C978-F2AB-234B-B797-232674CF87FB}" dt="2024-02-11T19:11:35.135" v="420" actId="2696"/>
        <pc:sldMkLst>
          <pc:docMk/>
          <pc:sldMk cId="1290756998" sldId="9572"/>
        </pc:sldMkLst>
      </pc:sldChg>
      <pc:sldChg chg="addSp delSp modSp add mod ord modShow">
        <pc:chgData name="Iris Minnema" userId="5cff94b1-6c0b-4c1f-a712-473b84d89636" providerId="ADAL" clId="{B7B2C978-F2AB-234B-B797-232674CF87FB}" dt="2024-02-13T19:59:25.727" v="1229"/>
        <pc:sldMkLst>
          <pc:docMk/>
          <pc:sldMk cId="3974761832" sldId="9605"/>
        </pc:sldMkLst>
        <pc:spChg chg="add del mod">
          <ac:chgData name="Iris Minnema" userId="5cff94b1-6c0b-4c1f-a712-473b84d89636" providerId="ADAL" clId="{B7B2C978-F2AB-234B-B797-232674CF87FB}" dt="2024-02-13T19:59:25.727" v="1229"/>
          <ac:spMkLst>
            <pc:docMk/>
            <pc:sldMk cId="3974761832" sldId="9605"/>
            <ac:spMk id="3" creationId="{43CB58E2-61E9-6D28-533D-E7FE6F880FA6}"/>
          </ac:spMkLst>
        </pc:spChg>
        <pc:spChg chg="add mod">
          <ac:chgData name="Iris Minnema" userId="5cff94b1-6c0b-4c1f-a712-473b84d89636" providerId="ADAL" clId="{B7B2C978-F2AB-234B-B797-232674CF87FB}" dt="2024-02-11T19:03:48.866" v="290" actId="20577"/>
          <ac:spMkLst>
            <pc:docMk/>
            <pc:sldMk cId="3974761832" sldId="9605"/>
            <ac:spMk id="4" creationId="{EC650DB1-DE7E-5FB7-FE0E-06AA492C2B52}"/>
          </ac:spMkLst>
        </pc:spChg>
        <pc:spChg chg="add mod">
          <ac:chgData name="Iris Minnema" userId="5cff94b1-6c0b-4c1f-a712-473b84d89636" providerId="ADAL" clId="{B7B2C978-F2AB-234B-B797-232674CF87FB}" dt="2024-02-11T19:03:10.178" v="277" actId="20577"/>
          <ac:spMkLst>
            <pc:docMk/>
            <pc:sldMk cId="3974761832" sldId="9605"/>
            <ac:spMk id="5" creationId="{26BBAAB0-647E-6BC4-E67F-C2E60D1261F1}"/>
          </ac:spMkLst>
        </pc:spChg>
        <pc:spChg chg="mod">
          <ac:chgData name="Iris Minnema" userId="5cff94b1-6c0b-4c1f-a712-473b84d89636" providerId="ADAL" clId="{B7B2C978-F2AB-234B-B797-232674CF87FB}" dt="2024-02-11T19:12:49.186" v="433" actId="255"/>
          <ac:spMkLst>
            <pc:docMk/>
            <pc:sldMk cId="3974761832" sldId="9605"/>
            <ac:spMk id="6" creationId="{048EA0F8-A4C9-50A0-C459-24A820F13D9C}"/>
          </ac:spMkLst>
        </pc:spChg>
        <pc:spChg chg="add mod">
          <ac:chgData name="Iris Minnema" userId="5cff94b1-6c0b-4c1f-a712-473b84d89636" providerId="ADAL" clId="{B7B2C978-F2AB-234B-B797-232674CF87FB}" dt="2024-02-11T19:05:29.510" v="316" actId="208"/>
          <ac:spMkLst>
            <pc:docMk/>
            <pc:sldMk cId="3974761832" sldId="9605"/>
            <ac:spMk id="16" creationId="{56A750DB-A806-2978-CA17-C1F796CBDF40}"/>
          </ac:spMkLst>
        </pc:spChg>
        <pc:spChg chg="mod">
          <ac:chgData name="Iris Minnema" userId="5cff94b1-6c0b-4c1f-a712-473b84d89636" providerId="ADAL" clId="{B7B2C978-F2AB-234B-B797-232674CF87FB}" dt="2024-02-11T19:00:04.861" v="180" actId="20577"/>
          <ac:spMkLst>
            <pc:docMk/>
            <pc:sldMk cId="3974761832" sldId="9605"/>
            <ac:spMk id="18" creationId="{C7255BF3-FEB9-5630-40B1-1564CCB69547}"/>
          </ac:spMkLst>
        </pc:spChg>
        <pc:spChg chg="del">
          <ac:chgData name="Iris Minnema" userId="5cff94b1-6c0b-4c1f-a712-473b84d89636" providerId="ADAL" clId="{B7B2C978-F2AB-234B-B797-232674CF87FB}" dt="2024-02-11T19:01:17.232" v="214" actId="478"/>
          <ac:spMkLst>
            <pc:docMk/>
            <pc:sldMk cId="3974761832" sldId="9605"/>
            <ac:spMk id="21" creationId="{A0A9C755-DB64-520C-493D-9FD5C1BD176E}"/>
          </ac:spMkLst>
        </pc:spChg>
        <pc:spChg chg="mod">
          <ac:chgData name="Iris Minnema" userId="5cff94b1-6c0b-4c1f-a712-473b84d89636" providerId="ADAL" clId="{B7B2C978-F2AB-234B-B797-232674CF87FB}" dt="2024-02-11T19:01:36.199" v="216" actId="1076"/>
          <ac:spMkLst>
            <pc:docMk/>
            <pc:sldMk cId="3974761832" sldId="9605"/>
            <ac:spMk id="22" creationId="{1E692375-2D41-8B02-83FD-6A95E8DE4C13}"/>
          </ac:spMkLst>
        </pc:spChg>
        <pc:spChg chg="mod">
          <ac:chgData name="Iris Minnema" userId="5cff94b1-6c0b-4c1f-a712-473b84d89636" providerId="ADAL" clId="{B7B2C978-F2AB-234B-B797-232674CF87FB}" dt="2024-02-12T08:36:15.037" v="899" actId="20577"/>
          <ac:spMkLst>
            <pc:docMk/>
            <pc:sldMk cId="3974761832" sldId="9605"/>
            <ac:spMk id="23" creationId="{31DAAB4B-41B9-A3F2-8848-FDBF4AEEC27D}"/>
          </ac:spMkLst>
        </pc:spChg>
        <pc:spChg chg="mod">
          <ac:chgData name="Iris Minnema" userId="5cff94b1-6c0b-4c1f-a712-473b84d89636" providerId="ADAL" clId="{B7B2C978-F2AB-234B-B797-232674CF87FB}" dt="2024-02-11T19:01:36.199" v="216" actId="1076"/>
          <ac:spMkLst>
            <pc:docMk/>
            <pc:sldMk cId="3974761832" sldId="9605"/>
            <ac:spMk id="26" creationId="{4C6DAD8B-EB0F-39EB-69D2-034E1F99AAB3}"/>
          </ac:spMkLst>
        </pc:spChg>
        <pc:spChg chg="del">
          <ac:chgData name="Iris Minnema" userId="5cff94b1-6c0b-4c1f-a712-473b84d89636" providerId="ADAL" clId="{B7B2C978-F2AB-234B-B797-232674CF87FB}" dt="2024-02-11T19:01:11.404" v="213" actId="478"/>
          <ac:spMkLst>
            <pc:docMk/>
            <pc:sldMk cId="3974761832" sldId="9605"/>
            <ac:spMk id="27" creationId="{629E496D-AFFA-6D12-F3F3-DCF810768680}"/>
          </ac:spMkLst>
        </pc:spChg>
        <pc:grpChg chg="add del">
          <ac:chgData name="Iris Minnema" userId="5cff94b1-6c0b-4c1f-a712-473b84d89636" providerId="ADAL" clId="{B7B2C978-F2AB-234B-B797-232674CF87FB}" dt="2024-02-11T19:00:11.963" v="182" actId="478"/>
          <ac:grpSpMkLst>
            <pc:docMk/>
            <pc:sldMk cId="3974761832" sldId="9605"/>
            <ac:grpSpMk id="17" creationId="{B8D88F68-4179-4675-C3EF-513CD8E052AB}"/>
          </ac:grpSpMkLst>
        </pc:grpChg>
        <pc:picChg chg="add mod">
          <ac:chgData name="Iris Minnema" userId="5cff94b1-6c0b-4c1f-a712-473b84d89636" providerId="ADAL" clId="{B7B2C978-F2AB-234B-B797-232674CF87FB}" dt="2024-02-11T18:59:41.879" v="161" actId="1076"/>
          <ac:picMkLst>
            <pc:docMk/>
            <pc:sldMk cId="3974761832" sldId="9605"/>
            <ac:picMk id="2" creationId="{C5553977-8621-8920-EE60-832536712ED4}"/>
          </ac:picMkLst>
        </pc:picChg>
        <pc:picChg chg="add del mod">
          <ac:chgData name="Iris Minnema" userId="5cff94b1-6c0b-4c1f-a712-473b84d89636" providerId="ADAL" clId="{B7B2C978-F2AB-234B-B797-232674CF87FB}" dt="2024-02-12T08:30:58.373" v="732" actId="478"/>
          <ac:picMkLst>
            <pc:docMk/>
            <pc:sldMk cId="3974761832" sldId="9605"/>
            <ac:picMk id="3" creationId="{4EC0BB9B-CC64-1140-500B-4C5C60DF6149}"/>
          </ac:picMkLst>
        </pc:picChg>
        <pc:picChg chg="topLvl">
          <ac:chgData name="Iris Minnema" userId="5cff94b1-6c0b-4c1f-a712-473b84d89636" providerId="ADAL" clId="{B7B2C978-F2AB-234B-B797-232674CF87FB}" dt="2024-02-11T19:00:11.963" v="182" actId="478"/>
          <ac:picMkLst>
            <pc:docMk/>
            <pc:sldMk cId="3974761832" sldId="9605"/>
            <ac:picMk id="7" creationId="{9E0BDBE5-C0D0-9275-93D4-7CB84F8155B2}"/>
          </ac:picMkLst>
        </pc:picChg>
        <pc:picChg chg="add del mod topLvl">
          <ac:chgData name="Iris Minnema" userId="5cff94b1-6c0b-4c1f-a712-473b84d89636" providerId="ADAL" clId="{B7B2C978-F2AB-234B-B797-232674CF87FB}" dt="2024-02-11T19:00:11.963" v="182" actId="478"/>
          <ac:picMkLst>
            <pc:docMk/>
            <pc:sldMk cId="3974761832" sldId="9605"/>
            <ac:picMk id="8" creationId="{37FB5C1C-F519-C0CC-60A6-C41F2AFA7C0A}"/>
          </ac:picMkLst>
        </pc:picChg>
        <pc:picChg chg="mod">
          <ac:chgData name="Iris Minnema" userId="5cff94b1-6c0b-4c1f-a712-473b84d89636" providerId="ADAL" clId="{B7B2C978-F2AB-234B-B797-232674CF87FB}" dt="2024-02-11T19:01:42.930" v="217" actId="1076"/>
          <ac:picMkLst>
            <pc:docMk/>
            <pc:sldMk cId="3974761832" sldId="9605"/>
            <ac:picMk id="10" creationId="{FA6017EF-A5A5-6C2C-A85A-92550A47562A}"/>
          </ac:picMkLst>
        </pc:picChg>
        <pc:picChg chg="del">
          <ac:chgData name="Iris Minnema" userId="5cff94b1-6c0b-4c1f-a712-473b84d89636" providerId="ADAL" clId="{B7B2C978-F2AB-234B-B797-232674CF87FB}" dt="2024-02-11T19:01:17.232" v="214" actId="478"/>
          <ac:picMkLst>
            <pc:docMk/>
            <pc:sldMk cId="3974761832" sldId="9605"/>
            <ac:picMk id="11" creationId="{6F840C2D-139F-157E-44F7-5ED3C0764FDC}"/>
          </ac:picMkLst>
        </pc:picChg>
        <pc:picChg chg="add mod">
          <ac:chgData name="Iris Minnema" userId="5cff94b1-6c0b-4c1f-a712-473b84d89636" providerId="ADAL" clId="{B7B2C978-F2AB-234B-B797-232674CF87FB}" dt="2024-02-12T08:31:23.932" v="736"/>
          <ac:picMkLst>
            <pc:docMk/>
            <pc:sldMk cId="3974761832" sldId="9605"/>
            <ac:picMk id="33" creationId="{140527A3-2806-4FC9-A7EC-0090A9AF31F1}"/>
          </ac:picMkLst>
        </pc:picChg>
        <pc:cxnChg chg="add mod">
          <ac:chgData name="Iris Minnema" userId="5cff94b1-6c0b-4c1f-a712-473b84d89636" providerId="ADAL" clId="{B7B2C978-F2AB-234B-B797-232674CF87FB}" dt="2024-02-11T19:02:25.366" v="221" actId="1076"/>
          <ac:cxnSpMkLst>
            <pc:docMk/>
            <pc:sldMk cId="3974761832" sldId="9605"/>
            <ac:cxnSpMk id="12" creationId="{D440D5F6-19EE-27E9-33DD-409A1ACAF828}"/>
          </ac:cxnSpMkLst>
        </pc:cxnChg>
        <pc:cxnChg chg="del">
          <ac:chgData name="Iris Minnema" userId="5cff94b1-6c0b-4c1f-a712-473b84d89636" providerId="ADAL" clId="{B7B2C978-F2AB-234B-B797-232674CF87FB}" dt="2024-02-11T19:01:17.232" v="214" actId="478"/>
          <ac:cxnSpMkLst>
            <pc:docMk/>
            <pc:sldMk cId="3974761832" sldId="9605"/>
            <ac:cxnSpMk id="28" creationId="{D9F13DFB-6703-6403-AEEC-AA007E76A9AF}"/>
          </ac:cxnSpMkLst>
        </pc:cxnChg>
        <pc:cxnChg chg="mod">
          <ac:chgData name="Iris Minnema" userId="5cff94b1-6c0b-4c1f-a712-473b84d89636" providerId="ADAL" clId="{B7B2C978-F2AB-234B-B797-232674CF87FB}" dt="2024-02-11T19:01:36.199" v="216" actId="1076"/>
          <ac:cxnSpMkLst>
            <pc:docMk/>
            <pc:sldMk cId="3974761832" sldId="9605"/>
            <ac:cxnSpMk id="29" creationId="{6377E6EE-BAF8-0489-A10E-176A26E92E24}"/>
          </ac:cxnSpMkLst>
        </pc:cxnChg>
      </pc:sldChg>
      <pc:sldChg chg="del">
        <pc:chgData name="Iris Minnema" userId="5cff94b1-6c0b-4c1f-a712-473b84d89636" providerId="ADAL" clId="{B7B2C978-F2AB-234B-B797-232674CF87FB}" dt="2024-02-11T19:09:43.157" v="391" actId="2696"/>
        <pc:sldMkLst>
          <pc:docMk/>
          <pc:sldMk cId="3866464624" sldId="2145707624"/>
        </pc:sldMkLst>
      </pc:sldChg>
      <pc:sldChg chg="modSp mod">
        <pc:chgData name="Iris Minnema" userId="5cff94b1-6c0b-4c1f-a712-473b84d89636" providerId="ADAL" clId="{B7B2C978-F2AB-234B-B797-232674CF87FB}" dt="2024-02-14T18:48:58.105" v="1754" actId="20577"/>
        <pc:sldMkLst>
          <pc:docMk/>
          <pc:sldMk cId="1452127213" sldId="2145707937"/>
        </pc:sldMkLst>
        <pc:spChg chg="mod">
          <ac:chgData name="Iris Minnema" userId="5cff94b1-6c0b-4c1f-a712-473b84d89636" providerId="ADAL" clId="{B7B2C978-F2AB-234B-B797-232674CF87FB}" dt="2024-02-14T18:48:58.105" v="1754" actId="20577"/>
          <ac:spMkLst>
            <pc:docMk/>
            <pc:sldMk cId="1452127213" sldId="2145707937"/>
            <ac:spMk id="12" creationId="{4C47337D-A5F5-0C7E-B5CE-73F7CC38C1EE}"/>
          </ac:spMkLst>
        </pc:spChg>
      </pc:sldChg>
      <pc:sldChg chg="modSp mod">
        <pc:chgData name="Iris Minnema" userId="5cff94b1-6c0b-4c1f-a712-473b84d89636" providerId="ADAL" clId="{B7B2C978-F2AB-234B-B797-232674CF87FB}" dt="2024-02-13T20:19:25.874" v="1714" actId="207"/>
        <pc:sldMkLst>
          <pc:docMk/>
          <pc:sldMk cId="1212159438" sldId="2145707938"/>
        </pc:sldMkLst>
        <pc:spChg chg="mod">
          <ac:chgData name="Iris Minnema" userId="5cff94b1-6c0b-4c1f-a712-473b84d89636" providerId="ADAL" clId="{B7B2C978-F2AB-234B-B797-232674CF87FB}" dt="2024-02-13T20:19:25.874" v="1714" actId="207"/>
          <ac:spMkLst>
            <pc:docMk/>
            <pc:sldMk cId="1212159438" sldId="2145707938"/>
            <ac:spMk id="12" creationId="{4C47337D-A5F5-0C7E-B5CE-73F7CC38C1EE}"/>
          </ac:spMkLst>
        </pc:spChg>
      </pc:sldChg>
      <pc:sldChg chg="modSp mod">
        <pc:chgData name="Iris Minnema" userId="5cff94b1-6c0b-4c1f-a712-473b84d89636" providerId="ADAL" clId="{B7B2C978-F2AB-234B-B797-232674CF87FB}" dt="2024-02-13T20:19:43.924" v="1730" actId="207"/>
        <pc:sldMkLst>
          <pc:docMk/>
          <pc:sldMk cId="3391162473" sldId="2145707939"/>
        </pc:sldMkLst>
        <pc:spChg chg="mod">
          <ac:chgData name="Iris Minnema" userId="5cff94b1-6c0b-4c1f-a712-473b84d89636" providerId="ADAL" clId="{B7B2C978-F2AB-234B-B797-232674CF87FB}" dt="2024-02-13T20:19:43.924" v="1730" actId="207"/>
          <ac:spMkLst>
            <pc:docMk/>
            <pc:sldMk cId="3391162473" sldId="2145707939"/>
            <ac:spMk id="6" creationId="{A1A47FBD-12F4-8A08-8039-7E6465BD3298}"/>
          </ac:spMkLst>
        </pc:spChg>
      </pc:sldChg>
      <pc:sldChg chg="modSp mod">
        <pc:chgData name="Iris Minnema" userId="5cff94b1-6c0b-4c1f-a712-473b84d89636" providerId="ADAL" clId="{B7B2C978-F2AB-234B-B797-232674CF87FB}" dt="2024-02-14T18:47:20.011" v="1753" actId="20577"/>
        <pc:sldMkLst>
          <pc:docMk/>
          <pc:sldMk cId="1979095133" sldId="2146848756"/>
        </pc:sldMkLst>
        <pc:spChg chg="mod">
          <ac:chgData name="Iris Minnema" userId="5cff94b1-6c0b-4c1f-a712-473b84d89636" providerId="ADAL" clId="{B7B2C978-F2AB-234B-B797-232674CF87FB}" dt="2024-02-14T18:47:20.011" v="1753" actId="20577"/>
          <ac:spMkLst>
            <pc:docMk/>
            <pc:sldMk cId="1979095133" sldId="2146848756"/>
            <ac:spMk id="3" creationId="{479BF544-110C-B2FE-EBA6-0D2BC1E5F373}"/>
          </ac:spMkLst>
        </pc:spChg>
      </pc:sldChg>
      <pc:sldChg chg="del">
        <pc:chgData name="Iris Minnema" userId="5cff94b1-6c0b-4c1f-a712-473b84d89636" providerId="ADAL" clId="{B7B2C978-F2AB-234B-B797-232674CF87FB}" dt="2024-02-11T19:11:35.145" v="426" actId="2696"/>
        <pc:sldMkLst>
          <pc:docMk/>
          <pc:sldMk cId="1320076848" sldId="2146848757"/>
        </pc:sldMkLst>
      </pc:sldChg>
      <pc:sldChg chg="addSp delSp modSp mod ord">
        <pc:chgData name="Iris Minnema" userId="5cff94b1-6c0b-4c1f-a712-473b84d89636" providerId="ADAL" clId="{B7B2C978-F2AB-234B-B797-232674CF87FB}" dt="2024-02-14T18:46:24.439" v="1751" actId="2711"/>
        <pc:sldMkLst>
          <pc:docMk/>
          <pc:sldMk cId="3040644318" sldId="2146848759"/>
        </pc:sldMkLst>
        <pc:spChg chg="add mod">
          <ac:chgData name="Iris Minnema" userId="5cff94b1-6c0b-4c1f-a712-473b84d89636" providerId="ADAL" clId="{B7B2C978-F2AB-234B-B797-232674CF87FB}" dt="2024-02-13T20:17:27.096" v="1667" actId="1076"/>
          <ac:spMkLst>
            <pc:docMk/>
            <pc:sldMk cId="3040644318" sldId="2146848759"/>
            <ac:spMk id="4" creationId="{2D8A6FAD-4801-D347-40D7-50416710E91B}"/>
          </ac:spMkLst>
        </pc:spChg>
        <pc:spChg chg="mod">
          <ac:chgData name="Iris Minnema" userId="5cff94b1-6c0b-4c1f-a712-473b84d89636" providerId="ADAL" clId="{B7B2C978-F2AB-234B-B797-232674CF87FB}" dt="2024-02-12T08:59:27.956" v="905" actId="1076"/>
          <ac:spMkLst>
            <pc:docMk/>
            <pc:sldMk cId="3040644318" sldId="2146848759"/>
            <ac:spMk id="6" creationId="{2CAAFE8B-F1DF-4EFB-73CC-1119F0C8D671}"/>
          </ac:spMkLst>
        </pc:spChg>
        <pc:spChg chg="mod">
          <ac:chgData name="Iris Minnema" userId="5cff94b1-6c0b-4c1f-a712-473b84d89636" providerId="ADAL" clId="{B7B2C978-F2AB-234B-B797-232674CF87FB}" dt="2024-02-12T08:35:47.139" v="865" actId="20577"/>
          <ac:spMkLst>
            <pc:docMk/>
            <pc:sldMk cId="3040644318" sldId="2146848759"/>
            <ac:spMk id="7" creationId="{BED52A9A-5722-6003-A147-66E84627C429}"/>
          </ac:spMkLst>
        </pc:spChg>
        <pc:spChg chg="mod">
          <ac:chgData name="Iris Minnema" userId="5cff94b1-6c0b-4c1f-a712-473b84d89636" providerId="ADAL" clId="{B7B2C978-F2AB-234B-B797-232674CF87FB}" dt="2024-02-12T08:35:15.126" v="846"/>
          <ac:spMkLst>
            <pc:docMk/>
            <pc:sldMk cId="3040644318" sldId="2146848759"/>
            <ac:spMk id="8" creationId="{8D1867EB-DAA9-8C09-68C4-DF294693B1E7}"/>
          </ac:spMkLst>
        </pc:spChg>
        <pc:spChg chg="add mod">
          <ac:chgData name="Iris Minnema" userId="5cff94b1-6c0b-4c1f-a712-473b84d89636" providerId="ADAL" clId="{B7B2C978-F2AB-234B-B797-232674CF87FB}" dt="2024-02-13T20:17:20.512" v="1666" actId="14100"/>
          <ac:spMkLst>
            <pc:docMk/>
            <pc:sldMk cId="3040644318" sldId="2146848759"/>
            <ac:spMk id="13" creationId="{FED6E178-D596-3426-6661-516392FEEB0A}"/>
          </ac:spMkLst>
        </pc:spChg>
        <pc:spChg chg="mod">
          <ac:chgData name="Iris Minnema" userId="5cff94b1-6c0b-4c1f-a712-473b84d89636" providerId="ADAL" clId="{B7B2C978-F2AB-234B-B797-232674CF87FB}" dt="2024-02-12T08:34:59.204" v="845" actId="1038"/>
          <ac:spMkLst>
            <pc:docMk/>
            <pc:sldMk cId="3040644318" sldId="2146848759"/>
            <ac:spMk id="15" creationId="{54042CAC-E222-0330-57F5-06E3B6124C95}"/>
          </ac:spMkLst>
        </pc:spChg>
        <pc:spChg chg="add mod">
          <ac:chgData name="Iris Minnema" userId="5cff94b1-6c0b-4c1f-a712-473b84d89636" providerId="ADAL" clId="{B7B2C978-F2AB-234B-B797-232674CF87FB}" dt="2024-02-13T19:21:05.180" v="1117" actId="1035"/>
          <ac:spMkLst>
            <pc:docMk/>
            <pc:sldMk cId="3040644318" sldId="2146848759"/>
            <ac:spMk id="21" creationId="{071238FB-1FA3-F026-2480-393245E25F1E}"/>
          </ac:spMkLst>
        </pc:spChg>
        <pc:spChg chg="add mod">
          <ac:chgData name="Iris Minnema" userId="5cff94b1-6c0b-4c1f-a712-473b84d89636" providerId="ADAL" clId="{B7B2C978-F2AB-234B-B797-232674CF87FB}" dt="2024-02-13T19:21:05.180" v="1117" actId="1035"/>
          <ac:spMkLst>
            <pc:docMk/>
            <pc:sldMk cId="3040644318" sldId="2146848759"/>
            <ac:spMk id="24" creationId="{F670B4F3-46A0-11BD-2EB3-F7B262C51A26}"/>
          </ac:spMkLst>
        </pc:spChg>
        <pc:spChg chg="add mod">
          <ac:chgData name="Iris Minnema" userId="5cff94b1-6c0b-4c1f-a712-473b84d89636" providerId="ADAL" clId="{B7B2C978-F2AB-234B-B797-232674CF87FB}" dt="2024-02-13T19:21:05.180" v="1117" actId="1035"/>
          <ac:spMkLst>
            <pc:docMk/>
            <pc:sldMk cId="3040644318" sldId="2146848759"/>
            <ac:spMk id="25" creationId="{D0246A02-A569-DA33-FF0B-CD6BD294BC48}"/>
          </ac:spMkLst>
        </pc:spChg>
        <pc:spChg chg="mod">
          <ac:chgData name="Iris Minnema" userId="5cff94b1-6c0b-4c1f-a712-473b84d89636" providerId="ADAL" clId="{B7B2C978-F2AB-234B-B797-232674CF87FB}" dt="2024-02-12T08:34:59.204" v="845" actId="1038"/>
          <ac:spMkLst>
            <pc:docMk/>
            <pc:sldMk cId="3040644318" sldId="2146848759"/>
            <ac:spMk id="26" creationId="{94C5EE69-7490-DAE2-14E0-CF563B95DEC2}"/>
          </ac:spMkLst>
        </pc:spChg>
        <pc:spChg chg="mod">
          <ac:chgData name="Iris Minnema" userId="5cff94b1-6c0b-4c1f-a712-473b84d89636" providerId="ADAL" clId="{B7B2C978-F2AB-234B-B797-232674CF87FB}" dt="2024-02-12T08:34:59.204" v="845" actId="1038"/>
          <ac:spMkLst>
            <pc:docMk/>
            <pc:sldMk cId="3040644318" sldId="2146848759"/>
            <ac:spMk id="27" creationId="{30F1E27E-92BE-96EF-EEB9-35A92015B732}"/>
          </ac:spMkLst>
        </pc:spChg>
        <pc:spChg chg="add mod">
          <ac:chgData name="Iris Minnema" userId="5cff94b1-6c0b-4c1f-a712-473b84d89636" providerId="ADAL" clId="{B7B2C978-F2AB-234B-B797-232674CF87FB}" dt="2024-02-13T19:21:05.180" v="1117" actId="1035"/>
          <ac:spMkLst>
            <pc:docMk/>
            <pc:sldMk cId="3040644318" sldId="2146848759"/>
            <ac:spMk id="29" creationId="{53C8A68C-7A9A-50C2-93D0-6492661218BB}"/>
          </ac:spMkLst>
        </pc:spChg>
        <pc:spChg chg="del mod">
          <ac:chgData name="Iris Minnema" userId="5cff94b1-6c0b-4c1f-a712-473b84d89636" providerId="ADAL" clId="{B7B2C978-F2AB-234B-B797-232674CF87FB}" dt="2024-02-12T08:59:31.621" v="906" actId="478"/>
          <ac:spMkLst>
            <pc:docMk/>
            <pc:sldMk cId="3040644318" sldId="2146848759"/>
            <ac:spMk id="29" creationId="{6DE13C3B-8060-FC3C-0B17-AF0DBCF1714C}"/>
          </ac:spMkLst>
        </pc:spChg>
        <pc:spChg chg="mod">
          <ac:chgData name="Iris Minnema" userId="5cff94b1-6c0b-4c1f-a712-473b84d89636" providerId="ADAL" clId="{B7B2C978-F2AB-234B-B797-232674CF87FB}" dt="2024-02-12T08:34:59.204" v="845" actId="1038"/>
          <ac:spMkLst>
            <pc:docMk/>
            <pc:sldMk cId="3040644318" sldId="2146848759"/>
            <ac:spMk id="32" creationId="{855FEBA8-67EA-6EEF-02B7-3C64BA973D6B}"/>
          </ac:spMkLst>
        </pc:spChg>
        <pc:spChg chg="mod">
          <ac:chgData name="Iris Minnema" userId="5cff94b1-6c0b-4c1f-a712-473b84d89636" providerId="ADAL" clId="{B7B2C978-F2AB-234B-B797-232674CF87FB}" dt="2024-02-12T08:34:59.204" v="845" actId="1038"/>
          <ac:spMkLst>
            <pc:docMk/>
            <pc:sldMk cId="3040644318" sldId="2146848759"/>
            <ac:spMk id="33" creationId="{7D55F4B1-39E9-1126-FB5B-923786ED6BD4}"/>
          </ac:spMkLst>
        </pc:spChg>
        <pc:spChg chg="add mod">
          <ac:chgData name="Iris Minnema" userId="5cff94b1-6c0b-4c1f-a712-473b84d89636" providerId="ADAL" clId="{B7B2C978-F2AB-234B-B797-232674CF87FB}" dt="2024-02-13T19:20:45.193" v="1102" actId="1076"/>
          <ac:spMkLst>
            <pc:docMk/>
            <pc:sldMk cId="3040644318" sldId="2146848759"/>
            <ac:spMk id="38" creationId="{4EDAD7C4-D22C-9C4B-A69A-A96C97E26C60}"/>
          </ac:spMkLst>
        </pc:spChg>
        <pc:spChg chg="add del mod">
          <ac:chgData name="Iris Minnema" userId="5cff94b1-6c0b-4c1f-a712-473b84d89636" providerId="ADAL" clId="{B7B2C978-F2AB-234B-B797-232674CF87FB}" dt="2024-02-13T19:18:12.498" v="1073" actId="478"/>
          <ac:spMkLst>
            <pc:docMk/>
            <pc:sldMk cId="3040644318" sldId="2146848759"/>
            <ac:spMk id="39" creationId="{C0C8D70A-9335-4D50-62A6-E9EF1DAE8E89}"/>
          </ac:spMkLst>
        </pc:spChg>
        <pc:spChg chg="del">
          <ac:chgData name="Iris Minnema" userId="5cff94b1-6c0b-4c1f-a712-473b84d89636" providerId="ADAL" clId="{B7B2C978-F2AB-234B-B797-232674CF87FB}" dt="2024-02-12T08:34:42.530" v="759" actId="478"/>
          <ac:spMkLst>
            <pc:docMk/>
            <pc:sldMk cId="3040644318" sldId="2146848759"/>
            <ac:spMk id="40" creationId="{05A76E95-7BBD-AA73-61A0-159EC2D60C39}"/>
          </ac:spMkLst>
        </pc:spChg>
        <pc:spChg chg="add del mod">
          <ac:chgData name="Iris Minnema" userId="5cff94b1-6c0b-4c1f-a712-473b84d89636" providerId="ADAL" clId="{B7B2C978-F2AB-234B-B797-232674CF87FB}" dt="2024-02-13T19:18:51.344" v="1089" actId="478"/>
          <ac:spMkLst>
            <pc:docMk/>
            <pc:sldMk cId="3040644318" sldId="2146848759"/>
            <ac:spMk id="40" creationId="{58462090-3DBD-A15B-A2A7-5C9407ECF37C}"/>
          </ac:spMkLst>
        </pc:spChg>
        <pc:spChg chg="add del mod">
          <ac:chgData name="Iris Minnema" userId="5cff94b1-6c0b-4c1f-a712-473b84d89636" providerId="ADAL" clId="{B7B2C978-F2AB-234B-B797-232674CF87FB}" dt="2024-02-13T19:13:30.185" v="1006" actId="478"/>
          <ac:spMkLst>
            <pc:docMk/>
            <pc:sldMk cId="3040644318" sldId="2146848759"/>
            <ac:spMk id="42" creationId="{C2BFF8CE-970C-7271-3D3D-883239464695}"/>
          </ac:spMkLst>
        </pc:spChg>
        <pc:spChg chg="add del">
          <ac:chgData name="Iris Minnema" userId="5cff94b1-6c0b-4c1f-a712-473b84d89636" providerId="ADAL" clId="{B7B2C978-F2AB-234B-B797-232674CF87FB}" dt="2024-02-13T19:14:01.408" v="1008" actId="478"/>
          <ac:spMkLst>
            <pc:docMk/>
            <pc:sldMk cId="3040644318" sldId="2146848759"/>
            <ac:spMk id="44" creationId="{9837E054-3669-603F-AC8B-5717E2710B39}"/>
          </ac:spMkLst>
        </pc:spChg>
        <pc:spChg chg="add mod">
          <ac:chgData name="Iris Minnema" userId="5cff94b1-6c0b-4c1f-a712-473b84d89636" providerId="ADAL" clId="{B7B2C978-F2AB-234B-B797-232674CF87FB}" dt="2024-02-13T19:21:48.526" v="1164" actId="1038"/>
          <ac:spMkLst>
            <pc:docMk/>
            <pc:sldMk cId="3040644318" sldId="2146848759"/>
            <ac:spMk id="45" creationId="{A6E0C83D-40CB-5F03-87BC-AC33EA391AA4}"/>
          </ac:spMkLst>
        </pc:spChg>
        <pc:spChg chg="add mod">
          <ac:chgData name="Iris Minnema" userId="5cff94b1-6c0b-4c1f-a712-473b84d89636" providerId="ADAL" clId="{B7B2C978-F2AB-234B-B797-232674CF87FB}" dt="2024-02-13T19:21:48.526" v="1164" actId="1038"/>
          <ac:spMkLst>
            <pc:docMk/>
            <pc:sldMk cId="3040644318" sldId="2146848759"/>
            <ac:spMk id="47" creationId="{FC762ECD-F80A-3233-1110-F925E4E2C7F4}"/>
          </ac:spMkLst>
        </pc:spChg>
        <pc:spChg chg="add mod">
          <ac:chgData name="Iris Minnema" userId="5cff94b1-6c0b-4c1f-a712-473b84d89636" providerId="ADAL" clId="{B7B2C978-F2AB-234B-B797-232674CF87FB}" dt="2024-02-13T19:20:50.871" v="1103" actId="1076"/>
          <ac:spMkLst>
            <pc:docMk/>
            <pc:sldMk cId="3040644318" sldId="2146848759"/>
            <ac:spMk id="48" creationId="{403B3CCD-7372-9F52-CBA8-01AE370E5F98}"/>
          </ac:spMkLst>
        </pc:spChg>
        <pc:spChg chg="add mod">
          <ac:chgData name="Iris Minnema" userId="5cff94b1-6c0b-4c1f-a712-473b84d89636" providerId="ADAL" clId="{B7B2C978-F2AB-234B-B797-232674CF87FB}" dt="2024-02-13T19:22:19.958" v="1168" actId="1076"/>
          <ac:spMkLst>
            <pc:docMk/>
            <pc:sldMk cId="3040644318" sldId="2146848759"/>
            <ac:spMk id="49" creationId="{07CC2DC4-E98D-8F47-D1F0-B49A102B3A2D}"/>
          </ac:spMkLst>
        </pc:spChg>
        <pc:spChg chg="add mod">
          <ac:chgData name="Iris Minnema" userId="5cff94b1-6c0b-4c1f-a712-473b84d89636" providerId="ADAL" clId="{B7B2C978-F2AB-234B-B797-232674CF87FB}" dt="2024-02-13T19:22:24.541" v="1169" actId="1076"/>
          <ac:spMkLst>
            <pc:docMk/>
            <pc:sldMk cId="3040644318" sldId="2146848759"/>
            <ac:spMk id="50" creationId="{AFBFAC81-6C2C-37D8-7293-270163ACF08D}"/>
          </ac:spMkLst>
        </pc:spChg>
        <pc:spChg chg="add del mod">
          <ac:chgData name="Iris Minnema" userId="5cff94b1-6c0b-4c1f-a712-473b84d89636" providerId="ADAL" clId="{B7B2C978-F2AB-234B-B797-232674CF87FB}" dt="2024-02-13T19:20:14.286" v="1098" actId="478"/>
          <ac:spMkLst>
            <pc:docMk/>
            <pc:sldMk cId="3040644318" sldId="2146848759"/>
            <ac:spMk id="51" creationId="{6D05F92A-64DA-5A1C-7EDA-CE882666F5B9}"/>
          </ac:spMkLst>
        </pc:spChg>
        <pc:spChg chg="add mod">
          <ac:chgData name="Iris Minnema" userId="5cff94b1-6c0b-4c1f-a712-473b84d89636" providerId="ADAL" clId="{B7B2C978-F2AB-234B-B797-232674CF87FB}" dt="2024-02-13T19:31:21.363" v="1220" actId="1076"/>
          <ac:spMkLst>
            <pc:docMk/>
            <pc:sldMk cId="3040644318" sldId="2146848759"/>
            <ac:spMk id="52" creationId="{72899A51-3267-50E8-E1E8-796ED7372A3C}"/>
          </ac:spMkLst>
        </pc:spChg>
        <pc:spChg chg="add mod">
          <ac:chgData name="Iris Minnema" userId="5cff94b1-6c0b-4c1f-a712-473b84d89636" providerId="ADAL" clId="{B7B2C978-F2AB-234B-B797-232674CF87FB}" dt="2024-02-13T19:29:27.883" v="1210" actId="1076"/>
          <ac:spMkLst>
            <pc:docMk/>
            <pc:sldMk cId="3040644318" sldId="2146848759"/>
            <ac:spMk id="56" creationId="{B08F65AC-1142-C74B-161D-A2EE644D0072}"/>
          </ac:spMkLst>
        </pc:spChg>
        <pc:spChg chg="add mod">
          <ac:chgData name="Iris Minnema" userId="5cff94b1-6c0b-4c1f-a712-473b84d89636" providerId="ADAL" clId="{B7B2C978-F2AB-234B-B797-232674CF87FB}" dt="2024-02-13T19:31:27.963" v="1221" actId="1076"/>
          <ac:spMkLst>
            <pc:docMk/>
            <pc:sldMk cId="3040644318" sldId="2146848759"/>
            <ac:spMk id="57" creationId="{E92F2CF3-9A52-884B-4B40-9FAE6E2989F9}"/>
          </ac:spMkLst>
        </pc:spChg>
        <pc:spChg chg="add mod">
          <ac:chgData name="Iris Minnema" userId="5cff94b1-6c0b-4c1f-a712-473b84d89636" providerId="ADAL" clId="{B7B2C978-F2AB-234B-B797-232674CF87FB}" dt="2024-02-13T19:29:49.483" v="1212" actId="1076"/>
          <ac:spMkLst>
            <pc:docMk/>
            <pc:sldMk cId="3040644318" sldId="2146848759"/>
            <ac:spMk id="58" creationId="{11C9B8E8-AC1D-B105-2934-A6F763037479}"/>
          </ac:spMkLst>
        </pc:spChg>
        <pc:spChg chg="add del mod">
          <ac:chgData name="Iris Minnema" userId="5cff94b1-6c0b-4c1f-a712-473b84d89636" providerId="ADAL" clId="{B7B2C978-F2AB-234B-B797-232674CF87FB}" dt="2024-02-13T20:16:02.329" v="1653" actId="478"/>
          <ac:spMkLst>
            <pc:docMk/>
            <pc:sldMk cId="3040644318" sldId="2146848759"/>
            <ac:spMk id="61" creationId="{F30D4E5F-AF15-848C-90E5-99FC7A564154}"/>
          </ac:spMkLst>
        </pc:spChg>
        <pc:spChg chg="add del mod">
          <ac:chgData name="Iris Minnema" userId="5cff94b1-6c0b-4c1f-a712-473b84d89636" providerId="ADAL" clId="{B7B2C978-F2AB-234B-B797-232674CF87FB}" dt="2024-02-13T20:16:50.368" v="1662" actId="478"/>
          <ac:spMkLst>
            <pc:docMk/>
            <pc:sldMk cId="3040644318" sldId="2146848759"/>
            <ac:spMk id="62" creationId="{B755B359-25ED-D085-484D-6A9FD88CB665}"/>
          </ac:spMkLst>
        </pc:spChg>
        <pc:spChg chg="add mod">
          <ac:chgData name="Iris Minnema" userId="5cff94b1-6c0b-4c1f-a712-473b84d89636" providerId="ADAL" clId="{B7B2C978-F2AB-234B-B797-232674CF87FB}" dt="2024-02-14T18:46:24.439" v="1751" actId="2711"/>
          <ac:spMkLst>
            <pc:docMk/>
            <pc:sldMk cId="3040644318" sldId="2146848759"/>
            <ac:spMk id="63" creationId="{A18A863C-127C-CDAF-3E1B-A3A2A1D99CD9}"/>
          </ac:spMkLst>
        </pc:spChg>
        <pc:spChg chg="add del mod">
          <ac:chgData name="Iris Minnema" userId="5cff94b1-6c0b-4c1f-a712-473b84d89636" providerId="ADAL" clId="{B7B2C978-F2AB-234B-B797-232674CF87FB}" dt="2024-02-13T20:16:13.332" v="1656" actId="478"/>
          <ac:spMkLst>
            <pc:docMk/>
            <pc:sldMk cId="3040644318" sldId="2146848759"/>
            <ac:spMk id="1024" creationId="{0EE46476-4110-DB1B-92A2-4890D4A64DBD}"/>
          </ac:spMkLst>
        </pc:spChg>
        <pc:grpChg chg="add mod">
          <ac:chgData name="Iris Minnema" userId="5cff94b1-6c0b-4c1f-a712-473b84d89636" providerId="ADAL" clId="{B7B2C978-F2AB-234B-B797-232674CF87FB}" dt="2024-02-12T08:35:24.381" v="847" actId="1076"/>
          <ac:grpSpMkLst>
            <pc:docMk/>
            <pc:sldMk cId="3040644318" sldId="2146848759"/>
            <ac:grpSpMk id="3" creationId="{0B9E9AB6-EDE1-5F09-621E-48C90E82546B}"/>
          </ac:grpSpMkLst>
        </pc:grpChg>
        <pc:grpChg chg="mod">
          <ac:chgData name="Iris Minnema" userId="5cff94b1-6c0b-4c1f-a712-473b84d89636" providerId="ADAL" clId="{B7B2C978-F2AB-234B-B797-232674CF87FB}" dt="2024-02-13T19:17:01.465" v="1062" actId="1076"/>
          <ac:grpSpMkLst>
            <pc:docMk/>
            <pc:sldMk cId="3040644318" sldId="2146848759"/>
            <ac:grpSpMk id="36" creationId="{EEB1BCCD-D99C-823E-1842-F9461CEA96C2}"/>
          </ac:grpSpMkLst>
        </pc:grpChg>
        <pc:grpChg chg="mod">
          <ac:chgData name="Iris Minnema" userId="5cff94b1-6c0b-4c1f-a712-473b84d89636" providerId="ADAL" clId="{B7B2C978-F2AB-234B-B797-232674CF87FB}" dt="2024-02-12T08:34:59.204" v="845" actId="1038"/>
          <ac:grpSpMkLst>
            <pc:docMk/>
            <pc:sldMk cId="3040644318" sldId="2146848759"/>
            <ac:grpSpMk id="37" creationId="{68F59C0E-C10D-DF93-A974-0BEAA0BE060E}"/>
          </ac:grpSpMkLst>
        </pc:grpChg>
        <pc:picChg chg="mod">
          <ac:chgData name="Iris Minnema" userId="5cff94b1-6c0b-4c1f-a712-473b84d89636" providerId="ADAL" clId="{B7B2C978-F2AB-234B-B797-232674CF87FB}" dt="2024-02-13T19:16:29.001" v="1057" actId="14100"/>
          <ac:picMkLst>
            <pc:docMk/>
            <pc:sldMk cId="3040644318" sldId="2146848759"/>
            <ac:picMk id="2" creationId="{F2B55906-7609-45D1-E6A1-FAE85CC75A40}"/>
          </ac:picMkLst>
        </pc:picChg>
        <pc:picChg chg="del mod">
          <ac:chgData name="Iris Minnema" userId="5cff94b1-6c0b-4c1f-a712-473b84d89636" providerId="ADAL" clId="{B7B2C978-F2AB-234B-B797-232674CF87FB}" dt="2024-02-12T08:36:47.688" v="901" actId="478"/>
          <ac:picMkLst>
            <pc:docMk/>
            <pc:sldMk cId="3040644318" sldId="2146848759"/>
            <ac:picMk id="4" creationId="{EE7D6635-1D68-5B6F-29CC-A4DE020C7E9F}"/>
          </ac:picMkLst>
        </pc:picChg>
        <pc:picChg chg="mod">
          <ac:chgData name="Iris Minnema" userId="5cff94b1-6c0b-4c1f-a712-473b84d89636" providerId="ADAL" clId="{B7B2C978-F2AB-234B-B797-232674CF87FB}" dt="2024-02-13T19:16:17.052" v="1056" actId="14100"/>
          <ac:picMkLst>
            <pc:docMk/>
            <pc:sldMk cId="3040644318" sldId="2146848759"/>
            <ac:picMk id="9" creationId="{6C887B74-B65A-9919-14D5-C790803B5B6B}"/>
          </ac:picMkLst>
        </pc:picChg>
        <pc:picChg chg="mod">
          <ac:chgData name="Iris Minnema" userId="5cff94b1-6c0b-4c1f-a712-473b84d89636" providerId="ADAL" clId="{B7B2C978-F2AB-234B-B797-232674CF87FB}" dt="2024-02-13T19:16:12.267" v="1055" actId="14100"/>
          <ac:picMkLst>
            <pc:docMk/>
            <pc:sldMk cId="3040644318" sldId="2146848759"/>
            <ac:picMk id="10" creationId="{610E2BBA-F971-292E-8532-CEC4C3325492}"/>
          </ac:picMkLst>
        </pc:picChg>
        <pc:picChg chg="mod">
          <ac:chgData name="Iris Minnema" userId="5cff94b1-6c0b-4c1f-a712-473b84d89636" providerId="ADAL" clId="{B7B2C978-F2AB-234B-B797-232674CF87FB}" dt="2024-02-13T19:17:14.932" v="1063" actId="1076"/>
          <ac:picMkLst>
            <pc:docMk/>
            <pc:sldMk cId="3040644318" sldId="2146848759"/>
            <ac:picMk id="11" creationId="{9E92B01B-E244-027F-512C-644DDF47D6C1}"/>
          </ac:picMkLst>
        </pc:picChg>
        <pc:picChg chg="add mod">
          <ac:chgData name="Iris Minnema" userId="5cff94b1-6c0b-4c1f-a712-473b84d89636" providerId="ADAL" clId="{B7B2C978-F2AB-234B-B797-232674CF87FB}" dt="2024-02-13T19:17:35.411" v="1066" actId="14100"/>
          <ac:picMkLst>
            <pc:docMk/>
            <pc:sldMk cId="3040644318" sldId="2146848759"/>
            <ac:picMk id="12" creationId="{08BFF803-6CC0-CBF2-5D94-839C04F4CE11}"/>
          </ac:picMkLst>
        </pc:picChg>
        <pc:picChg chg="add del mod">
          <ac:chgData name="Iris Minnema" userId="5cff94b1-6c0b-4c1f-a712-473b84d89636" providerId="ADAL" clId="{B7B2C978-F2AB-234B-B797-232674CF87FB}" dt="2024-02-13T19:05:49.799" v="989" actId="478"/>
          <ac:picMkLst>
            <pc:docMk/>
            <pc:sldMk cId="3040644318" sldId="2146848759"/>
            <ac:picMk id="14" creationId="{4B4314FA-D894-D283-7F6E-F522193CC470}"/>
          </ac:picMkLst>
        </pc:picChg>
        <pc:picChg chg="add del mod">
          <ac:chgData name="Iris Minnema" userId="5cff94b1-6c0b-4c1f-a712-473b84d89636" providerId="ADAL" clId="{B7B2C978-F2AB-234B-B797-232674CF87FB}" dt="2024-02-13T19:05:51.326" v="990" actId="478"/>
          <ac:picMkLst>
            <pc:docMk/>
            <pc:sldMk cId="3040644318" sldId="2146848759"/>
            <ac:picMk id="16" creationId="{0453A11A-5146-5E9B-5B85-CFB3D317CA41}"/>
          </ac:picMkLst>
        </pc:picChg>
        <pc:picChg chg="add mod">
          <ac:chgData name="Iris Minnema" userId="5cff94b1-6c0b-4c1f-a712-473b84d89636" providerId="ADAL" clId="{B7B2C978-F2AB-234B-B797-232674CF87FB}" dt="2024-02-13T19:21:11.991" v="1118" actId="1076"/>
          <ac:picMkLst>
            <pc:docMk/>
            <pc:sldMk cId="3040644318" sldId="2146848759"/>
            <ac:picMk id="1026" creationId="{085AD750-FC90-BFE4-9F8A-2C34FBB60D1D}"/>
          </ac:picMkLst>
        </pc:picChg>
        <pc:cxnChg chg="mod">
          <ac:chgData name="Iris Minnema" userId="5cff94b1-6c0b-4c1f-a712-473b84d89636" providerId="ADAL" clId="{B7B2C978-F2AB-234B-B797-232674CF87FB}" dt="2024-02-12T08:35:15.126" v="846"/>
          <ac:cxnSpMkLst>
            <pc:docMk/>
            <pc:sldMk cId="3040644318" sldId="2146848759"/>
            <ac:cxnSpMk id="5" creationId="{9FF03C6B-0E77-0D79-5DCB-F97357944DAF}"/>
          </ac:cxnSpMkLst>
        </pc:cxnChg>
        <pc:cxnChg chg="mod">
          <ac:chgData name="Iris Minnema" userId="5cff94b1-6c0b-4c1f-a712-473b84d89636" providerId="ADAL" clId="{B7B2C978-F2AB-234B-B797-232674CF87FB}" dt="2024-02-12T08:34:59.204" v="845" actId="1038"/>
          <ac:cxnSpMkLst>
            <pc:docMk/>
            <pc:sldMk cId="3040644318" sldId="2146848759"/>
            <ac:cxnSpMk id="18" creationId="{137B0D90-660D-BF7E-FEBD-056F0BF71D3A}"/>
          </ac:cxnSpMkLst>
        </pc:cxnChg>
        <pc:cxnChg chg="mod">
          <ac:chgData name="Iris Minnema" userId="5cff94b1-6c0b-4c1f-a712-473b84d89636" providerId="ADAL" clId="{B7B2C978-F2AB-234B-B797-232674CF87FB}" dt="2024-02-12T08:34:59.204" v="845" actId="1038"/>
          <ac:cxnSpMkLst>
            <pc:docMk/>
            <pc:sldMk cId="3040644318" sldId="2146848759"/>
            <ac:cxnSpMk id="20" creationId="{A52DF5CC-9FEC-7EEE-0CEB-0842C01B6863}"/>
          </ac:cxnSpMkLst>
        </pc:cxnChg>
        <pc:cxnChg chg="add mod">
          <ac:chgData name="Iris Minnema" userId="5cff94b1-6c0b-4c1f-a712-473b84d89636" providerId="ADAL" clId="{B7B2C978-F2AB-234B-B797-232674CF87FB}" dt="2024-02-13T19:21:05.180" v="1117" actId="1035"/>
          <ac:cxnSpMkLst>
            <pc:docMk/>
            <pc:sldMk cId="3040644318" sldId="2146848759"/>
            <ac:cxnSpMk id="22" creationId="{2E64B575-0EBC-6844-7F84-A9437B7099C2}"/>
          </ac:cxnSpMkLst>
        </pc:cxnChg>
        <pc:cxnChg chg="add mod">
          <ac:chgData name="Iris Minnema" userId="5cff94b1-6c0b-4c1f-a712-473b84d89636" providerId="ADAL" clId="{B7B2C978-F2AB-234B-B797-232674CF87FB}" dt="2024-02-13T19:21:05.180" v="1117" actId="1035"/>
          <ac:cxnSpMkLst>
            <pc:docMk/>
            <pc:sldMk cId="3040644318" sldId="2146848759"/>
            <ac:cxnSpMk id="23" creationId="{F9868F84-48ED-8355-29A1-D1B3529612EE}"/>
          </ac:cxnSpMkLst>
        </pc:cxnChg>
        <pc:cxnChg chg="add mod">
          <ac:chgData name="Iris Minnema" userId="5cff94b1-6c0b-4c1f-a712-473b84d89636" providerId="ADAL" clId="{B7B2C978-F2AB-234B-B797-232674CF87FB}" dt="2024-02-13T19:21:48.526" v="1164" actId="1038"/>
          <ac:cxnSpMkLst>
            <pc:docMk/>
            <pc:sldMk cId="3040644318" sldId="2146848759"/>
            <ac:cxnSpMk id="46" creationId="{74164DB0-5F91-BCD3-3BA8-298825D9AD50}"/>
          </ac:cxnSpMkLst>
        </pc:cxnChg>
        <pc:cxnChg chg="add mod">
          <ac:chgData name="Iris Minnema" userId="5cff94b1-6c0b-4c1f-a712-473b84d89636" providerId="ADAL" clId="{B7B2C978-F2AB-234B-B797-232674CF87FB}" dt="2024-02-13T19:31:37.345" v="1222" actId="1076"/>
          <ac:cxnSpMkLst>
            <pc:docMk/>
            <pc:sldMk cId="3040644318" sldId="2146848759"/>
            <ac:cxnSpMk id="55" creationId="{A59A156B-5AC5-C217-2146-80595634BDB1}"/>
          </ac:cxnSpMkLst>
        </pc:cxnChg>
        <pc:cxnChg chg="add mod">
          <ac:chgData name="Iris Minnema" userId="5cff94b1-6c0b-4c1f-a712-473b84d89636" providerId="ADAL" clId="{B7B2C978-F2AB-234B-B797-232674CF87FB}" dt="2024-02-13T19:32:55.741" v="1225" actId="1076"/>
          <ac:cxnSpMkLst>
            <pc:docMk/>
            <pc:sldMk cId="3040644318" sldId="2146848759"/>
            <ac:cxnSpMk id="59" creationId="{77B91E33-F241-6BCE-79C9-E5C8D7187541}"/>
          </ac:cxnSpMkLst>
        </pc:cxnChg>
      </pc:sldChg>
      <pc:sldChg chg="del">
        <pc:chgData name="Iris Minnema" userId="5cff94b1-6c0b-4c1f-a712-473b84d89636" providerId="ADAL" clId="{B7B2C978-F2AB-234B-B797-232674CF87FB}" dt="2024-02-11T19:11:35.141" v="424" actId="2696"/>
        <pc:sldMkLst>
          <pc:docMk/>
          <pc:sldMk cId="3900930461" sldId="2146848760"/>
        </pc:sldMkLst>
      </pc:sldChg>
      <pc:sldChg chg="del">
        <pc:chgData name="Iris Minnema" userId="5cff94b1-6c0b-4c1f-a712-473b84d89636" providerId="ADAL" clId="{B7B2C978-F2AB-234B-B797-232674CF87FB}" dt="2024-02-11T19:11:35.144" v="425" actId="2696"/>
        <pc:sldMkLst>
          <pc:docMk/>
          <pc:sldMk cId="1833944812" sldId="2146848761"/>
        </pc:sldMkLst>
      </pc:sldChg>
      <pc:sldChg chg="del">
        <pc:chgData name="Iris Minnema" userId="5cff94b1-6c0b-4c1f-a712-473b84d89636" providerId="ADAL" clId="{B7B2C978-F2AB-234B-B797-232674CF87FB}" dt="2024-02-11T19:11:35.147" v="428" actId="2696"/>
        <pc:sldMkLst>
          <pc:docMk/>
          <pc:sldMk cId="2772319155" sldId="2146848764"/>
        </pc:sldMkLst>
      </pc:sldChg>
      <pc:sldChg chg="modSp mod ord">
        <pc:chgData name="Iris Minnema" userId="5cff94b1-6c0b-4c1f-a712-473b84d89636" providerId="ADAL" clId="{B7B2C978-F2AB-234B-B797-232674CF87FB}" dt="2024-02-14T19:06:19.644" v="2434" actId="20578"/>
        <pc:sldMkLst>
          <pc:docMk/>
          <pc:sldMk cId="1915200776" sldId="2146848769"/>
        </pc:sldMkLst>
        <pc:spChg chg="mod">
          <ac:chgData name="Iris Minnema" userId="5cff94b1-6c0b-4c1f-a712-473b84d89636" providerId="ADAL" clId="{B7B2C978-F2AB-234B-B797-232674CF87FB}" dt="2024-02-13T20:19:10.758" v="1702" actId="207"/>
          <ac:spMkLst>
            <pc:docMk/>
            <pc:sldMk cId="1915200776" sldId="2146848769"/>
            <ac:spMk id="12" creationId="{4C47337D-A5F5-0C7E-B5CE-73F7CC38C1EE}"/>
          </ac:spMkLst>
        </pc:spChg>
      </pc:sldChg>
      <pc:sldChg chg="del">
        <pc:chgData name="Iris Minnema" userId="5cff94b1-6c0b-4c1f-a712-473b84d89636" providerId="ADAL" clId="{B7B2C978-F2AB-234B-B797-232674CF87FB}" dt="2024-02-11T19:11:35.106" v="413" actId="2696"/>
        <pc:sldMkLst>
          <pc:docMk/>
          <pc:sldMk cId="3977645342" sldId="2146848780"/>
        </pc:sldMkLst>
      </pc:sldChg>
      <pc:sldChg chg="del">
        <pc:chgData name="Iris Minnema" userId="5cff94b1-6c0b-4c1f-a712-473b84d89636" providerId="ADAL" clId="{B7B2C978-F2AB-234B-B797-232674CF87FB}" dt="2024-02-11T19:13:45.773" v="445" actId="2696"/>
        <pc:sldMkLst>
          <pc:docMk/>
          <pc:sldMk cId="2839750672" sldId="2146848789"/>
        </pc:sldMkLst>
      </pc:sldChg>
      <pc:sldChg chg="del">
        <pc:chgData name="Iris Minnema" userId="5cff94b1-6c0b-4c1f-a712-473b84d89636" providerId="ADAL" clId="{B7B2C978-F2AB-234B-B797-232674CF87FB}" dt="2024-02-11T19:11:35.146" v="427" actId="2696"/>
        <pc:sldMkLst>
          <pc:docMk/>
          <pc:sldMk cId="3906810809" sldId="2146848864"/>
        </pc:sldMkLst>
      </pc:sldChg>
      <pc:sldChg chg="del">
        <pc:chgData name="Iris Minnema" userId="5cff94b1-6c0b-4c1f-a712-473b84d89636" providerId="ADAL" clId="{B7B2C978-F2AB-234B-B797-232674CF87FB}" dt="2024-02-11T19:11:35.132" v="418" actId="2696"/>
        <pc:sldMkLst>
          <pc:docMk/>
          <pc:sldMk cId="2647904837" sldId="2146848955"/>
        </pc:sldMkLst>
      </pc:sldChg>
      <pc:sldChg chg="del">
        <pc:chgData name="Iris Minnema" userId="5cff94b1-6c0b-4c1f-a712-473b84d89636" providerId="ADAL" clId="{B7B2C978-F2AB-234B-B797-232674CF87FB}" dt="2024-02-11T19:11:04.776" v="409" actId="2696"/>
        <pc:sldMkLst>
          <pc:docMk/>
          <pc:sldMk cId="928231778" sldId="2146848956"/>
        </pc:sldMkLst>
      </pc:sldChg>
      <pc:sldChg chg="del">
        <pc:chgData name="Iris Minnema" userId="5cff94b1-6c0b-4c1f-a712-473b84d89636" providerId="ADAL" clId="{B7B2C978-F2AB-234B-B797-232674CF87FB}" dt="2024-02-11T19:11:35.158" v="431" actId="2696"/>
        <pc:sldMkLst>
          <pc:docMk/>
          <pc:sldMk cId="514384859" sldId="2146848957"/>
        </pc:sldMkLst>
      </pc:sldChg>
      <pc:sldChg chg="del">
        <pc:chgData name="Iris Minnema" userId="5cff94b1-6c0b-4c1f-a712-473b84d89636" providerId="ADAL" clId="{B7B2C978-F2AB-234B-B797-232674CF87FB}" dt="2024-02-11T19:11:35.137" v="421" actId="2696"/>
        <pc:sldMkLst>
          <pc:docMk/>
          <pc:sldMk cId="3383400114" sldId="2146848958"/>
        </pc:sldMkLst>
      </pc:sldChg>
      <pc:sldChg chg="del">
        <pc:chgData name="Iris Minnema" userId="5cff94b1-6c0b-4c1f-a712-473b84d89636" providerId="ADAL" clId="{B7B2C978-F2AB-234B-B797-232674CF87FB}" dt="2024-02-11T19:11:35.134" v="419" actId="2696"/>
        <pc:sldMkLst>
          <pc:docMk/>
          <pc:sldMk cId="181594316" sldId="2146848959"/>
        </pc:sldMkLst>
      </pc:sldChg>
      <pc:sldChg chg="del">
        <pc:chgData name="Iris Minnema" userId="5cff94b1-6c0b-4c1f-a712-473b84d89636" providerId="ADAL" clId="{B7B2C978-F2AB-234B-B797-232674CF87FB}" dt="2024-02-11T19:11:35.110" v="414" actId="2696"/>
        <pc:sldMkLst>
          <pc:docMk/>
          <pc:sldMk cId="2276214584" sldId="2146848961"/>
        </pc:sldMkLst>
      </pc:sldChg>
      <pc:sldChg chg="del">
        <pc:chgData name="Iris Minnema" userId="5cff94b1-6c0b-4c1f-a712-473b84d89636" providerId="ADAL" clId="{B7B2C978-F2AB-234B-B797-232674CF87FB}" dt="2024-02-11T19:11:35.101" v="411" actId="2696"/>
        <pc:sldMkLst>
          <pc:docMk/>
          <pc:sldMk cId="346386641" sldId="2146848963"/>
        </pc:sldMkLst>
      </pc:sldChg>
      <pc:sldChg chg="del">
        <pc:chgData name="Iris Minnema" userId="5cff94b1-6c0b-4c1f-a712-473b84d89636" providerId="ADAL" clId="{B7B2C978-F2AB-234B-B797-232674CF87FB}" dt="2024-02-11T19:11:35.124" v="417" actId="2696"/>
        <pc:sldMkLst>
          <pc:docMk/>
          <pc:sldMk cId="697841287" sldId="2146848966"/>
        </pc:sldMkLst>
      </pc:sldChg>
      <pc:sldChg chg="del">
        <pc:chgData name="Iris Minnema" userId="5cff94b1-6c0b-4c1f-a712-473b84d89636" providerId="ADAL" clId="{B7B2C978-F2AB-234B-B797-232674CF87FB}" dt="2024-02-11T19:11:35.139" v="422" actId="2696"/>
        <pc:sldMkLst>
          <pc:docMk/>
          <pc:sldMk cId="2264042176" sldId="2146848982"/>
        </pc:sldMkLst>
      </pc:sldChg>
      <pc:sldChg chg="del">
        <pc:chgData name="Iris Minnema" userId="5cff94b1-6c0b-4c1f-a712-473b84d89636" providerId="ADAL" clId="{B7B2C978-F2AB-234B-B797-232674CF87FB}" dt="2024-02-11T19:11:35.098" v="410" actId="2696"/>
        <pc:sldMkLst>
          <pc:docMk/>
          <pc:sldMk cId="1940546280" sldId="2146848999"/>
        </pc:sldMkLst>
      </pc:sldChg>
      <pc:sldChg chg="del">
        <pc:chgData name="Iris Minnema" userId="5cff94b1-6c0b-4c1f-a712-473b84d89636" providerId="ADAL" clId="{B7B2C978-F2AB-234B-B797-232674CF87FB}" dt="2024-02-11T19:11:35.152" v="429" actId="2696"/>
        <pc:sldMkLst>
          <pc:docMk/>
          <pc:sldMk cId="1053821929" sldId="2146849000"/>
        </pc:sldMkLst>
      </pc:sldChg>
      <pc:sldChg chg="del">
        <pc:chgData name="Iris Minnema" userId="5cff94b1-6c0b-4c1f-a712-473b84d89636" providerId="ADAL" clId="{B7B2C978-F2AB-234B-B797-232674CF87FB}" dt="2024-02-11T19:11:35.103" v="412" actId="2696"/>
        <pc:sldMkLst>
          <pc:docMk/>
          <pc:sldMk cId="3740432388" sldId="2146849001"/>
        </pc:sldMkLst>
      </pc:sldChg>
      <pc:sldChg chg="addSp modSp mod">
        <pc:chgData name="Iris Minnema" userId="5cff94b1-6c0b-4c1f-a712-473b84d89636" providerId="ADAL" clId="{B7B2C978-F2AB-234B-B797-232674CF87FB}" dt="2024-02-11T18:53:53.731" v="41" actId="20577"/>
        <pc:sldMkLst>
          <pc:docMk/>
          <pc:sldMk cId="4071551009" sldId="2146849003"/>
        </pc:sldMkLst>
        <pc:spChg chg="add mod">
          <ac:chgData name="Iris Minnema" userId="5cff94b1-6c0b-4c1f-a712-473b84d89636" providerId="ADAL" clId="{B7B2C978-F2AB-234B-B797-232674CF87FB}" dt="2024-02-11T18:53:53.731" v="41" actId="20577"/>
          <ac:spMkLst>
            <pc:docMk/>
            <pc:sldMk cId="4071551009" sldId="2146849003"/>
            <ac:spMk id="3" creationId="{CB2FDBE1-11C5-698D-FB8A-03C0272B8D2D}"/>
          </ac:spMkLst>
        </pc:spChg>
      </pc:sldChg>
      <pc:sldChg chg="del">
        <pc:chgData name="Iris Minnema" userId="5cff94b1-6c0b-4c1f-a712-473b84d89636" providerId="ADAL" clId="{B7B2C978-F2AB-234B-B797-232674CF87FB}" dt="2024-02-11T19:10:37.787" v="392" actId="2696"/>
        <pc:sldMkLst>
          <pc:docMk/>
          <pc:sldMk cId="323268784" sldId="2146849004"/>
        </pc:sldMkLst>
      </pc:sldChg>
      <pc:sldChg chg="del">
        <pc:chgData name="Iris Minnema" userId="5cff94b1-6c0b-4c1f-a712-473b84d89636" providerId="ADAL" clId="{B7B2C978-F2AB-234B-B797-232674CF87FB}" dt="2024-02-12T08:33:38.290" v="756" actId="2696"/>
        <pc:sldMkLst>
          <pc:docMk/>
          <pc:sldMk cId="357896241" sldId="2146849005"/>
        </pc:sldMkLst>
      </pc:sldChg>
      <pc:sldChg chg="addSp delSp modSp mod">
        <pc:chgData name="Iris Minnema" userId="5cff94b1-6c0b-4c1f-a712-473b84d89636" providerId="ADAL" clId="{B7B2C978-F2AB-234B-B797-232674CF87FB}" dt="2024-02-13T20:08:55.885" v="1414"/>
        <pc:sldMkLst>
          <pc:docMk/>
          <pc:sldMk cId="1025774212" sldId="2146849006"/>
        </pc:sldMkLst>
        <pc:spChg chg="add mod">
          <ac:chgData name="Iris Minnema" userId="5cff94b1-6c0b-4c1f-a712-473b84d89636" providerId="ADAL" clId="{B7B2C978-F2AB-234B-B797-232674CF87FB}" dt="2024-02-12T08:30:43.379" v="731" actId="1076"/>
          <ac:spMkLst>
            <pc:docMk/>
            <pc:sldMk cId="1025774212" sldId="2146849006"/>
            <ac:spMk id="3" creationId="{B7E72A5D-3AD1-753E-3737-41516AA67DAA}"/>
          </ac:spMkLst>
        </pc:spChg>
        <pc:spChg chg="del">
          <ac:chgData name="Iris Minnema" userId="5cff94b1-6c0b-4c1f-a712-473b84d89636" providerId="ADAL" clId="{B7B2C978-F2AB-234B-B797-232674CF87FB}" dt="2024-02-12T08:28:13.958" v="701" actId="478"/>
          <ac:spMkLst>
            <pc:docMk/>
            <pc:sldMk cId="1025774212" sldId="2146849006"/>
            <ac:spMk id="4" creationId="{56A3F099-0558-97A5-89CE-3270219B0320}"/>
          </ac:spMkLst>
        </pc:spChg>
        <pc:spChg chg="add mod">
          <ac:chgData name="Iris Minnema" userId="5cff94b1-6c0b-4c1f-a712-473b84d89636" providerId="ADAL" clId="{B7B2C978-F2AB-234B-B797-232674CF87FB}" dt="2024-02-13T20:08:55.885" v="1414"/>
          <ac:spMkLst>
            <pc:docMk/>
            <pc:sldMk cId="1025774212" sldId="2146849006"/>
            <ac:spMk id="4" creationId="{6A0104BA-A695-F107-1A51-F0155B5EE7A0}"/>
          </ac:spMkLst>
        </pc:spChg>
        <pc:spChg chg="mod">
          <ac:chgData name="Iris Minnema" userId="5cff94b1-6c0b-4c1f-a712-473b84d89636" providerId="ADAL" clId="{B7B2C978-F2AB-234B-B797-232674CF87FB}" dt="2024-02-12T08:28:54.227" v="722" actId="20577"/>
          <ac:spMkLst>
            <pc:docMk/>
            <pc:sldMk cId="1025774212" sldId="2146849006"/>
            <ac:spMk id="24" creationId="{A7B806A3-B086-2B70-6094-CE7E2D7E7D40}"/>
          </ac:spMkLst>
        </pc:spChg>
        <pc:spChg chg="mod">
          <ac:chgData name="Iris Minnema" userId="5cff94b1-6c0b-4c1f-a712-473b84d89636" providerId="ADAL" clId="{B7B2C978-F2AB-234B-B797-232674CF87FB}" dt="2024-02-12T08:32:45.823" v="749" actId="1035"/>
          <ac:spMkLst>
            <pc:docMk/>
            <pc:sldMk cId="1025774212" sldId="2146849006"/>
            <ac:spMk id="27" creationId="{824F1C84-7629-4590-3EB0-1E813FEF4C89}"/>
          </ac:spMkLst>
        </pc:spChg>
        <pc:spChg chg="mod">
          <ac:chgData name="Iris Minnema" userId="5cff94b1-6c0b-4c1f-a712-473b84d89636" providerId="ADAL" clId="{B7B2C978-F2AB-234B-B797-232674CF87FB}" dt="2024-02-12T08:33:09.648" v="752"/>
          <ac:spMkLst>
            <pc:docMk/>
            <pc:sldMk cId="1025774212" sldId="2146849006"/>
            <ac:spMk id="28" creationId="{A8247EAB-BD47-A97D-4DA2-D4F5335B65C8}"/>
          </ac:spMkLst>
        </pc:spChg>
        <pc:spChg chg="mod">
          <ac:chgData name="Iris Minnema" userId="5cff94b1-6c0b-4c1f-a712-473b84d89636" providerId="ADAL" clId="{B7B2C978-F2AB-234B-B797-232674CF87FB}" dt="2024-02-12T08:32:45.823" v="749" actId="1035"/>
          <ac:spMkLst>
            <pc:docMk/>
            <pc:sldMk cId="1025774212" sldId="2146849006"/>
            <ac:spMk id="31" creationId="{5FF5DC7D-735B-0360-AB2F-54624382F425}"/>
          </ac:spMkLst>
        </pc:spChg>
        <pc:spChg chg="mod">
          <ac:chgData name="Iris Minnema" userId="5cff94b1-6c0b-4c1f-a712-473b84d89636" providerId="ADAL" clId="{B7B2C978-F2AB-234B-B797-232674CF87FB}" dt="2024-02-12T08:30:01.347" v="726" actId="1076"/>
          <ac:spMkLst>
            <pc:docMk/>
            <pc:sldMk cId="1025774212" sldId="2146849006"/>
            <ac:spMk id="36" creationId="{A0A8FC21-CA2A-46A4-43C8-512C88E756DD}"/>
          </ac:spMkLst>
        </pc:spChg>
        <pc:spChg chg="del">
          <ac:chgData name="Iris Minnema" userId="5cff94b1-6c0b-4c1f-a712-473b84d89636" providerId="ADAL" clId="{B7B2C978-F2AB-234B-B797-232674CF87FB}" dt="2024-02-12T08:30:36.431" v="730" actId="478"/>
          <ac:spMkLst>
            <pc:docMk/>
            <pc:sldMk cId="1025774212" sldId="2146849006"/>
            <ac:spMk id="37" creationId="{4FAB7F1C-BE28-CBA2-2BDF-3E827EB79646}"/>
          </ac:spMkLst>
        </pc:spChg>
        <pc:picChg chg="add mod">
          <ac:chgData name="Iris Minnema" userId="5cff94b1-6c0b-4c1f-a712-473b84d89636" providerId="ADAL" clId="{B7B2C978-F2AB-234B-B797-232674CF87FB}" dt="2024-02-12T08:29:10.907" v="723" actId="2085"/>
          <ac:picMkLst>
            <pc:docMk/>
            <pc:sldMk cId="1025774212" sldId="2146849006"/>
            <ac:picMk id="2" creationId="{F90CBD1A-8DBE-6075-AF6F-6197AAB609B2}"/>
          </ac:picMkLst>
        </pc:picChg>
        <pc:picChg chg="add mod">
          <ac:chgData name="Iris Minnema" userId="5cff94b1-6c0b-4c1f-a712-473b84d89636" providerId="ADAL" clId="{B7B2C978-F2AB-234B-B797-232674CF87FB}" dt="2024-02-12T08:32:25.512" v="740" actId="1076"/>
          <ac:picMkLst>
            <pc:docMk/>
            <pc:sldMk cId="1025774212" sldId="2146849006"/>
            <ac:picMk id="5" creationId="{F7E7148C-515A-7F57-6920-E97F7A2E97AB}"/>
          </ac:picMkLst>
        </pc:picChg>
        <pc:picChg chg="mod">
          <ac:chgData name="Iris Minnema" userId="5cff94b1-6c0b-4c1f-a712-473b84d89636" providerId="ADAL" clId="{B7B2C978-F2AB-234B-B797-232674CF87FB}" dt="2024-02-12T08:29:10.907" v="723" actId="2085"/>
          <ac:picMkLst>
            <pc:docMk/>
            <pc:sldMk cId="1025774212" sldId="2146849006"/>
            <ac:picMk id="20" creationId="{AC26C4C9-5BBD-9EF3-E3C2-0C6BC6FAD2F5}"/>
          </ac:picMkLst>
        </pc:picChg>
        <pc:picChg chg="del">
          <ac:chgData name="Iris Minnema" userId="5cff94b1-6c0b-4c1f-a712-473b84d89636" providerId="ADAL" clId="{B7B2C978-F2AB-234B-B797-232674CF87FB}" dt="2024-02-12T08:28:24.959" v="703" actId="478"/>
          <ac:picMkLst>
            <pc:docMk/>
            <pc:sldMk cId="1025774212" sldId="2146849006"/>
            <ac:picMk id="21" creationId="{970360D0-4903-6051-7578-6E00A25C7859}"/>
          </ac:picMkLst>
        </pc:picChg>
        <pc:picChg chg="mod">
          <ac:chgData name="Iris Minnema" userId="5cff94b1-6c0b-4c1f-a712-473b84d89636" providerId="ADAL" clId="{B7B2C978-F2AB-234B-B797-232674CF87FB}" dt="2024-02-12T08:29:10.907" v="723" actId="2085"/>
          <ac:picMkLst>
            <pc:docMk/>
            <pc:sldMk cId="1025774212" sldId="2146849006"/>
            <ac:picMk id="22" creationId="{820B64CC-F863-40DB-5115-18890545746C}"/>
          </ac:picMkLst>
        </pc:picChg>
        <pc:picChg chg="mod">
          <ac:chgData name="Iris Minnema" userId="5cff94b1-6c0b-4c1f-a712-473b84d89636" providerId="ADAL" clId="{B7B2C978-F2AB-234B-B797-232674CF87FB}" dt="2024-02-12T08:32:39.612" v="741" actId="1076"/>
          <ac:picMkLst>
            <pc:docMk/>
            <pc:sldMk cId="1025774212" sldId="2146849006"/>
            <ac:picMk id="23" creationId="{E504F343-3E97-A328-0469-CE0809F35BDD}"/>
          </ac:picMkLst>
        </pc:picChg>
        <pc:picChg chg="del mod">
          <ac:chgData name="Iris Minnema" userId="5cff94b1-6c0b-4c1f-a712-473b84d89636" providerId="ADAL" clId="{B7B2C978-F2AB-234B-B797-232674CF87FB}" dt="2024-02-12T08:29:37.298" v="724" actId="478"/>
          <ac:picMkLst>
            <pc:docMk/>
            <pc:sldMk cId="1025774212" sldId="2146849006"/>
            <ac:picMk id="39" creationId="{39CE45C4-96D1-5133-06F6-A1568F424D81}"/>
          </ac:picMkLst>
        </pc:picChg>
        <pc:cxnChg chg="add mod">
          <ac:chgData name="Iris Minnema" userId="5cff94b1-6c0b-4c1f-a712-473b84d89636" providerId="ADAL" clId="{B7B2C978-F2AB-234B-B797-232674CF87FB}" dt="2024-02-13T20:08:55.885" v="1414"/>
          <ac:cxnSpMkLst>
            <pc:docMk/>
            <pc:sldMk cId="1025774212" sldId="2146849006"/>
            <ac:cxnSpMk id="6" creationId="{2159F65F-F289-85FF-DD11-283DF33DE887}"/>
          </ac:cxnSpMkLst>
        </pc:cxnChg>
        <pc:cxnChg chg="del">
          <ac:chgData name="Iris Minnema" userId="5cff94b1-6c0b-4c1f-a712-473b84d89636" providerId="ADAL" clId="{B7B2C978-F2AB-234B-B797-232674CF87FB}" dt="2024-02-12T08:28:15.978" v="702" actId="478"/>
          <ac:cxnSpMkLst>
            <pc:docMk/>
            <pc:sldMk cId="1025774212" sldId="2146849006"/>
            <ac:cxnSpMk id="14" creationId="{21F43D16-083F-DD83-48EA-C4C19CF0278F}"/>
          </ac:cxnSpMkLst>
        </pc:cxnChg>
        <pc:cxnChg chg="mod">
          <ac:chgData name="Iris Minnema" userId="5cff94b1-6c0b-4c1f-a712-473b84d89636" providerId="ADAL" clId="{B7B2C978-F2AB-234B-B797-232674CF87FB}" dt="2024-02-12T08:32:45.823" v="749" actId="1035"/>
          <ac:cxnSpMkLst>
            <pc:docMk/>
            <pc:sldMk cId="1025774212" sldId="2146849006"/>
            <ac:cxnSpMk id="32" creationId="{5FEC04E8-1D7A-1A8B-40F5-AF8DAB303977}"/>
          </ac:cxnSpMkLst>
        </pc:cxnChg>
      </pc:sldChg>
      <pc:sldChg chg="addSp delSp modSp mod">
        <pc:chgData name="Iris Minnema" userId="5cff94b1-6c0b-4c1f-a712-473b84d89636" providerId="ADAL" clId="{B7B2C978-F2AB-234B-B797-232674CF87FB}" dt="2024-02-14T18:45:29.923" v="1750" actId="2711"/>
        <pc:sldMkLst>
          <pc:docMk/>
          <pc:sldMk cId="3853740128" sldId="2146849007"/>
        </pc:sldMkLst>
        <pc:spChg chg="mod">
          <ac:chgData name="Iris Minnema" userId="5cff94b1-6c0b-4c1f-a712-473b84d89636" providerId="ADAL" clId="{B7B2C978-F2AB-234B-B797-232674CF87FB}" dt="2024-02-11T19:05:55.086" v="328" actId="20577"/>
          <ac:spMkLst>
            <pc:docMk/>
            <pc:sldMk cId="3853740128" sldId="2146849007"/>
            <ac:spMk id="2" creationId="{837D7013-8B7E-49FB-CC41-EB386818A935}"/>
          </ac:spMkLst>
        </pc:spChg>
        <pc:spChg chg="mod">
          <ac:chgData name="Iris Minnema" userId="5cff94b1-6c0b-4c1f-a712-473b84d89636" providerId="ADAL" clId="{B7B2C978-F2AB-234B-B797-232674CF87FB}" dt="2024-02-14T18:45:29.923" v="1750" actId="2711"/>
          <ac:spMkLst>
            <pc:docMk/>
            <pc:sldMk cId="3853740128" sldId="2146849007"/>
            <ac:spMk id="5" creationId="{499001B5-4516-A57F-3529-3998361D5D54}"/>
          </ac:spMkLst>
        </pc:spChg>
        <pc:spChg chg="mod">
          <ac:chgData name="Iris Minnema" userId="5cff94b1-6c0b-4c1f-a712-473b84d89636" providerId="ADAL" clId="{B7B2C978-F2AB-234B-B797-232674CF87FB}" dt="2024-02-14T18:45:29.923" v="1750" actId="2711"/>
          <ac:spMkLst>
            <pc:docMk/>
            <pc:sldMk cId="3853740128" sldId="2146849007"/>
            <ac:spMk id="6" creationId="{BDB230E4-EFC8-CA0A-80AF-90F89D8BA816}"/>
          </ac:spMkLst>
        </pc:spChg>
        <pc:spChg chg="mod">
          <ac:chgData name="Iris Minnema" userId="5cff94b1-6c0b-4c1f-a712-473b84d89636" providerId="ADAL" clId="{B7B2C978-F2AB-234B-B797-232674CF87FB}" dt="2024-02-14T18:45:29.923" v="1750" actId="2711"/>
          <ac:spMkLst>
            <pc:docMk/>
            <pc:sldMk cId="3853740128" sldId="2146849007"/>
            <ac:spMk id="7" creationId="{6C3F5200-92C0-4A53-3BC4-0278C3118800}"/>
          </ac:spMkLst>
        </pc:spChg>
        <pc:spChg chg="mod">
          <ac:chgData name="Iris Minnema" userId="5cff94b1-6c0b-4c1f-a712-473b84d89636" providerId="ADAL" clId="{B7B2C978-F2AB-234B-B797-232674CF87FB}" dt="2024-02-14T18:45:29.923" v="1750" actId="2711"/>
          <ac:spMkLst>
            <pc:docMk/>
            <pc:sldMk cId="3853740128" sldId="2146849007"/>
            <ac:spMk id="8" creationId="{C22DC415-13F3-C77E-3DA9-A0A9C6B94935}"/>
          </ac:spMkLst>
        </pc:spChg>
        <pc:spChg chg="mod">
          <ac:chgData name="Iris Minnema" userId="5cff94b1-6c0b-4c1f-a712-473b84d89636" providerId="ADAL" clId="{B7B2C978-F2AB-234B-B797-232674CF87FB}" dt="2024-02-14T18:45:29.923" v="1750" actId="2711"/>
          <ac:spMkLst>
            <pc:docMk/>
            <pc:sldMk cId="3853740128" sldId="2146849007"/>
            <ac:spMk id="9" creationId="{BD8DF42F-4E2F-E5B1-4AE0-B4A811BA0DC1}"/>
          </ac:spMkLst>
        </pc:spChg>
        <pc:spChg chg="del">
          <ac:chgData name="Iris Minnema" userId="5cff94b1-6c0b-4c1f-a712-473b84d89636" providerId="ADAL" clId="{B7B2C978-F2AB-234B-B797-232674CF87FB}" dt="2024-02-11T19:08:12.801" v="380" actId="478"/>
          <ac:spMkLst>
            <pc:docMk/>
            <pc:sldMk cId="3853740128" sldId="2146849007"/>
            <ac:spMk id="10" creationId="{92235698-05DB-85B7-CC83-03A2FA17D4D4}"/>
          </ac:spMkLst>
        </pc:spChg>
        <pc:spChg chg="del mod">
          <ac:chgData name="Iris Minnema" userId="5cff94b1-6c0b-4c1f-a712-473b84d89636" providerId="ADAL" clId="{B7B2C978-F2AB-234B-B797-232674CF87FB}" dt="2024-02-11T19:08:06.647" v="378" actId="478"/>
          <ac:spMkLst>
            <pc:docMk/>
            <pc:sldMk cId="3853740128" sldId="2146849007"/>
            <ac:spMk id="11" creationId="{C4B97A39-99E1-2634-CF96-A74E54047F53}"/>
          </ac:spMkLst>
        </pc:spChg>
        <pc:spChg chg="add del mod">
          <ac:chgData name="Iris Minnema" userId="5cff94b1-6c0b-4c1f-a712-473b84d89636" providerId="ADAL" clId="{B7B2C978-F2AB-234B-B797-232674CF87FB}" dt="2024-02-11T19:08:40.081" v="386" actId="478"/>
          <ac:spMkLst>
            <pc:docMk/>
            <pc:sldMk cId="3853740128" sldId="2146849007"/>
            <ac:spMk id="14" creationId="{76B43B82-F7C7-0E2D-8CA3-9E32939BD9AB}"/>
          </ac:spMkLst>
        </pc:spChg>
        <pc:spChg chg="add del mod">
          <ac:chgData name="Iris Minnema" userId="5cff94b1-6c0b-4c1f-a712-473b84d89636" providerId="ADAL" clId="{B7B2C978-F2AB-234B-B797-232674CF87FB}" dt="2024-02-13T20:01:54.077" v="1290" actId="478"/>
          <ac:spMkLst>
            <pc:docMk/>
            <pc:sldMk cId="3853740128" sldId="2146849007"/>
            <ac:spMk id="15" creationId="{FE6DE06C-886A-FA28-CB01-133D52EE4E00}"/>
          </ac:spMkLst>
        </pc:spChg>
        <pc:picChg chg="del">
          <ac:chgData name="Iris Minnema" userId="5cff94b1-6c0b-4c1f-a712-473b84d89636" providerId="ADAL" clId="{B7B2C978-F2AB-234B-B797-232674CF87FB}" dt="2024-02-11T19:08:09.864" v="379" actId="478"/>
          <ac:picMkLst>
            <pc:docMk/>
            <pc:sldMk cId="3853740128" sldId="2146849007"/>
            <ac:picMk id="12" creationId="{C1DF8802-2D0E-18DB-19DB-6D4DD3C47D4D}"/>
          </ac:picMkLst>
        </pc:picChg>
        <pc:picChg chg="del mod">
          <ac:chgData name="Iris Minnema" userId="5cff94b1-6c0b-4c1f-a712-473b84d89636" providerId="ADAL" clId="{B7B2C978-F2AB-234B-B797-232674CF87FB}" dt="2024-02-11T19:08:51.679" v="388" actId="478"/>
          <ac:picMkLst>
            <pc:docMk/>
            <pc:sldMk cId="3853740128" sldId="2146849007"/>
            <ac:picMk id="13" creationId="{A2B77A84-8FEE-AA2A-00C3-8E99BBE2757A}"/>
          </ac:picMkLst>
        </pc:picChg>
        <pc:picChg chg="add del mod">
          <ac:chgData name="Iris Minnema" userId="5cff94b1-6c0b-4c1f-a712-473b84d89636" providerId="ADAL" clId="{B7B2C978-F2AB-234B-B797-232674CF87FB}" dt="2024-02-13T20:01:46.696" v="1288" actId="478"/>
          <ac:picMkLst>
            <pc:docMk/>
            <pc:sldMk cId="3853740128" sldId="2146849007"/>
            <ac:picMk id="16" creationId="{8225D426-5D2D-7826-0390-BEDFFA576BA6}"/>
          </ac:picMkLst>
        </pc:picChg>
        <pc:cxnChg chg="mod">
          <ac:chgData name="Iris Minnema" userId="5cff94b1-6c0b-4c1f-a712-473b84d89636" providerId="ADAL" clId="{B7B2C978-F2AB-234B-B797-232674CF87FB}" dt="2024-02-11T19:13:16.772" v="444" actId="1076"/>
          <ac:cxnSpMkLst>
            <pc:docMk/>
            <pc:sldMk cId="3853740128" sldId="2146849007"/>
            <ac:cxnSpMk id="3" creationId="{BED3221A-F29E-43E5-6A28-08F770D7720E}"/>
          </ac:cxnSpMkLst>
        </pc:cxnChg>
      </pc:sldChg>
      <pc:sldChg chg="del ord">
        <pc:chgData name="Iris Minnema" userId="5cff94b1-6c0b-4c1f-a712-473b84d89636" providerId="ADAL" clId="{B7B2C978-F2AB-234B-B797-232674CF87FB}" dt="2024-02-11T18:56:34.683" v="152" actId="2696"/>
        <pc:sldMkLst>
          <pc:docMk/>
          <pc:sldMk cId="2175468528" sldId="2146849008"/>
        </pc:sldMkLst>
      </pc:sldChg>
      <pc:sldChg chg="del">
        <pc:chgData name="Iris Minnema" userId="5cff94b1-6c0b-4c1f-a712-473b84d89636" providerId="ADAL" clId="{B7B2C978-F2AB-234B-B797-232674CF87FB}" dt="2024-02-11T19:04:03.925" v="291" actId="2696"/>
        <pc:sldMkLst>
          <pc:docMk/>
          <pc:sldMk cId="1954958240" sldId="2146849009"/>
        </pc:sldMkLst>
      </pc:sldChg>
      <pc:sldChg chg="modSp add mod ord">
        <pc:chgData name="Iris Minnema" userId="5cff94b1-6c0b-4c1f-a712-473b84d89636" providerId="ADAL" clId="{B7B2C978-F2AB-234B-B797-232674CF87FB}" dt="2024-02-14T19:02:34.945" v="2429" actId="255"/>
        <pc:sldMkLst>
          <pc:docMk/>
          <pc:sldMk cId="3074706286" sldId="2146849010"/>
        </pc:sldMkLst>
        <pc:spChg chg="mod">
          <ac:chgData name="Iris Minnema" userId="5cff94b1-6c0b-4c1f-a712-473b84d89636" providerId="ADAL" clId="{B7B2C978-F2AB-234B-B797-232674CF87FB}" dt="2024-02-14T19:02:34.945" v="2429" actId="255"/>
          <ac:spMkLst>
            <pc:docMk/>
            <pc:sldMk cId="3074706286" sldId="2146849010"/>
            <ac:spMk id="2" creationId="{02E450C0-FE33-D875-FB2D-CE57CBAFA2D2}"/>
          </ac:spMkLst>
        </pc:spChg>
        <pc:spChg chg="mod">
          <ac:chgData name="Iris Minnema" userId="5cff94b1-6c0b-4c1f-a712-473b84d89636" providerId="ADAL" clId="{B7B2C978-F2AB-234B-B797-232674CF87FB}" dt="2024-02-11T18:54:23.901" v="44" actId="20577"/>
          <ac:spMkLst>
            <pc:docMk/>
            <pc:sldMk cId="3074706286" sldId="2146849010"/>
            <ac:spMk id="5" creationId="{F6A35D09-C8F9-68F5-8689-3C12BE7D15E9}"/>
          </ac:spMkLst>
        </pc:spChg>
      </pc:sldChg>
      <pc:sldChg chg="ord">
        <pc:chgData name="Iris Minnema" userId="5cff94b1-6c0b-4c1f-a712-473b84d89636" providerId="ADAL" clId="{B7B2C978-F2AB-234B-B797-232674CF87FB}" dt="2024-02-14T19:06:02.411" v="2432" actId="20578"/>
        <pc:sldMkLst>
          <pc:docMk/>
          <pc:sldMk cId="1583815846" sldId="2146849803"/>
        </pc:sldMkLst>
      </pc:sldChg>
      <pc:sldChg chg="modSp add mod">
        <pc:chgData name="Iris Minnema" userId="5cff94b1-6c0b-4c1f-a712-473b84d89636" providerId="ADAL" clId="{B7B2C978-F2AB-234B-B797-232674CF87FB}" dt="2024-02-13T20:20:21.904" v="1749" actId="207"/>
        <pc:sldMkLst>
          <pc:docMk/>
          <pc:sldMk cId="2525588397" sldId="2146849808"/>
        </pc:sldMkLst>
        <pc:spChg chg="mod">
          <ac:chgData name="Iris Minnema" userId="5cff94b1-6c0b-4c1f-a712-473b84d89636" providerId="ADAL" clId="{B7B2C978-F2AB-234B-B797-232674CF87FB}" dt="2024-02-13T20:20:21.904" v="1749" actId="207"/>
          <ac:spMkLst>
            <pc:docMk/>
            <pc:sldMk cId="2525588397" sldId="2146849808"/>
            <ac:spMk id="65" creationId="{EA4D1FF0-2939-3634-8AB3-B1DF2BBA6585}"/>
          </ac:spMkLst>
        </pc:spChg>
      </pc:sldChg>
      <pc:sldChg chg="addSp delSp modSp add del mod">
        <pc:chgData name="Iris Minnema" userId="5cff94b1-6c0b-4c1f-a712-473b84d89636" providerId="ADAL" clId="{B7B2C978-F2AB-234B-B797-232674CF87FB}" dt="2024-02-13T20:17:58.346" v="1669" actId="2696"/>
        <pc:sldMkLst>
          <pc:docMk/>
          <pc:sldMk cId="1304147996" sldId="2146849809"/>
        </pc:sldMkLst>
        <pc:spChg chg="del">
          <ac:chgData name="Iris Minnema" userId="5cff94b1-6c0b-4c1f-a712-473b84d89636" providerId="ADAL" clId="{B7B2C978-F2AB-234B-B797-232674CF87FB}" dt="2024-02-13T18:49:10.502" v="943" actId="478"/>
          <ac:spMkLst>
            <pc:docMk/>
            <pc:sldMk cId="1304147996" sldId="2146849809"/>
            <ac:spMk id="4" creationId="{2F65B193-F74F-B44B-BB4D-09FEA6579DFE}"/>
          </ac:spMkLst>
        </pc:spChg>
        <pc:spChg chg="del">
          <ac:chgData name="Iris Minnema" userId="5cff94b1-6c0b-4c1f-a712-473b84d89636" providerId="ADAL" clId="{B7B2C978-F2AB-234B-B797-232674CF87FB}" dt="2024-02-13T18:49:10.502" v="943" actId="478"/>
          <ac:spMkLst>
            <pc:docMk/>
            <pc:sldMk cId="1304147996" sldId="2146849809"/>
            <ac:spMk id="13" creationId="{C8126F1C-8944-B32E-73C6-D69E3B0B8B02}"/>
          </ac:spMkLst>
        </pc:spChg>
        <pc:spChg chg="del">
          <ac:chgData name="Iris Minnema" userId="5cff94b1-6c0b-4c1f-a712-473b84d89636" providerId="ADAL" clId="{B7B2C978-F2AB-234B-B797-232674CF87FB}" dt="2024-02-13T18:49:10.502" v="943" actId="478"/>
          <ac:spMkLst>
            <pc:docMk/>
            <pc:sldMk cId="1304147996" sldId="2146849809"/>
            <ac:spMk id="15" creationId="{36299EE8-2D73-6ACC-BA62-4D03D91D76EF}"/>
          </ac:spMkLst>
        </pc:spChg>
        <pc:spChg chg="del">
          <ac:chgData name="Iris Minnema" userId="5cff94b1-6c0b-4c1f-a712-473b84d89636" providerId="ADAL" clId="{B7B2C978-F2AB-234B-B797-232674CF87FB}" dt="2024-02-13T18:49:10.502" v="943" actId="478"/>
          <ac:spMkLst>
            <pc:docMk/>
            <pc:sldMk cId="1304147996" sldId="2146849809"/>
            <ac:spMk id="21" creationId="{D422B9F3-3DBE-402B-1C58-CFE4B97E097D}"/>
          </ac:spMkLst>
        </pc:spChg>
        <pc:spChg chg="del">
          <ac:chgData name="Iris Minnema" userId="5cff94b1-6c0b-4c1f-a712-473b84d89636" providerId="ADAL" clId="{B7B2C978-F2AB-234B-B797-232674CF87FB}" dt="2024-02-13T18:49:10.502" v="943" actId="478"/>
          <ac:spMkLst>
            <pc:docMk/>
            <pc:sldMk cId="1304147996" sldId="2146849809"/>
            <ac:spMk id="24" creationId="{770AE540-2040-4581-75C6-A6E8E778B6E2}"/>
          </ac:spMkLst>
        </pc:spChg>
        <pc:spChg chg="del">
          <ac:chgData name="Iris Minnema" userId="5cff94b1-6c0b-4c1f-a712-473b84d89636" providerId="ADAL" clId="{B7B2C978-F2AB-234B-B797-232674CF87FB}" dt="2024-02-13T18:49:10.502" v="943" actId="478"/>
          <ac:spMkLst>
            <pc:docMk/>
            <pc:sldMk cId="1304147996" sldId="2146849809"/>
            <ac:spMk id="25" creationId="{E5B4C34F-0363-6EFE-EE2A-6E6FBD6BBC42}"/>
          </ac:spMkLst>
        </pc:spChg>
        <pc:spChg chg="del">
          <ac:chgData name="Iris Minnema" userId="5cff94b1-6c0b-4c1f-a712-473b84d89636" providerId="ADAL" clId="{B7B2C978-F2AB-234B-B797-232674CF87FB}" dt="2024-02-13T18:49:10.502" v="943" actId="478"/>
          <ac:spMkLst>
            <pc:docMk/>
            <pc:sldMk cId="1304147996" sldId="2146849809"/>
            <ac:spMk id="26" creationId="{D50BD4AD-C91F-737B-926D-1A63C7923028}"/>
          </ac:spMkLst>
        </pc:spChg>
        <pc:spChg chg="del">
          <ac:chgData name="Iris Minnema" userId="5cff94b1-6c0b-4c1f-a712-473b84d89636" providerId="ADAL" clId="{B7B2C978-F2AB-234B-B797-232674CF87FB}" dt="2024-02-13T18:49:10.502" v="943" actId="478"/>
          <ac:spMkLst>
            <pc:docMk/>
            <pc:sldMk cId="1304147996" sldId="2146849809"/>
            <ac:spMk id="27" creationId="{072DB805-1FCC-7696-F935-62672AA21B3F}"/>
          </ac:spMkLst>
        </pc:spChg>
        <pc:spChg chg="del">
          <ac:chgData name="Iris Minnema" userId="5cff94b1-6c0b-4c1f-a712-473b84d89636" providerId="ADAL" clId="{B7B2C978-F2AB-234B-B797-232674CF87FB}" dt="2024-02-13T18:49:10.502" v="943" actId="478"/>
          <ac:spMkLst>
            <pc:docMk/>
            <pc:sldMk cId="1304147996" sldId="2146849809"/>
            <ac:spMk id="29" creationId="{F266957B-8322-D8E9-AC2D-862D0DBA5B3F}"/>
          </ac:spMkLst>
        </pc:spChg>
        <pc:spChg chg="del">
          <ac:chgData name="Iris Minnema" userId="5cff94b1-6c0b-4c1f-a712-473b84d89636" providerId="ADAL" clId="{B7B2C978-F2AB-234B-B797-232674CF87FB}" dt="2024-02-13T18:49:10.502" v="943" actId="478"/>
          <ac:spMkLst>
            <pc:docMk/>
            <pc:sldMk cId="1304147996" sldId="2146849809"/>
            <ac:spMk id="32" creationId="{0247432E-AE63-1AF4-63F1-A1AAA2F692AF}"/>
          </ac:spMkLst>
        </pc:spChg>
        <pc:spChg chg="del">
          <ac:chgData name="Iris Minnema" userId="5cff94b1-6c0b-4c1f-a712-473b84d89636" providerId="ADAL" clId="{B7B2C978-F2AB-234B-B797-232674CF87FB}" dt="2024-02-13T18:49:10.502" v="943" actId="478"/>
          <ac:spMkLst>
            <pc:docMk/>
            <pc:sldMk cId="1304147996" sldId="2146849809"/>
            <ac:spMk id="33" creationId="{51561F39-F9AA-0C74-B970-4D0251226E1B}"/>
          </ac:spMkLst>
        </pc:spChg>
        <pc:spChg chg="add mod">
          <ac:chgData name="Iris Minnema" userId="5cff94b1-6c0b-4c1f-a712-473b84d89636" providerId="ADAL" clId="{B7B2C978-F2AB-234B-B797-232674CF87FB}" dt="2024-02-13T19:22:47.310" v="1171" actId="313"/>
          <ac:spMkLst>
            <pc:docMk/>
            <pc:sldMk cId="1304147996" sldId="2146849809"/>
            <ac:spMk id="39" creationId="{4BAB7F61-537F-CD69-46AC-B4A99AF387DB}"/>
          </ac:spMkLst>
        </pc:spChg>
        <pc:spChg chg="add mod">
          <ac:chgData name="Iris Minnema" userId="5cff94b1-6c0b-4c1f-a712-473b84d89636" providerId="ADAL" clId="{B7B2C978-F2AB-234B-B797-232674CF87FB}" dt="2024-02-13T18:59:42.213" v="957"/>
          <ac:spMkLst>
            <pc:docMk/>
            <pc:sldMk cId="1304147996" sldId="2146849809"/>
            <ac:spMk id="41" creationId="{72E8A575-E790-9740-8359-4A80AE97B3CF}"/>
          </ac:spMkLst>
        </pc:spChg>
        <pc:grpChg chg="del">
          <ac:chgData name="Iris Minnema" userId="5cff94b1-6c0b-4c1f-a712-473b84d89636" providerId="ADAL" clId="{B7B2C978-F2AB-234B-B797-232674CF87FB}" dt="2024-02-13T18:49:10.502" v="943" actId="478"/>
          <ac:grpSpMkLst>
            <pc:docMk/>
            <pc:sldMk cId="1304147996" sldId="2146849809"/>
            <ac:grpSpMk id="3" creationId="{E4AE53FA-1CE6-800E-D5FA-28606CCCDE70}"/>
          </ac:grpSpMkLst>
        </pc:grpChg>
        <pc:grpChg chg="del">
          <ac:chgData name="Iris Minnema" userId="5cff94b1-6c0b-4c1f-a712-473b84d89636" providerId="ADAL" clId="{B7B2C978-F2AB-234B-B797-232674CF87FB}" dt="2024-02-13T18:49:10.502" v="943" actId="478"/>
          <ac:grpSpMkLst>
            <pc:docMk/>
            <pc:sldMk cId="1304147996" sldId="2146849809"/>
            <ac:grpSpMk id="36" creationId="{AEC6457B-91D4-4017-B589-B4EE9B641653}"/>
          </ac:grpSpMkLst>
        </pc:grpChg>
        <pc:grpChg chg="del">
          <ac:chgData name="Iris Minnema" userId="5cff94b1-6c0b-4c1f-a712-473b84d89636" providerId="ADAL" clId="{B7B2C978-F2AB-234B-B797-232674CF87FB}" dt="2024-02-13T18:49:10.502" v="943" actId="478"/>
          <ac:grpSpMkLst>
            <pc:docMk/>
            <pc:sldMk cId="1304147996" sldId="2146849809"/>
            <ac:grpSpMk id="37" creationId="{297D3294-736F-3D9F-A526-0B57B6E2FF93}"/>
          </ac:grpSpMkLst>
        </pc:grpChg>
        <pc:picChg chg="del">
          <ac:chgData name="Iris Minnema" userId="5cff94b1-6c0b-4c1f-a712-473b84d89636" providerId="ADAL" clId="{B7B2C978-F2AB-234B-B797-232674CF87FB}" dt="2024-02-13T18:49:10.502" v="943" actId="478"/>
          <ac:picMkLst>
            <pc:docMk/>
            <pc:sldMk cId="1304147996" sldId="2146849809"/>
            <ac:picMk id="2" creationId="{5183E0F4-7361-987F-BC55-0F96FECB0BFD}"/>
          </ac:picMkLst>
        </pc:picChg>
        <pc:picChg chg="del">
          <ac:chgData name="Iris Minnema" userId="5cff94b1-6c0b-4c1f-a712-473b84d89636" providerId="ADAL" clId="{B7B2C978-F2AB-234B-B797-232674CF87FB}" dt="2024-02-13T18:49:10.502" v="943" actId="478"/>
          <ac:picMkLst>
            <pc:docMk/>
            <pc:sldMk cId="1304147996" sldId="2146849809"/>
            <ac:picMk id="9" creationId="{6604E323-BAB4-EE2B-8428-07A78DB874DC}"/>
          </ac:picMkLst>
        </pc:picChg>
        <pc:picChg chg="del">
          <ac:chgData name="Iris Minnema" userId="5cff94b1-6c0b-4c1f-a712-473b84d89636" providerId="ADAL" clId="{B7B2C978-F2AB-234B-B797-232674CF87FB}" dt="2024-02-13T18:49:10.502" v="943" actId="478"/>
          <ac:picMkLst>
            <pc:docMk/>
            <pc:sldMk cId="1304147996" sldId="2146849809"/>
            <ac:picMk id="10" creationId="{1EB5BF31-0CE0-1E46-D39D-132E3D634549}"/>
          </ac:picMkLst>
        </pc:picChg>
        <pc:picChg chg="del">
          <ac:chgData name="Iris Minnema" userId="5cff94b1-6c0b-4c1f-a712-473b84d89636" providerId="ADAL" clId="{B7B2C978-F2AB-234B-B797-232674CF87FB}" dt="2024-02-13T18:49:10.502" v="943" actId="478"/>
          <ac:picMkLst>
            <pc:docMk/>
            <pc:sldMk cId="1304147996" sldId="2146849809"/>
            <ac:picMk id="12" creationId="{E74A5091-AF9E-BD2C-83A7-C530022587CD}"/>
          </ac:picMkLst>
        </pc:picChg>
        <pc:picChg chg="del">
          <ac:chgData name="Iris Minnema" userId="5cff94b1-6c0b-4c1f-a712-473b84d89636" providerId="ADAL" clId="{B7B2C978-F2AB-234B-B797-232674CF87FB}" dt="2024-02-13T18:49:10.502" v="943" actId="478"/>
          <ac:picMkLst>
            <pc:docMk/>
            <pc:sldMk cId="1304147996" sldId="2146849809"/>
            <ac:picMk id="14" creationId="{89C0AE5F-E048-DB94-59AD-E9F036D43999}"/>
          </ac:picMkLst>
        </pc:picChg>
        <pc:picChg chg="del">
          <ac:chgData name="Iris Minnema" userId="5cff94b1-6c0b-4c1f-a712-473b84d89636" providerId="ADAL" clId="{B7B2C978-F2AB-234B-B797-232674CF87FB}" dt="2024-02-13T18:49:10.502" v="943" actId="478"/>
          <ac:picMkLst>
            <pc:docMk/>
            <pc:sldMk cId="1304147996" sldId="2146849809"/>
            <ac:picMk id="16" creationId="{2FAC7636-F8CE-EBF7-1C42-5B1DF9130469}"/>
          </ac:picMkLst>
        </pc:picChg>
        <pc:cxnChg chg="del">
          <ac:chgData name="Iris Minnema" userId="5cff94b1-6c0b-4c1f-a712-473b84d89636" providerId="ADAL" clId="{B7B2C978-F2AB-234B-B797-232674CF87FB}" dt="2024-02-13T18:49:10.502" v="943" actId="478"/>
          <ac:cxnSpMkLst>
            <pc:docMk/>
            <pc:sldMk cId="1304147996" sldId="2146849809"/>
            <ac:cxnSpMk id="18" creationId="{971AA0AA-67A8-400D-7E90-193FE983E3E7}"/>
          </ac:cxnSpMkLst>
        </pc:cxnChg>
        <pc:cxnChg chg="del">
          <ac:chgData name="Iris Minnema" userId="5cff94b1-6c0b-4c1f-a712-473b84d89636" providerId="ADAL" clId="{B7B2C978-F2AB-234B-B797-232674CF87FB}" dt="2024-02-13T18:49:10.502" v="943" actId="478"/>
          <ac:cxnSpMkLst>
            <pc:docMk/>
            <pc:sldMk cId="1304147996" sldId="2146849809"/>
            <ac:cxnSpMk id="20" creationId="{78A02BDE-11D9-8925-9F55-81CB0405844D}"/>
          </ac:cxnSpMkLst>
        </pc:cxnChg>
        <pc:cxnChg chg="del">
          <ac:chgData name="Iris Minnema" userId="5cff94b1-6c0b-4c1f-a712-473b84d89636" providerId="ADAL" clId="{B7B2C978-F2AB-234B-B797-232674CF87FB}" dt="2024-02-13T18:49:10.502" v="943" actId="478"/>
          <ac:cxnSpMkLst>
            <pc:docMk/>
            <pc:sldMk cId="1304147996" sldId="2146849809"/>
            <ac:cxnSpMk id="22" creationId="{96A2453C-1482-B8F5-A204-8399EAAF841B}"/>
          </ac:cxnSpMkLst>
        </pc:cxnChg>
        <pc:cxnChg chg="del">
          <ac:chgData name="Iris Minnema" userId="5cff94b1-6c0b-4c1f-a712-473b84d89636" providerId="ADAL" clId="{B7B2C978-F2AB-234B-B797-232674CF87FB}" dt="2024-02-13T18:49:10.502" v="943" actId="478"/>
          <ac:cxnSpMkLst>
            <pc:docMk/>
            <pc:sldMk cId="1304147996" sldId="2146849809"/>
            <ac:cxnSpMk id="23" creationId="{CBA06275-FAD6-33B9-65C9-0E5742E7F146}"/>
          </ac:cxnSpMkLst>
        </pc:cxnChg>
        <pc:cxnChg chg="del">
          <ac:chgData name="Iris Minnema" userId="5cff94b1-6c0b-4c1f-a712-473b84d89636" providerId="ADAL" clId="{B7B2C978-F2AB-234B-B797-232674CF87FB}" dt="2024-02-13T18:49:10.502" v="943" actId="478"/>
          <ac:cxnSpMkLst>
            <pc:docMk/>
            <pc:sldMk cId="1304147996" sldId="2146849809"/>
            <ac:cxnSpMk id="54" creationId="{18AB19AB-DB34-FF51-CDA2-086CBAD5FCD3}"/>
          </ac:cxnSpMkLst>
        </pc:cxnChg>
      </pc:sldChg>
      <pc:sldChg chg="add del ord">
        <pc:chgData name="Iris Minnema" userId="5cff94b1-6c0b-4c1f-a712-473b84d89636" providerId="ADAL" clId="{B7B2C978-F2AB-234B-B797-232674CF87FB}" dt="2024-02-12T08:36:34.418" v="900" actId="2696"/>
        <pc:sldMkLst>
          <pc:docMk/>
          <pc:sldMk cId="1914045464" sldId="2146849809"/>
        </pc:sldMkLst>
      </pc:sldChg>
      <pc:sldChg chg="addSp delSp modSp new mod">
        <pc:chgData name="Iris Minnema" userId="5cff94b1-6c0b-4c1f-a712-473b84d89636" providerId="ADAL" clId="{B7B2C978-F2AB-234B-B797-232674CF87FB}" dt="2024-02-13T20:17:49.476" v="1668" actId="255"/>
        <pc:sldMkLst>
          <pc:docMk/>
          <pc:sldMk cId="3481929646" sldId="2146849810"/>
        </pc:sldMkLst>
        <pc:spChg chg="del">
          <ac:chgData name="Iris Minnema" userId="5cff94b1-6c0b-4c1f-a712-473b84d89636" providerId="ADAL" clId="{B7B2C978-F2AB-234B-B797-232674CF87FB}" dt="2024-02-13T19:59:39.199" v="1231"/>
          <ac:spMkLst>
            <pc:docMk/>
            <pc:sldMk cId="3481929646" sldId="2146849810"/>
            <ac:spMk id="2" creationId="{A92880CE-267D-1A3F-DC64-9E9048F56CCE}"/>
          </ac:spMkLst>
        </pc:spChg>
        <pc:spChg chg="add mod">
          <ac:chgData name="Iris Minnema" userId="5cff94b1-6c0b-4c1f-a712-473b84d89636" providerId="ADAL" clId="{B7B2C978-F2AB-234B-B797-232674CF87FB}" dt="2024-02-13T20:17:49.476" v="1668" actId="255"/>
          <ac:spMkLst>
            <pc:docMk/>
            <pc:sldMk cId="3481929646" sldId="2146849810"/>
            <ac:spMk id="3" creationId="{858EBF30-AA74-94FB-6EEF-F3C8E982D276}"/>
          </ac:spMkLst>
        </pc:spChg>
      </pc:sldChg>
      <pc:sldChg chg="ord">
        <pc:chgData name="Iris Minnema" userId="5cff94b1-6c0b-4c1f-a712-473b84d89636" providerId="ADAL" clId="{B7B2C978-F2AB-234B-B797-232674CF87FB}" dt="2024-02-14T19:06:12.600" v="2433" actId="20578"/>
        <pc:sldMkLst>
          <pc:docMk/>
          <pc:sldMk cId="1722288439" sldId="2146849812"/>
        </pc:sldMkLst>
      </pc:sldChg>
      <pc:sldChg chg="addSp delSp modSp add mod ord">
        <pc:chgData name="Iris Minnema" userId="5cff94b1-6c0b-4c1f-a712-473b84d89636" providerId="ADAL" clId="{B7B2C978-F2AB-234B-B797-232674CF87FB}" dt="2024-02-14T19:01:49.643" v="2427" actId="255"/>
        <pc:sldMkLst>
          <pc:docMk/>
          <pc:sldMk cId="476255691" sldId="2146849815"/>
        </pc:sldMkLst>
        <pc:spChg chg="del mod">
          <ac:chgData name="Iris Minnema" userId="5cff94b1-6c0b-4c1f-a712-473b84d89636" providerId="ADAL" clId="{B7B2C978-F2AB-234B-B797-232674CF87FB}" dt="2024-02-14T18:52:36.871" v="1934" actId="478"/>
          <ac:spMkLst>
            <pc:docMk/>
            <pc:sldMk cId="476255691" sldId="2146849815"/>
            <ac:spMk id="2" creationId="{6FF63342-A707-9804-367C-46240E3F0685}"/>
          </ac:spMkLst>
        </pc:spChg>
        <pc:spChg chg="mod">
          <ac:chgData name="Iris Minnema" userId="5cff94b1-6c0b-4c1f-a712-473b84d89636" providerId="ADAL" clId="{B7B2C978-F2AB-234B-B797-232674CF87FB}" dt="2024-02-14T18:52:04.089" v="1926" actId="20577"/>
          <ac:spMkLst>
            <pc:docMk/>
            <pc:sldMk cId="476255691" sldId="2146849815"/>
            <ac:spMk id="5" creationId="{538EEF0A-62C0-BB98-096E-CA5A348BD5BA}"/>
          </ac:spMkLst>
        </pc:spChg>
        <pc:spChg chg="add mod">
          <ac:chgData name="Iris Minnema" userId="5cff94b1-6c0b-4c1f-a712-473b84d89636" providerId="ADAL" clId="{B7B2C978-F2AB-234B-B797-232674CF87FB}" dt="2024-02-14T19:01:49.643" v="2427" actId="255"/>
          <ac:spMkLst>
            <pc:docMk/>
            <pc:sldMk cId="476255691" sldId="2146849815"/>
            <ac:spMk id="10" creationId="{D873108F-995E-608D-E8C1-81C2D184C9B0}"/>
          </ac:spMkLst>
        </pc:spChg>
      </pc:sldChg>
      <pc:sldChg chg="modSp add mod">
        <pc:chgData name="Iris Minnema" userId="5cff94b1-6c0b-4c1f-a712-473b84d89636" providerId="ADAL" clId="{B7B2C978-F2AB-234B-B797-232674CF87FB}" dt="2024-02-14T19:07:17.303" v="2435" actId="20577"/>
        <pc:sldMkLst>
          <pc:docMk/>
          <pc:sldMk cId="2773037224" sldId="2146849816"/>
        </pc:sldMkLst>
        <pc:spChg chg="mod">
          <ac:chgData name="Iris Minnema" userId="5cff94b1-6c0b-4c1f-a712-473b84d89636" providerId="ADAL" clId="{B7B2C978-F2AB-234B-B797-232674CF87FB}" dt="2024-02-14T19:07:17.303" v="2435" actId="20577"/>
          <ac:spMkLst>
            <pc:docMk/>
            <pc:sldMk cId="2773037224" sldId="2146849816"/>
            <ac:spMk id="2" creationId="{68CA56D3-38D6-8FAF-7F1C-99DF720B702F}"/>
          </ac:spMkLst>
        </pc:spChg>
      </pc:sldChg>
      <pc:sldMasterChg chg="delSldLayout">
        <pc:chgData name="Iris Minnema" userId="5cff94b1-6c0b-4c1f-a712-473b84d89636" providerId="ADAL" clId="{B7B2C978-F2AB-234B-B797-232674CF87FB}" dt="2024-02-11T19:10:37.789" v="393" actId="2696"/>
        <pc:sldMasterMkLst>
          <pc:docMk/>
          <pc:sldMasterMk cId="689156119" sldId="2147483664"/>
        </pc:sldMasterMkLst>
        <pc:sldLayoutChg chg="del">
          <pc:chgData name="Iris Minnema" userId="5cff94b1-6c0b-4c1f-a712-473b84d89636" providerId="ADAL" clId="{B7B2C978-F2AB-234B-B797-232674CF87FB}" dt="2024-02-11T19:10:37.789" v="393" actId="2696"/>
          <pc:sldLayoutMkLst>
            <pc:docMk/>
            <pc:sldMasterMk cId="689156119" sldId="2147483664"/>
            <pc:sldLayoutMk cId="4105385375" sldId="2147483710"/>
          </pc:sldLayoutMkLst>
        </pc:sldLayoutChg>
      </pc:sldMaster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39.596"/>
    </inkml:context>
    <inkml:brush xml:id="br0">
      <inkml:brushProperty name="width" value="0.1" units="cm"/>
      <inkml:brushProperty name="height" value="0.1" units="cm"/>
    </inkml:brush>
  </inkml:definitions>
  <inkml:trace contextRef="#ctx0" brushRef="#br0">12492 5290 6128 0 0,'1'0'1504'0'0,"0"0"-1504"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40.502"/>
    </inkml:context>
    <inkml:brush xml:id="br0">
      <inkml:brushProperty name="width" value="0.1" units="cm"/>
      <inkml:brushProperty name="height" value="0.1" units="cm"/>
    </inkml:brush>
  </inkml:definitions>
  <inkml:trace contextRef="#ctx0" brushRef="#br0">3445 9022 3167 0 0,'0'0'0'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39.596"/>
    </inkml:context>
    <inkml:brush xml:id="br0">
      <inkml:brushProperty name="width" value="0.1" units="cm"/>
      <inkml:brushProperty name="height" value="0.1" units="cm"/>
    </inkml:brush>
  </inkml:definitions>
  <inkml:trace contextRef="#ctx0" brushRef="#br0">12492 5290 6128 0 0,'1'0'1504'0'0,"0"0"-1504"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39.597"/>
    </inkml:context>
    <inkml:brush xml:id="br0">
      <inkml:brushProperty name="width" value="0.1" units="cm"/>
      <inkml:brushProperty name="height" value="0.1" units="cm"/>
    </inkml:brush>
  </inkml:definitions>
  <inkml:trace contextRef="#ctx0" brushRef="#br0">11773 5824 1639 0 0,'0'-5'3121'0'0,"0"-2"-3121"0"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40.500"/>
    </inkml:context>
    <inkml:brush xml:id="br0">
      <inkml:brushProperty name="width" value="0.1" units="cm"/>
      <inkml:brushProperty name="height" value="0.1" units="cm"/>
    </inkml:brush>
  </inkml:definitions>
  <inkml:trace contextRef="#ctx0" brushRef="#br0">11462 5583 3847 0 0,'0'-1'1697'0'0,"0"-2"3808"0"0,0 1-9290 0 0,0 1 3785 0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40.501"/>
    </inkml:context>
    <inkml:brush xml:id="br0">
      <inkml:brushProperty name="width" value="0.1" units="cm"/>
      <inkml:brushProperty name="height" value="0.1" units="cm"/>
    </inkml:brush>
  </inkml:definitions>
  <inkml:trace contextRef="#ctx0" brushRef="#br0">11659 6905 6528 0 0,'0'-1'0'0'0,"0"0"0"0"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40.502"/>
    </inkml:context>
    <inkml:brush xml:id="br0">
      <inkml:brushProperty name="width" value="0.1" units="cm"/>
      <inkml:brushProperty name="height" value="0.1" units="cm"/>
    </inkml:brush>
  </inkml:definitions>
  <inkml:trace contextRef="#ctx0" brushRef="#br0">3445 9022 3167 0 0,'0'0'0'0'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39.596"/>
    </inkml:context>
    <inkml:brush xml:id="br0">
      <inkml:brushProperty name="width" value="0.1" units="cm"/>
      <inkml:brushProperty name="height" value="0.1" units="cm"/>
    </inkml:brush>
  </inkml:definitions>
  <inkml:trace contextRef="#ctx0" brushRef="#br0">12492 5290 6128 0 0,'1'0'1504'0'0,"0"0"-1504"0"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39.597"/>
    </inkml:context>
    <inkml:brush xml:id="br0">
      <inkml:brushProperty name="width" value="0.1" units="cm"/>
      <inkml:brushProperty name="height" value="0.1" units="cm"/>
    </inkml:brush>
  </inkml:definitions>
  <inkml:trace contextRef="#ctx0" brushRef="#br0">11773 5824 1639 0 0,'0'-5'3121'0'0,"0"-2"-3121"0"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40.500"/>
    </inkml:context>
    <inkml:brush xml:id="br0">
      <inkml:brushProperty name="width" value="0.1" units="cm"/>
      <inkml:brushProperty name="height" value="0.1" units="cm"/>
    </inkml:brush>
  </inkml:definitions>
  <inkml:trace contextRef="#ctx0" brushRef="#br0">11462 5583 3847 0 0,'0'-1'1697'0'0,"0"-2"3808"0"0,0 1-9290 0 0,0 1 3785 0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40.501"/>
    </inkml:context>
    <inkml:brush xml:id="br0">
      <inkml:brushProperty name="width" value="0.1" units="cm"/>
      <inkml:brushProperty name="height" value="0.1" units="cm"/>
    </inkml:brush>
  </inkml:definitions>
  <inkml:trace contextRef="#ctx0" brushRef="#br0">11659 6905 6528 0 0,'0'-1'0'0'0,"0"0"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39.597"/>
    </inkml:context>
    <inkml:brush xml:id="br0">
      <inkml:brushProperty name="width" value="0.1" units="cm"/>
      <inkml:brushProperty name="height" value="0.1" units="cm"/>
    </inkml:brush>
  </inkml:definitions>
  <inkml:trace contextRef="#ctx0" brushRef="#br0">11773 5824 1639 0 0,'0'-5'3121'0'0,"0"-2"-3121"0"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40.502"/>
    </inkml:context>
    <inkml:brush xml:id="br0">
      <inkml:brushProperty name="width" value="0.1" units="cm"/>
      <inkml:brushProperty name="height" value="0.1" units="cm"/>
    </inkml:brush>
  </inkml:definitions>
  <inkml:trace contextRef="#ctx0" brushRef="#br0">3445 9022 3167 0 0,'0'0'0'0'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9:21.631"/>
    </inkml:context>
    <inkml:brush xml:id="br0">
      <inkml:brushProperty name="width" value="0.1" units="cm"/>
      <inkml:brushProperty name="height" value="0.1" units="cm"/>
    </inkml:brush>
  </inkml:definitions>
  <inkml:trace contextRef="#ctx0" brushRef="#br0">14896 3466 8368 0 0,'0'0'0'0'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9:21.632"/>
    </inkml:context>
    <inkml:brush xml:id="br0">
      <inkml:brushProperty name="width" value="0.1" units="cm"/>
      <inkml:brushProperty name="height" value="0.1" units="cm"/>
    </inkml:brush>
  </inkml:definitions>
  <inkml:trace contextRef="#ctx0" brushRef="#br0">14825 5522 7664 0 0,'-1'-3'2177'0'0,"0"-1"-2177"0"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9:21.633"/>
    </inkml:context>
    <inkml:brush xml:id="br0">
      <inkml:brushProperty name="width" value="0.1" units="cm"/>
      <inkml:brushProperty name="height" value="0.1" units="cm"/>
    </inkml:brush>
  </inkml:definitions>
  <inkml:trace contextRef="#ctx0" brushRef="#br0">14794 5741 6144 0 0,'0'-1'3088'0'0,"-4"5"-4960"0"0,-2 3 1872 0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9:21.634"/>
    </inkml:context>
    <inkml:brush xml:id="br0">
      <inkml:brushProperty name="width" value="0.1" units="cm"/>
      <inkml:brushProperty name="height" value="0.1" units="cm"/>
    </inkml:brush>
  </inkml:definitions>
  <inkml:trace contextRef="#ctx0" brushRef="#br0">14320 7597 8056 0 0,'3'-4'2537'0'0,"1"-6"-6530"0"0,0-1 3993 0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9:21.635"/>
    </inkml:context>
    <inkml:brush xml:id="br0">
      <inkml:brushProperty name="width" value="0.1" units="cm"/>
      <inkml:brushProperty name="height" value="0.1" units="cm"/>
    </inkml:brush>
  </inkml:definitions>
  <inkml:trace contextRef="#ctx0" brushRef="#br0">2545 10792 8936 0 0,'0'0'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40.500"/>
    </inkml:context>
    <inkml:brush xml:id="br0">
      <inkml:brushProperty name="width" value="0.1" units="cm"/>
      <inkml:brushProperty name="height" value="0.1" units="cm"/>
    </inkml:brush>
  </inkml:definitions>
  <inkml:trace contextRef="#ctx0" brushRef="#br0">11462 5583 3847 0 0,'0'-1'1697'0'0,"0"-2"3808"0"0,0 1-9290 0 0,0 1 3785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40.501"/>
    </inkml:context>
    <inkml:brush xml:id="br0">
      <inkml:brushProperty name="width" value="0.1" units="cm"/>
      <inkml:brushProperty name="height" value="0.1" units="cm"/>
    </inkml:brush>
  </inkml:definitions>
  <inkml:trace contextRef="#ctx0" brushRef="#br0">11659 6905 6528 0 0,'0'-1'0'0'0,"0"0"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40.502"/>
    </inkml:context>
    <inkml:brush xml:id="br0">
      <inkml:brushProperty name="width" value="0.1" units="cm"/>
      <inkml:brushProperty name="height" value="0.1" units="cm"/>
    </inkml:brush>
  </inkml:definitions>
  <inkml:trace contextRef="#ctx0" brushRef="#br0">3445 9022 3167 0 0,'0'0'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39.596"/>
    </inkml:context>
    <inkml:brush xml:id="br0">
      <inkml:brushProperty name="width" value="0.1" units="cm"/>
      <inkml:brushProperty name="height" value="0.1" units="cm"/>
    </inkml:brush>
  </inkml:definitions>
  <inkml:trace contextRef="#ctx0" brushRef="#br0">12492 5290 6128 0 0,'1'0'1504'0'0,"0"0"-1504"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39.597"/>
    </inkml:context>
    <inkml:brush xml:id="br0">
      <inkml:brushProperty name="width" value="0.1" units="cm"/>
      <inkml:brushProperty name="height" value="0.1" units="cm"/>
    </inkml:brush>
  </inkml:definitions>
  <inkml:trace contextRef="#ctx0" brushRef="#br0">11773 5824 1639 0 0,'0'-5'3121'0'0,"0"-2"-3121"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40.500"/>
    </inkml:context>
    <inkml:brush xml:id="br0">
      <inkml:brushProperty name="width" value="0.1" units="cm"/>
      <inkml:brushProperty name="height" value="0.1" units="cm"/>
    </inkml:brush>
  </inkml:definitions>
  <inkml:trace contextRef="#ctx0" brushRef="#br0">11462 5583 3847 0 0,'0'-1'1697'0'0,"0"-2"3808"0"0,0 1-9290 0 0,0 1 3785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2-14T14:38:40.501"/>
    </inkml:context>
    <inkml:brush xml:id="br0">
      <inkml:brushProperty name="width" value="0.1" units="cm"/>
      <inkml:brushProperty name="height" value="0.1" units="cm"/>
    </inkml:brush>
  </inkml:definitions>
  <inkml:trace contextRef="#ctx0" brushRef="#br0">11659 6905 6528 0 0,'0'-1'0'0'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89A6D8-2D17-BB43-9950-82E9D7FE10EA}" type="datetimeFigureOut">
              <a:rPr lang="en-BE" smtClean="0"/>
              <a:t>02/15/2024</a:t>
            </a:fld>
            <a:endParaRPr lang="en-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588AD4-AF0D-2141-970D-B911DF27CC58}" type="slidenum">
              <a:rPr lang="en-BE" smtClean="0"/>
              <a:t>‹#›</a:t>
            </a:fld>
            <a:endParaRPr lang="en-BE"/>
          </a:p>
        </p:txBody>
      </p:sp>
    </p:spTree>
    <p:extLst>
      <p:ext uri="{BB962C8B-B14F-4D97-AF65-F5344CB8AC3E}">
        <p14:creationId xmlns:p14="http://schemas.microsoft.com/office/powerpoint/2010/main" val="34195206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BB588AD4-AF0D-2141-970D-B911DF27CC58}" type="slidenum">
              <a:rPr lang="en-BE" smtClean="0"/>
              <a:t>9</a:t>
            </a:fld>
            <a:endParaRPr lang="en-BE"/>
          </a:p>
        </p:txBody>
      </p:sp>
    </p:spTree>
    <p:extLst>
      <p:ext uri="{BB962C8B-B14F-4D97-AF65-F5344CB8AC3E}">
        <p14:creationId xmlns:p14="http://schemas.microsoft.com/office/powerpoint/2010/main" val="3966979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BB588AD4-AF0D-2141-970D-B911DF27CC58}" type="slidenum">
              <a:rPr lang="en-BE" smtClean="0"/>
              <a:t>19</a:t>
            </a:fld>
            <a:endParaRPr lang="en-BE"/>
          </a:p>
        </p:txBody>
      </p:sp>
    </p:spTree>
    <p:extLst>
      <p:ext uri="{BB962C8B-B14F-4D97-AF65-F5344CB8AC3E}">
        <p14:creationId xmlns:p14="http://schemas.microsoft.com/office/powerpoint/2010/main" val="30983631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BB588AD4-AF0D-2141-970D-B911DF27CC58}" type="slidenum">
              <a:rPr lang="en-BE" smtClean="0"/>
              <a:t>26</a:t>
            </a:fld>
            <a:endParaRPr lang="en-BE"/>
          </a:p>
        </p:txBody>
      </p:sp>
    </p:spTree>
    <p:extLst>
      <p:ext uri="{BB962C8B-B14F-4D97-AF65-F5344CB8AC3E}">
        <p14:creationId xmlns:p14="http://schemas.microsoft.com/office/powerpoint/2010/main" val="31686238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4.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7.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7.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7.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PEN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C92A7C-969B-16A0-D175-9A98848F2545}"/>
              </a:ext>
            </a:extLst>
          </p:cNvPr>
          <p:cNvPicPr>
            <a:picLocks noChangeAspect="1"/>
          </p:cNvPicPr>
          <p:nvPr userDrawn="1"/>
        </p:nvPicPr>
        <p:blipFill>
          <a:blip r:embed="rId2"/>
          <a:stretch>
            <a:fillRect/>
          </a:stretch>
        </p:blipFill>
        <p:spPr>
          <a:xfrm>
            <a:off x="4427353" y="1274770"/>
            <a:ext cx="3337291" cy="4308460"/>
          </a:xfrm>
          <a:prstGeom prst="rect">
            <a:avLst/>
          </a:prstGeom>
        </p:spPr>
      </p:pic>
    </p:spTree>
    <p:extLst>
      <p:ext uri="{BB962C8B-B14F-4D97-AF65-F5344CB8AC3E}">
        <p14:creationId xmlns:p14="http://schemas.microsoft.com/office/powerpoint/2010/main" val="38934715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TITLE OPTION 3">
    <p:spTree>
      <p:nvGrpSpPr>
        <p:cNvPr id="1" name=""/>
        <p:cNvGrpSpPr/>
        <p:nvPr/>
      </p:nvGrpSpPr>
      <p:grpSpPr>
        <a:xfrm>
          <a:off x="0" y="0"/>
          <a:ext cx="0" cy="0"/>
          <a:chOff x="0" y="0"/>
          <a:chExt cx="0" cy="0"/>
        </a:xfrm>
      </p:grpSpPr>
      <p:sp>
        <p:nvSpPr>
          <p:cNvPr id="12" name="Text Placeholder 35">
            <a:extLst>
              <a:ext uri="{FF2B5EF4-FFF2-40B4-BE49-F238E27FC236}">
                <a16:creationId xmlns:a16="http://schemas.microsoft.com/office/drawing/2014/main" id="{D4F7719C-958A-582B-053B-5A0E127E69D8}"/>
              </a:ext>
            </a:extLst>
          </p:cNvPr>
          <p:cNvSpPr>
            <a:spLocks noGrp="1"/>
          </p:cNvSpPr>
          <p:nvPr>
            <p:ph type="body" sz="quarter" idx="11" hasCustomPrompt="1"/>
          </p:nvPr>
        </p:nvSpPr>
        <p:spPr>
          <a:xfrm>
            <a:off x="272595" y="1135894"/>
            <a:ext cx="5279119" cy="4586212"/>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40000" b="0" i="0" kern="1200" dirty="0">
                <a:solidFill>
                  <a:srgbClr val="CEB36E"/>
                </a:solidFill>
                <a:latin typeface="Bodoni MT" panose="02070603080606020203" pitchFamily="18" charset="77"/>
                <a:ea typeface="+mn-ea"/>
                <a:cs typeface="+mn-cs"/>
              </a:defRPr>
            </a:lvl1pPr>
          </a:lstStyle>
          <a:p>
            <a:pPr lvl="0"/>
            <a:r>
              <a:rPr lang="en-GB"/>
              <a:t>1</a:t>
            </a:r>
          </a:p>
        </p:txBody>
      </p:sp>
      <p:sp>
        <p:nvSpPr>
          <p:cNvPr id="11" name="Text Placeholder 2">
            <a:extLst>
              <a:ext uri="{FF2B5EF4-FFF2-40B4-BE49-F238E27FC236}">
                <a16:creationId xmlns:a16="http://schemas.microsoft.com/office/drawing/2014/main" id="{FDBBAD0F-B4DA-2C28-98DC-23FBE34C086C}"/>
              </a:ext>
            </a:extLst>
          </p:cNvPr>
          <p:cNvSpPr>
            <a:spLocks noGrp="1"/>
          </p:cNvSpPr>
          <p:nvPr>
            <p:ph type="body" sz="quarter" idx="18" hasCustomPrompt="1"/>
          </p:nvPr>
        </p:nvSpPr>
        <p:spPr>
          <a:xfrm>
            <a:off x="272595" y="1312673"/>
            <a:ext cx="5279119" cy="4232654"/>
          </a:xfrm>
          <a:prstGeom prst="rect">
            <a:avLst/>
          </a:prstGeom>
        </p:spPr>
        <p:txBody>
          <a:bodyPr anchor="ctr"/>
          <a:lstStyle>
            <a:lvl1pPr marL="0" indent="0" algn="ctr">
              <a:buNone/>
              <a:defRPr sz="5000" b="1" i="0">
                <a:latin typeface="AvenirNext LT Pro Bold" panose="020B0504020202020204" pitchFamily="34" charset="77"/>
              </a:defRPr>
            </a:lvl1pPr>
            <a:lvl2pPr marL="457200" indent="0">
              <a:buNone/>
              <a:defRPr sz="8800" b="1" i="0">
                <a:latin typeface="AvenirNext LT Pro Bold" panose="020B0504020202020204" pitchFamily="34" charset="77"/>
              </a:defRPr>
            </a:lvl2pPr>
            <a:lvl3pPr marL="914400" indent="0">
              <a:buNone/>
              <a:defRPr sz="8800" b="1" i="0">
                <a:latin typeface="AvenirNext LT Pro Bold" panose="020B0504020202020204" pitchFamily="34" charset="77"/>
              </a:defRPr>
            </a:lvl3pPr>
            <a:lvl4pPr marL="1371600" indent="0">
              <a:buNone/>
              <a:defRPr sz="8800" b="1" i="0">
                <a:latin typeface="AvenirNext LT Pro Bold" panose="020B0504020202020204" pitchFamily="34" charset="77"/>
              </a:defRPr>
            </a:lvl4pPr>
            <a:lvl5pPr marL="1828800" indent="0">
              <a:buNone/>
              <a:defRPr sz="8800" b="1" i="0">
                <a:latin typeface="AvenirNext LT Pro Bold" panose="020B0504020202020204" pitchFamily="34" charset="77"/>
              </a:defRPr>
            </a:lvl5pPr>
          </a:lstStyle>
          <a:p>
            <a:pPr lvl="0"/>
            <a:r>
              <a:rPr lang="en-GB"/>
              <a:t>Your chapter title</a:t>
            </a:r>
          </a:p>
        </p:txBody>
      </p:sp>
      <p:sp>
        <p:nvSpPr>
          <p:cNvPr id="3" name="Text Placeholder 2">
            <a:extLst>
              <a:ext uri="{FF2B5EF4-FFF2-40B4-BE49-F238E27FC236}">
                <a16:creationId xmlns:a16="http://schemas.microsoft.com/office/drawing/2014/main" id="{D35762FF-336C-21F9-5656-C4CEE735CE8B}"/>
              </a:ext>
            </a:extLst>
          </p:cNvPr>
          <p:cNvSpPr>
            <a:spLocks noGrp="1"/>
          </p:cNvSpPr>
          <p:nvPr>
            <p:ph type="body" sz="quarter" idx="19" hasCustomPrompt="1"/>
          </p:nvPr>
        </p:nvSpPr>
        <p:spPr>
          <a:xfrm>
            <a:off x="6640286" y="1312673"/>
            <a:ext cx="4107409" cy="4232654"/>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i="0">
                <a:latin typeface="AvenirNext LT Pro Bold" panose="020B0504020202020204" pitchFamily="34" charset="77"/>
              </a:defRPr>
            </a:lvl1pPr>
            <a:lvl2pPr marL="457200" indent="0">
              <a:buNone/>
              <a:defRPr sz="1600" b="0" i="0">
                <a:latin typeface="AvenirNext LT Pro Bold" panose="020B0504020202020204" pitchFamily="34" charset="77"/>
              </a:defRPr>
            </a:lvl2pPr>
            <a:lvl3pPr marL="914400" indent="0">
              <a:buNone/>
              <a:defRPr sz="1600" b="0" i="0">
                <a:latin typeface="AvenirNext LT Pro Bold" panose="020B0504020202020204" pitchFamily="34" charset="77"/>
              </a:defRPr>
            </a:lvl3pPr>
            <a:lvl4pPr marL="1371600" indent="0">
              <a:buNone/>
              <a:defRPr sz="1600" b="0" i="0">
                <a:latin typeface="AvenirNext LT Pro Bold" panose="020B0504020202020204" pitchFamily="34" charset="77"/>
              </a:defRPr>
            </a:lvl4pPr>
            <a:lvl5pPr marL="1828800" indent="0">
              <a:buNone/>
              <a:defRPr sz="1600" b="0" i="0">
                <a:latin typeface="AvenirNext LT Pro Bold" panose="020B0504020202020204" pitchFamily="34" charset="77"/>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uspendisse</a:t>
            </a:r>
            <a:r>
              <a:rPr lang="en-GB"/>
              <a:t> et </a:t>
            </a:r>
            <a:r>
              <a:rPr lang="en-GB" err="1"/>
              <a:t>imperdiet</a:t>
            </a:r>
            <a:r>
              <a:rPr lang="en-GB"/>
              <a:t> nisi. Proin a </a:t>
            </a:r>
            <a:r>
              <a:rPr lang="en-GB" err="1"/>
              <a:t>metus</a:t>
            </a:r>
            <a:r>
              <a:rPr lang="en-GB"/>
              <a:t> </a:t>
            </a:r>
            <a:r>
              <a:rPr lang="en-GB" err="1"/>
              <a:t>volutpat</a:t>
            </a:r>
            <a:r>
              <a:rPr lang="en-GB"/>
              <a:t> </a:t>
            </a:r>
            <a:r>
              <a:rPr lang="en-GB" err="1"/>
              <a:t>odio</a:t>
            </a:r>
            <a:r>
              <a:rPr lang="en-GB"/>
              <a:t> convallis fermentum. Nunc </a:t>
            </a:r>
            <a:r>
              <a:rPr lang="en-GB" err="1"/>
              <a:t>massa</a:t>
            </a:r>
            <a:r>
              <a:rPr lang="en-GB"/>
              <a:t> </a:t>
            </a:r>
            <a:r>
              <a:rPr lang="en-GB" err="1"/>
              <a:t>augue</a:t>
            </a:r>
            <a:r>
              <a:rPr lang="en-GB"/>
              <a:t>, dictum vitae lorem </a:t>
            </a:r>
            <a:r>
              <a:rPr lang="en-GB" err="1"/>
              <a:t>eget</a:t>
            </a:r>
            <a:r>
              <a:rPr lang="en-GB"/>
              <a:t>, </a:t>
            </a:r>
            <a:r>
              <a:rPr lang="en-GB" err="1"/>
              <a:t>feugiat</a:t>
            </a:r>
            <a:r>
              <a:rPr lang="en-GB"/>
              <a:t> </a:t>
            </a:r>
            <a:r>
              <a:rPr lang="en-GB" err="1"/>
              <a:t>scelerisque</a:t>
            </a:r>
            <a:r>
              <a:rPr lang="en-GB"/>
              <a:t> dui. Ut mi </a:t>
            </a:r>
            <a:r>
              <a:rPr lang="en-GB" err="1"/>
              <a:t>lacus</a:t>
            </a:r>
            <a:r>
              <a:rPr lang="en-GB"/>
              <a:t>, </a:t>
            </a:r>
            <a:r>
              <a:rPr lang="en-GB" err="1"/>
              <a:t>ornare</a:t>
            </a:r>
            <a:r>
              <a:rPr lang="en-GB"/>
              <a:t> sit </a:t>
            </a:r>
            <a:r>
              <a:rPr lang="en-GB" err="1"/>
              <a:t>amet</a:t>
            </a:r>
            <a:r>
              <a:rPr lang="en-GB"/>
              <a:t> </a:t>
            </a:r>
            <a:r>
              <a:rPr lang="en-GB" err="1"/>
              <a:t>suscipit</a:t>
            </a:r>
            <a:r>
              <a:rPr lang="en-GB"/>
              <a:t> et, </a:t>
            </a:r>
            <a:r>
              <a:rPr lang="en-GB" err="1"/>
              <a:t>laoreet</a:t>
            </a:r>
            <a:r>
              <a:rPr lang="en-GB"/>
              <a:t> in </a:t>
            </a:r>
            <a:r>
              <a:rPr lang="en-GB" err="1"/>
              <a:t>massa</a:t>
            </a:r>
            <a:r>
              <a:rPr lang="en-GB"/>
              <a:t>. Vestibulum sit </a:t>
            </a:r>
            <a:r>
              <a:rPr lang="en-GB" err="1"/>
              <a:t>amet</a:t>
            </a:r>
            <a:r>
              <a:rPr lang="en-GB"/>
              <a:t> </a:t>
            </a:r>
            <a:r>
              <a:rPr lang="en-GB" err="1"/>
              <a:t>velit</a:t>
            </a:r>
            <a:r>
              <a:rPr lang="en-GB"/>
              <a:t> a </a:t>
            </a:r>
            <a:r>
              <a:rPr lang="en-GB" err="1"/>
              <a:t>augue</a:t>
            </a:r>
            <a:r>
              <a:rPr lang="en-GB"/>
              <a:t> </a:t>
            </a:r>
            <a:r>
              <a:rPr lang="en-GB" err="1"/>
              <a:t>egestas</a:t>
            </a:r>
            <a:r>
              <a:rPr lang="en-GB"/>
              <a:t> </a:t>
            </a:r>
            <a:r>
              <a:rPr lang="en-GB" err="1"/>
              <a:t>luctus</a:t>
            </a:r>
            <a:r>
              <a:rPr lang="en-GB"/>
              <a:t> et a nisi. Click to edit Master text</a:t>
            </a:r>
            <a:endParaRPr lang="en-BE"/>
          </a:p>
        </p:txBody>
      </p:sp>
      <p:cxnSp>
        <p:nvCxnSpPr>
          <p:cNvPr id="4" name="Straight Connector 3">
            <a:extLst>
              <a:ext uri="{FF2B5EF4-FFF2-40B4-BE49-F238E27FC236}">
                <a16:creationId xmlns:a16="http://schemas.microsoft.com/office/drawing/2014/main" id="{E84D9102-8175-571D-C9EE-76A819831675}"/>
              </a:ext>
            </a:extLst>
          </p:cNvPr>
          <p:cNvCxnSpPr>
            <a:cxnSpLocks/>
          </p:cNvCxnSpPr>
          <p:nvPr userDrawn="1"/>
        </p:nvCxnSpPr>
        <p:spPr>
          <a:xfrm flipV="1">
            <a:off x="6096000" y="1312673"/>
            <a:ext cx="0" cy="4409433"/>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143033D-3BD3-AE9A-9F8C-248B496E2B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33043" y="5469694"/>
            <a:ext cx="877957" cy="1133447"/>
          </a:xfrm>
          <a:prstGeom prst="rect">
            <a:avLst/>
          </a:prstGeom>
        </p:spPr>
      </p:pic>
    </p:spTree>
    <p:extLst>
      <p:ext uri="{BB962C8B-B14F-4D97-AF65-F5344CB8AC3E}">
        <p14:creationId xmlns:p14="http://schemas.microsoft.com/office/powerpoint/2010/main" val="32395606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DBBAD0F-B4DA-2C28-98DC-23FBE34C086C}"/>
              </a:ext>
            </a:extLst>
          </p:cNvPr>
          <p:cNvSpPr>
            <a:spLocks noGrp="1"/>
          </p:cNvSpPr>
          <p:nvPr>
            <p:ph type="body" sz="quarter" idx="18" hasCustomPrompt="1"/>
          </p:nvPr>
        </p:nvSpPr>
        <p:spPr>
          <a:xfrm>
            <a:off x="914852" y="1312673"/>
            <a:ext cx="10362296" cy="4232654"/>
          </a:xfrm>
          <a:prstGeom prst="rect">
            <a:avLst/>
          </a:prstGeom>
        </p:spPr>
        <p:txBody>
          <a:bodyPr anchor="ctr"/>
          <a:lstStyle>
            <a:lvl1pPr marL="0" indent="0" algn="ctr">
              <a:buNone/>
              <a:defRPr sz="5000" b="1" i="0">
                <a:latin typeface="AvenirNext LT Pro Bold" panose="020B0504020202020204" pitchFamily="34" charset="77"/>
              </a:defRPr>
            </a:lvl1pPr>
            <a:lvl2pPr marL="457200" indent="0">
              <a:buNone/>
              <a:defRPr sz="8800" b="1" i="0">
                <a:latin typeface="AvenirNext LT Pro Bold" panose="020B0504020202020204" pitchFamily="34" charset="77"/>
              </a:defRPr>
            </a:lvl2pPr>
            <a:lvl3pPr marL="914400" indent="0">
              <a:buNone/>
              <a:defRPr sz="8800" b="1" i="0">
                <a:latin typeface="AvenirNext LT Pro Bold" panose="020B0504020202020204" pitchFamily="34" charset="77"/>
              </a:defRPr>
            </a:lvl3pPr>
            <a:lvl4pPr marL="1371600" indent="0">
              <a:buNone/>
              <a:defRPr sz="8800" b="1" i="0">
                <a:latin typeface="AvenirNext LT Pro Bold" panose="020B0504020202020204" pitchFamily="34" charset="77"/>
              </a:defRPr>
            </a:lvl4pPr>
            <a:lvl5pPr marL="1828800" indent="0">
              <a:buNone/>
              <a:defRPr sz="8800" b="1" i="0">
                <a:latin typeface="AvenirNext LT Pro Bold" panose="020B0504020202020204" pitchFamily="34" charset="77"/>
              </a:defRPr>
            </a:lvl5pPr>
          </a:lstStyle>
          <a:p>
            <a:pPr lvl="0"/>
            <a:r>
              <a:rPr lang="en-GB">
                <a:solidFill>
                  <a:schemeClr val="tx1"/>
                </a:solidFill>
              </a:rPr>
              <a:t>“Some people spent a lifetime looking for </a:t>
            </a:r>
            <a:r>
              <a:rPr lang="en-GB"/>
              <a:t>happiness. </a:t>
            </a:r>
            <a:r>
              <a:rPr lang="en-GB">
                <a:solidFill>
                  <a:schemeClr val="tx1"/>
                </a:solidFill>
              </a:rPr>
              <a:t>You found it. Welcome to </a:t>
            </a:r>
            <a:r>
              <a:rPr lang="en-GB"/>
              <a:t>Happiness.”</a:t>
            </a:r>
          </a:p>
        </p:txBody>
      </p:sp>
      <p:pic>
        <p:nvPicPr>
          <p:cNvPr id="2" name="Picture 1">
            <a:extLst>
              <a:ext uri="{FF2B5EF4-FFF2-40B4-BE49-F238E27FC236}">
                <a16:creationId xmlns:a16="http://schemas.microsoft.com/office/drawing/2014/main" id="{FC0FBB7E-6ED7-E235-4092-825A60A38E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33043" y="5494852"/>
            <a:ext cx="877957" cy="1083131"/>
          </a:xfrm>
          <a:prstGeom prst="rect">
            <a:avLst/>
          </a:prstGeom>
        </p:spPr>
      </p:pic>
    </p:spTree>
    <p:extLst>
      <p:ext uri="{BB962C8B-B14F-4D97-AF65-F5344CB8AC3E}">
        <p14:creationId xmlns:p14="http://schemas.microsoft.com/office/powerpoint/2010/main" val="27415345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ON PICTURE">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0C7FBB96-3C70-5836-D1D6-705453E6AF00}"/>
              </a:ext>
            </a:extLst>
          </p:cNvPr>
          <p:cNvSpPr>
            <a:spLocks noGrp="1"/>
          </p:cNvSpPr>
          <p:nvPr>
            <p:ph type="pic" sz="quarter" idx="19"/>
          </p:nvPr>
        </p:nvSpPr>
        <p:spPr>
          <a:xfrm>
            <a:off x="0" y="0"/>
            <a:ext cx="12192000" cy="6858000"/>
          </a:xfrm>
          <a:prstGeom prst="rect">
            <a:avLst/>
          </a:prstGeom>
        </p:spPr>
        <p:txBody>
          <a:bodyPr/>
          <a:lstStyle/>
          <a:p>
            <a:endParaRPr lang="en-GB"/>
          </a:p>
        </p:txBody>
      </p:sp>
      <p:sp>
        <p:nvSpPr>
          <p:cNvPr id="11" name="Text Placeholder 2">
            <a:extLst>
              <a:ext uri="{FF2B5EF4-FFF2-40B4-BE49-F238E27FC236}">
                <a16:creationId xmlns:a16="http://schemas.microsoft.com/office/drawing/2014/main" id="{FDBBAD0F-B4DA-2C28-98DC-23FBE34C086C}"/>
              </a:ext>
            </a:extLst>
          </p:cNvPr>
          <p:cNvSpPr>
            <a:spLocks noGrp="1"/>
          </p:cNvSpPr>
          <p:nvPr>
            <p:ph type="body" sz="quarter" idx="18" hasCustomPrompt="1"/>
          </p:nvPr>
        </p:nvSpPr>
        <p:spPr>
          <a:xfrm>
            <a:off x="914852" y="1312673"/>
            <a:ext cx="10362296" cy="4232654"/>
          </a:xfrm>
          <a:prstGeom prst="rect">
            <a:avLst/>
          </a:prstGeom>
        </p:spPr>
        <p:txBody>
          <a:bodyPr anchor="ctr"/>
          <a:lstStyle>
            <a:lvl1pPr marL="0" indent="0" algn="ctr">
              <a:buNone/>
              <a:defRPr sz="5000" b="1" i="0">
                <a:solidFill>
                  <a:schemeClr val="bg1"/>
                </a:solidFill>
                <a:latin typeface="AvenirNext LT Pro Bold" panose="020B0504020202020204" pitchFamily="34" charset="77"/>
              </a:defRPr>
            </a:lvl1pPr>
            <a:lvl2pPr marL="457200" indent="0">
              <a:buNone/>
              <a:defRPr sz="8800" b="1" i="0">
                <a:latin typeface="AvenirNext LT Pro Bold" panose="020B0504020202020204" pitchFamily="34" charset="77"/>
              </a:defRPr>
            </a:lvl2pPr>
            <a:lvl3pPr marL="914400" indent="0">
              <a:buNone/>
              <a:defRPr sz="8800" b="1" i="0">
                <a:latin typeface="AvenirNext LT Pro Bold" panose="020B0504020202020204" pitchFamily="34" charset="77"/>
              </a:defRPr>
            </a:lvl3pPr>
            <a:lvl4pPr marL="1371600" indent="0">
              <a:buNone/>
              <a:defRPr sz="8800" b="1" i="0">
                <a:latin typeface="AvenirNext LT Pro Bold" panose="020B0504020202020204" pitchFamily="34" charset="77"/>
              </a:defRPr>
            </a:lvl4pPr>
            <a:lvl5pPr marL="1828800" indent="0">
              <a:buNone/>
              <a:defRPr sz="8800" b="1" i="0">
                <a:latin typeface="AvenirNext LT Pro Bold" panose="020B0504020202020204" pitchFamily="34" charset="77"/>
              </a:defRPr>
            </a:lvl5pPr>
          </a:lstStyle>
          <a:p>
            <a:pPr lvl="0"/>
            <a:r>
              <a:rPr lang="en-GB">
                <a:solidFill>
                  <a:schemeClr val="tx1"/>
                </a:solidFill>
              </a:rPr>
              <a:t>“Some people spent a lifetime looking for </a:t>
            </a:r>
            <a:r>
              <a:rPr lang="en-GB"/>
              <a:t>happiness. </a:t>
            </a:r>
            <a:r>
              <a:rPr lang="en-GB">
                <a:solidFill>
                  <a:schemeClr val="tx1"/>
                </a:solidFill>
              </a:rPr>
              <a:t>You found it. Welcome to </a:t>
            </a:r>
            <a:r>
              <a:rPr lang="en-GB"/>
              <a:t>Happiness.”</a:t>
            </a:r>
          </a:p>
        </p:txBody>
      </p:sp>
      <p:pic>
        <p:nvPicPr>
          <p:cNvPr id="3" name="Picture 2">
            <a:extLst>
              <a:ext uri="{FF2B5EF4-FFF2-40B4-BE49-F238E27FC236}">
                <a16:creationId xmlns:a16="http://schemas.microsoft.com/office/drawing/2014/main" id="{FDABCDBC-B630-97B8-EFC7-BD25E02B11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33043" y="5469694"/>
            <a:ext cx="877957" cy="1132512"/>
          </a:xfrm>
          <a:prstGeom prst="rect">
            <a:avLst/>
          </a:prstGeom>
        </p:spPr>
      </p:pic>
    </p:spTree>
    <p:extLst>
      <p:ext uri="{BB962C8B-B14F-4D97-AF65-F5344CB8AC3E}">
        <p14:creationId xmlns:p14="http://schemas.microsoft.com/office/powerpoint/2010/main" val="25701592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OPTION 3">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DBBAD0F-B4DA-2C28-98DC-23FBE34C086C}"/>
              </a:ext>
            </a:extLst>
          </p:cNvPr>
          <p:cNvSpPr>
            <a:spLocks noGrp="1"/>
          </p:cNvSpPr>
          <p:nvPr>
            <p:ph type="body" sz="quarter" idx="18" hasCustomPrompt="1"/>
          </p:nvPr>
        </p:nvSpPr>
        <p:spPr>
          <a:xfrm>
            <a:off x="914852" y="1312673"/>
            <a:ext cx="10362296" cy="4232654"/>
          </a:xfrm>
          <a:prstGeom prst="rect">
            <a:avLst/>
          </a:prstGeom>
        </p:spPr>
        <p:txBody>
          <a:bodyPr anchor="ctr"/>
          <a:lstStyle>
            <a:lvl1pPr marL="0" indent="0" algn="ctr">
              <a:buNone/>
              <a:defRPr sz="5000" b="1" i="0">
                <a:latin typeface="AvenirNext LT Pro Bold" panose="020B0504020202020204" pitchFamily="34" charset="77"/>
              </a:defRPr>
            </a:lvl1pPr>
            <a:lvl2pPr marL="457200" indent="0">
              <a:buNone/>
              <a:defRPr sz="8800" b="1" i="0">
                <a:latin typeface="AvenirNext LT Pro Bold" panose="020B0504020202020204" pitchFamily="34" charset="77"/>
              </a:defRPr>
            </a:lvl2pPr>
            <a:lvl3pPr marL="914400" indent="0">
              <a:buNone/>
              <a:defRPr sz="8800" b="1" i="0">
                <a:latin typeface="AvenirNext LT Pro Bold" panose="020B0504020202020204" pitchFamily="34" charset="77"/>
              </a:defRPr>
            </a:lvl3pPr>
            <a:lvl4pPr marL="1371600" indent="0">
              <a:buNone/>
              <a:defRPr sz="8800" b="1" i="0">
                <a:latin typeface="AvenirNext LT Pro Bold" panose="020B0504020202020204" pitchFamily="34" charset="77"/>
              </a:defRPr>
            </a:lvl4pPr>
            <a:lvl5pPr marL="1828800" indent="0">
              <a:buNone/>
              <a:defRPr sz="8800" b="1" i="0">
                <a:latin typeface="AvenirNext LT Pro Bold" panose="020B0504020202020204" pitchFamily="34" charset="77"/>
              </a:defRPr>
            </a:lvl5pPr>
          </a:lstStyle>
          <a:p>
            <a:pPr marL="0" indent="0" algn="ctr" defTabSz="609585">
              <a:spcBef>
                <a:spcPts val="0"/>
              </a:spcBef>
            </a:pPr>
            <a:r>
              <a:rPr lang="en-US" sz="5400" b="1">
                <a:solidFill>
                  <a:prstClr val="black"/>
                </a:solidFill>
                <a:latin typeface="AvenirNext LT Pro Bold" panose="020B0504020202020204" pitchFamily="34" charset="77"/>
              </a:rPr>
              <a:t>We use </a:t>
            </a:r>
            <a:r>
              <a:rPr lang="en-US" sz="5400" b="1">
                <a:solidFill>
                  <a:srgbClr val="CEB36E"/>
                </a:solidFill>
                <a:latin typeface="AvenirNext LT Pro Bold" panose="020B0504020202020204" pitchFamily="34" charset="77"/>
                <a:cs typeface="+mn-cs"/>
              </a:rPr>
              <a:t>our work </a:t>
            </a:r>
            <a:r>
              <a:rPr lang="en-US" sz="5400" b="1">
                <a:solidFill>
                  <a:prstClr val="black"/>
                </a:solidFill>
                <a:latin typeface="AvenirNext LT Pro Bold" panose="020B0504020202020204" pitchFamily="34" charset="77"/>
              </a:rPr>
              <a:t>in all of our presentation, matching the slides title</a:t>
            </a:r>
          </a:p>
        </p:txBody>
      </p:sp>
      <p:pic>
        <p:nvPicPr>
          <p:cNvPr id="2" name="Picture 1">
            <a:extLst>
              <a:ext uri="{FF2B5EF4-FFF2-40B4-BE49-F238E27FC236}">
                <a16:creationId xmlns:a16="http://schemas.microsoft.com/office/drawing/2014/main" id="{AC383B4C-500A-16F3-3C3B-534D2B86B4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33043" y="5494852"/>
            <a:ext cx="877957" cy="1083131"/>
          </a:xfrm>
          <a:prstGeom prst="rect">
            <a:avLst/>
          </a:prstGeom>
        </p:spPr>
      </p:pic>
    </p:spTree>
    <p:extLst>
      <p:ext uri="{BB962C8B-B14F-4D97-AF65-F5344CB8AC3E}">
        <p14:creationId xmlns:p14="http://schemas.microsoft.com/office/powerpoint/2010/main" val="18161865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DBBAD0F-B4DA-2C28-98DC-23FBE34C086C}"/>
              </a:ext>
            </a:extLst>
          </p:cNvPr>
          <p:cNvSpPr>
            <a:spLocks noGrp="1"/>
          </p:cNvSpPr>
          <p:nvPr>
            <p:ph type="body" sz="quarter" idx="18" hasCustomPrompt="1"/>
          </p:nvPr>
        </p:nvSpPr>
        <p:spPr>
          <a:xfrm>
            <a:off x="437390" y="1312673"/>
            <a:ext cx="5114324" cy="4232654"/>
          </a:xfrm>
          <a:prstGeom prst="rect">
            <a:avLst/>
          </a:prstGeom>
        </p:spPr>
        <p:txBody>
          <a:bodyPr anchor="ctr"/>
          <a:lstStyle>
            <a:lvl1pPr marL="0" indent="0" algn="ctr">
              <a:buNone/>
              <a:defRPr sz="5000" b="1" i="0">
                <a:latin typeface="AvenirNext LT Pro Bold" panose="020B0504020202020204" pitchFamily="34" charset="77"/>
              </a:defRPr>
            </a:lvl1pPr>
            <a:lvl2pPr marL="457200" indent="0">
              <a:buNone/>
              <a:defRPr sz="8800" b="1" i="0">
                <a:latin typeface="AvenirNext LT Pro Bold" panose="020B0504020202020204" pitchFamily="34" charset="77"/>
              </a:defRPr>
            </a:lvl2pPr>
            <a:lvl3pPr marL="914400" indent="0">
              <a:buNone/>
              <a:defRPr sz="8800" b="1" i="0">
                <a:latin typeface="AvenirNext LT Pro Bold" panose="020B0504020202020204" pitchFamily="34" charset="77"/>
              </a:defRPr>
            </a:lvl3pPr>
            <a:lvl4pPr marL="1371600" indent="0">
              <a:buNone/>
              <a:defRPr sz="8800" b="1" i="0">
                <a:latin typeface="AvenirNext LT Pro Bold" panose="020B0504020202020204" pitchFamily="34" charset="77"/>
              </a:defRPr>
            </a:lvl4pPr>
            <a:lvl5pPr marL="1828800" indent="0">
              <a:buNone/>
              <a:defRPr sz="8800" b="1" i="0">
                <a:latin typeface="AvenirNext LT Pro Bold" panose="020B0504020202020204" pitchFamily="34" charset="77"/>
              </a:defRPr>
            </a:lvl5pPr>
          </a:lstStyle>
          <a:p>
            <a:pPr lvl="0"/>
            <a:r>
              <a:rPr lang="en-GB"/>
              <a:t>Click to edit Master title style</a:t>
            </a:r>
          </a:p>
        </p:txBody>
      </p:sp>
      <p:sp>
        <p:nvSpPr>
          <p:cNvPr id="3" name="Text Placeholder 2">
            <a:extLst>
              <a:ext uri="{FF2B5EF4-FFF2-40B4-BE49-F238E27FC236}">
                <a16:creationId xmlns:a16="http://schemas.microsoft.com/office/drawing/2014/main" id="{D35762FF-336C-21F9-5656-C4CEE735CE8B}"/>
              </a:ext>
            </a:extLst>
          </p:cNvPr>
          <p:cNvSpPr>
            <a:spLocks noGrp="1"/>
          </p:cNvSpPr>
          <p:nvPr>
            <p:ph type="body" sz="quarter" idx="19" hasCustomPrompt="1"/>
          </p:nvPr>
        </p:nvSpPr>
        <p:spPr>
          <a:xfrm>
            <a:off x="6640286" y="1312673"/>
            <a:ext cx="4107409" cy="4232654"/>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i="0">
                <a:latin typeface="AvenirNext LT Pro Bold" panose="020B0504020202020204" pitchFamily="34" charset="77"/>
              </a:defRPr>
            </a:lvl1pPr>
            <a:lvl2pPr marL="457200" indent="0">
              <a:buNone/>
              <a:defRPr sz="1600" b="0" i="0">
                <a:latin typeface="AvenirNext LT Pro Bold" panose="020B0504020202020204" pitchFamily="34" charset="77"/>
              </a:defRPr>
            </a:lvl2pPr>
            <a:lvl3pPr marL="914400" indent="0">
              <a:buNone/>
              <a:defRPr sz="1600" b="0" i="0">
                <a:latin typeface="AvenirNext LT Pro Bold" panose="020B0504020202020204" pitchFamily="34" charset="77"/>
              </a:defRPr>
            </a:lvl3pPr>
            <a:lvl4pPr marL="1371600" indent="0">
              <a:buNone/>
              <a:defRPr sz="1600" b="0" i="0">
                <a:latin typeface="AvenirNext LT Pro Bold" panose="020B0504020202020204" pitchFamily="34" charset="77"/>
              </a:defRPr>
            </a:lvl4pPr>
            <a:lvl5pPr marL="1828800" indent="0">
              <a:buNone/>
              <a:defRPr sz="1600" b="0" i="0">
                <a:latin typeface="AvenirNext LT Pro Bold" panose="020B0504020202020204" pitchFamily="34" charset="77"/>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uspendisse</a:t>
            </a:r>
            <a:r>
              <a:rPr lang="en-GB"/>
              <a:t> et </a:t>
            </a:r>
            <a:r>
              <a:rPr lang="en-GB" err="1"/>
              <a:t>imperdiet</a:t>
            </a:r>
            <a:r>
              <a:rPr lang="en-GB"/>
              <a:t> nisi. Proin a </a:t>
            </a:r>
            <a:r>
              <a:rPr lang="en-GB" err="1"/>
              <a:t>metus</a:t>
            </a:r>
            <a:r>
              <a:rPr lang="en-GB"/>
              <a:t> </a:t>
            </a:r>
            <a:r>
              <a:rPr lang="en-GB" err="1"/>
              <a:t>volutpat</a:t>
            </a:r>
            <a:r>
              <a:rPr lang="en-GB"/>
              <a:t> </a:t>
            </a:r>
            <a:r>
              <a:rPr lang="en-GB" err="1"/>
              <a:t>odio</a:t>
            </a:r>
            <a:r>
              <a:rPr lang="en-GB"/>
              <a:t> convallis fermentum. Nunc </a:t>
            </a:r>
            <a:r>
              <a:rPr lang="en-GB" err="1"/>
              <a:t>massa</a:t>
            </a:r>
            <a:r>
              <a:rPr lang="en-GB"/>
              <a:t> </a:t>
            </a:r>
            <a:r>
              <a:rPr lang="en-GB" err="1"/>
              <a:t>augue</a:t>
            </a:r>
            <a:r>
              <a:rPr lang="en-GB"/>
              <a:t>, dictum vitae lorem </a:t>
            </a:r>
            <a:r>
              <a:rPr lang="en-GB" err="1"/>
              <a:t>eget</a:t>
            </a:r>
            <a:r>
              <a:rPr lang="en-GB"/>
              <a:t>, </a:t>
            </a:r>
            <a:r>
              <a:rPr lang="en-GB" err="1"/>
              <a:t>feugiat</a:t>
            </a:r>
            <a:r>
              <a:rPr lang="en-GB"/>
              <a:t> </a:t>
            </a:r>
            <a:r>
              <a:rPr lang="en-GB" err="1"/>
              <a:t>scelerisque</a:t>
            </a:r>
            <a:r>
              <a:rPr lang="en-GB"/>
              <a:t> dui. Ut mi </a:t>
            </a:r>
            <a:r>
              <a:rPr lang="en-GB" err="1"/>
              <a:t>lacus</a:t>
            </a:r>
            <a:r>
              <a:rPr lang="en-GB"/>
              <a:t>, </a:t>
            </a:r>
            <a:r>
              <a:rPr lang="en-GB" err="1"/>
              <a:t>ornare</a:t>
            </a:r>
            <a:r>
              <a:rPr lang="en-GB"/>
              <a:t> sit </a:t>
            </a:r>
            <a:r>
              <a:rPr lang="en-GB" err="1"/>
              <a:t>amet</a:t>
            </a:r>
            <a:r>
              <a:rPr lang="en-GB"/>
              <a:t> </a:t>
            </a:r>
            <a:r>
              <a:rPr lang="en-GB" err="1"/>
              <a:t>suscipit</a:t>
            </a:r>
            <a:r>
              <a:rPr lang="en-GB"/>
              <a:t> et, </a:t>
            </a:r>
            <a:r>
              <a:rPr lang="en-GB" err="1"/>
              <a:t>laoreet</a:t>
            </a:r>
            <a:r>
              <a:rPr lang="en-GB"/>
              <a:t> in </a:t>
            </a:r>
            <a:r>
              <a:rPr lang="en-GB" err="1"/>
              <a:t>massa</a:t>
            </a:r>
            <a:r>
              <a:rPr lang="en-GB"/>
              <a:t>. Vestibulum sit </a:t>
            </a:r>
            <a:r>
              <a:rPr lang="en-GB" err="1"/>
              <a:t>amet</a:t>
            </a:r>
            <a:r>
              <a:rPr lang="en-GB"/>
              <a:t> </a:t>
            </a:r>
            <a:r>
              <a:rPr lang="en-GB" err="1"/>
              <a:t>velit</a:t>
            </a:r>
            <a:r>
              <a:rPr lang="en-GB"/>
              <a:t> a </a:t>
            </a:r>
            <a:r>
              <a:rPr lang="en-GB" err="1"/>
              <a:t>augue</a:t>
            </a:r>
            <a:r>
              <a:rPr lang="en-GB"/>
              <a:t> </a:t>
            </a:r>
            <a:r>
              <a:rPr lang="en-GB" err="1"/>
              <a:t>egestas</a:t>
            </a:r>
            <a:r>
              <a:rPr lang="en-GB"/>
              <a:t> </a:t>
            </a:r>
            <a:r>
              <a:rPr lang="en-GB" err="1"/>
              <a:t>luctus</a:t>
            </a:r>
            <a:r>
              <a:rPr lang="en-GB"/>
              <a:t> et a nisi. Click to edit Master text</a:t>
            </a:r>
            <a:endParaRPr lang="en-BE"/>
          </a:p>
        </p:txBody>
      </p:sp>
      <p:sp>
        <p:nvSpPr>
          <p:cNvPr id="5" name="Text Placeholder 5">
            <a:extLst>
              <a:ext uri="{FF2B5EF4-FFF2-40B4-BE49-F238E27FC236}">
                <a16:creationId xmlns:a16="http://schemas.microsoft.com/office/drawing/2014/main" id="{0C619FEB-D199-F16D-5442-090844318C24}"/>
              </a:ext>
            </a:extLst>
          </p:cNvPr>
          <p:cNvSpPr>
            <a:spLocks noGrp="1"/>
          </p:cNvSpPr>
          <p:nvPr>
            <p:ph type="body" sz="quarter" idx="10" hasCustomPrompt="1"/>
          </p:nvPr>
        </p:nvSpPr>
        <p:spPr>
          <a:xfrm>
            <a:off x="437390" y="304079"/>
            <a:ext cx="5363564" cy="228026"/>
          </a:xfrm>
          <a:prstGeom prst="rect">
            <a:avLst/>
          </a:prstGeom>
        </p:spPr>
        <p:txBody>
          <a:bodyPr>
            <a:noAutofit/>
          </a:bodyPr>
          <a:lstStyle>
            <a:lvl1pPr marL="0" inden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a:defRPr/>
            </a:lvl2pPr>
            <a:lvl3pPr>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tabLst/>
              <a:defRPr/>
            </a:pPr>
            <a:r>
              <a:rPr lang="en-GB"/>
              <a:t>THE AGENDA</a:t>
            </a:r>
            <a:endParaRPr lang="en-BE"/>
          </a:p>
        </p:txBody>
      </p:sp>
      <p:cxnSp>
        <p:nvCxnSpPr>
          <p:cNvPr id="4" name="Straight Connector 3">
            <a:extLst>
              <a:ext uri="{FF2B5EF4-FFF2-40B4-BE49-F238E27FC236}">
                <a16:creationId xmlns:a16="http://schemas.microsoft.com/office/drawing/2014/main" id="{752C83E4-584E-5F38-0AEC-415B239B07BB}"/>
              </a:ext>
            </a:extLst>
          </p:cNvPr>
          <p:cNvCxnSpPr>
            <a:cxnSpLocks/>
          </p:cNvCxnSpPr>
          <p:nvPr userDrawn="1"/>
        </p:nvCxnSpPr>
        <p:spPr>
          <a:xfrm flipV="1">
            <a:off x="6096000" y="1312673"/>
            <a:ext cx="0" cy="4232654"/>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D4AFE36-94F4-67EC-836C-D117E401EE9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33043" y="5494852"/>
            <a:ext cx="877957" cy="1083131"/>
          </a:xfrm>
          <a:prstGeom prst="rect">
            <a:avLst/>
          </a:prstGeom>
        </p:spPr>
      </p:pic>
    </p:spTree>
    <p:extLst>
      <p:ext uri="{BB962C8B-B14F-4D97-AF65-F5344CB8AC3E}">
        <p14:creationId xmlns:p14="http://schemas.microsoft.com/office/powerpoint/2010/main" val="1122095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_AL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35762FF-336C-21F9-5656-C4CEE735CE8B}"/>
              </a:ext>
            </a:extLst>
          </p:cNvPr>
          <p:cNvSpPr>
            <a:spLocks noGrp="1"/>
          </p:cNvSpPr>
          <p:nvPr>
            <p:ph type="body" sz="quarter" idx="19" hasCustomPrompt="1"/>
          </p:nvPr>
        </p:nvSpPr>
        <p:spPr>
          <a:xfrm>
            <a:off x="1452932" y="1312673"/>
            <a:ext cx="4107409" cy="4232654"/>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i="0">
                <a:latin typeface="AvenirNext LT Pro Bold" panose="020B0504020202020204" pitchFamily="34" charset="77"/>
              </a:defRPr>
            </a:lvl1pPr>
            <a:lvl2pPr marL="457200" indent="0">
              <a:buNone/>
              <a:defRPr sz="1600" b="0" i="0">
                <a:latin typeface="AvenirNext LT Pro Bold" panose="020B0504020202020204" pitchFamily="34" charset="77"/>
              </a:defRPr>
            </a:lvl2pPr>
            <a:lvl3pPr marL="914400" indent="0">
              <a:buNone/>
              <a:defRPr sz="1600" b="0" i="0">
                <a:latin typeface="AvenirNext LT Pro Bold" panose="020B0504020202020204" pitchFamily="34" charset="77"/>
              </a:defRPr>
            </a:lvl3pPr>
            <a:lvl4pPr marL="1371600" indent="0">
              <a:buNone/>
              <a:defRPr sz="1600" b="0" i="0">
                <a:latin typeface="AvenirNext LT Pro Bold" panose="020B0504020202020204" pitchFamily="34" charset="77"/>
              </a:defRPr>
            </a:lvl4pPr>
            <a:lvl5pPr marL="1828800" indent="0">
              <a:buNone/>
              <a:defRPr sz="1600" b="0" i="0">
                <a:latin typeface="AvenirNext LT Pro Bold" panose="020B0504020202020204" pitchFamily="34" charset="77"/>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uspendisse</a:t>
            </a:r>
            <a:r>
              <a:rPr lang="en-GB"/>
              <a:t> et </a:t>
            </a:r>
            <a:r>
              <a:rPr lang="en-GB" err="1"/>
              <a:t>imperdiet</a:t>
            </a:r>
            <a:r>
              <a:rPr lang="en-GB"/>
              <a:t> nisi. Proin a </a:t>
            </a:r>
            <a:r>
              <a:rPr lang="en-GB" err="1"/>
              <a:t>metus</a:t>
            </a:r>
            <a:r>
              <a:rPr lang="en-GB"/>
              <a:t> </a:t>
            </a:r>
            <a:r>
              <a:rPr lang="en-GB" err="1"/>
              <a:t>volutpat</a:t>
            </a:r>
            <a:r>
              <a:rPr lang="en-GB"/>
              <a:t> </a:t>
            </a:r>
            <a:r>
              <a:rPr lang="en-GB" err="1"/>
              <a:t>odio</a:t>
            </a:r>
            <a:r>
              <a:rPr lang="en-GB"/>
              <a:t> convallis fermentum. Nunc </a:t>
            </a:r>
            <a:r>
              <a:rPr lang="en-GB" err="1"/>
              <a:t>massa</a:t>
            </a:r>
            <a:r>
              <a:rPr lang="en-GB"/>
              <a:t> </a:t>
            </a:r>
            <a:r>
              <a:rPr lang="en-GB" err="1"/>
              <a:t>augue</a:t>
            </a:r>
            <a:r>
              <a:rPr lang="en-GB"/>
              <a:t>, dictum vitae lorem </a:t>
            </a:r>
            <a:r>
              <a:rPr lang="en-GB" err="1"/>
              <a:t>eget</a:t>
            </a:r>
            <a:r>
              <a:rPr lang="en-GB"/>
              <a:t>, </a:t>
            </a:r>
            <a:r>
              <a:rPr lang="en-GB" err="1"/>
              <a:t>feugiat</a:t>
            </a:r>
            <a:r>
              <a:rPr lang="en-GB"/>
              <a:t> </a:t>
            </a:r>
            <a:r>
              <a:rPr lang="en-GB" err="1"/>
              <a:t>scelerisque</a:t>
            </a:r>
            <a:r>
              <a:rPr lang="en-GB"/>
              <a:t> dui. Ut mi </a:t>
            </a:r>
            <a:r>
              <a:rPr lang="en-GB" err="1"/>
              <a:t>lacus</a:t>
            </a:r>
            <a:r>
              <a:rPr lang="en-GB"/>
              <a:t>, </a:t>
            </a:r>
            <a:r>
              <a:rPr lang="en-GB" err="1"/>
              <a:t>ornare</a:t>
            </a:r>
            <a:r>
              <a:rPr lang="en-GB"/>
              <a:t> sit </a:t>
            </a:r>
            <a:r>
              <a:rPr lang="en-GB" err="1"/>
              <a:t>amet</a:t>
            </a:r>
            <a:r>
              <a:rPr lang="en-GB"/>
              <a:t> </a:t>
            </a:r>
            <a:r>
              <a:rPr lang="en-GB" err="1"/>
              <a:t>suscipit</a:t>
            </a:r>
            <a:r>
              <a:rPr lang="en-GB"/>
              <a:t> et, </a:t>
            </a:r>
            <a:r>
              <a:rPr lang="en-GB" err="1"/>
              <a:t>laoreet</a:t>
            </a:r>
            <a:r>
              <a:rPr lang="en-GB"/>
              <a:t> in </a:t>
            </a:r>
            <a:r>
              <a:rPr lang="en-GB" err="1"/>
              <a:t>massa</a:t>
            </a:r>
            <a:r>
              <a:rPr lang="en-GB"/>
              <a:t>. Vestibulum sit </a:t>
            </a:r>
            <a:r>
              <a:rPr lang="en-GB" err="1"/>
              <a:t>amet</a:t>
            </a:r>
            <a:r>
              <a:rPr lang="en-GB"/>
              <a:t> </a:t>
            </a:r>
            <a:r>
              <a:rPr lang="en-GB" err="1"/>
              <a:t>velit</a:t>
            </a:r>
            <a:r>
              <a:rPr lang="en-GB"/>
              <a:t> a </a:t>
            </a:r>
            <a:r>
              <a:rPr lang="en-GB" err="1"/>
              <a:t>augue</a:t>
            </a:r>
            <a:r>
              <a:rPr lang="en-GB"/>
              <a:t> </a:t>
            </a:r>
            <a:r>
              <a:rPr lang="en-GB" err="1"/>
              <a:t>egestas</a:t>
            </a:r>
            <a:r>
              <a:rPr lang="en-GB"/>
              <a:t> </a:t>
            </a:r>
            <a:r>
              <a:rPr lang="en-GB" err="1"/>
              <a:t>luctus</a:t>
            </a:r>
            <a:r>
              <a:rPr lang="en-GB"/>
              <a:t> et a nisi. Click to edit Master text</a:t>
            </a:r>
            <a:endParaRPr lang="en-BE"/>
          </a:p>
        </p:txBody>
      </p:sp>
      <p:sp>
        <p:nvSpPr>
          <p:cNvPr id="5" name="Text Placeholder 5">
            <a:extLst>
              <a:ext uri="{FF2B5EF4-FFF2-40B4-BE49-F238E27FC236}">
                <a16:creationId xmlns:a16="http://schemas.microsoft.com/office/drawing/2014/main" id="{0C619FEB-D199-F16D-5442-090844318C24}"/>
              </a:ext>
            </a:extLst>
          </p:cNvPr>
          <p:cNvSpPr>
            <a:spLocks noGrp="1"/>
          </p:cNvSpPr>
          <p:nvPr>
            <p:ph type="body" sz="quarter" idx="10" hasCustomPrompt="1"/>
          </p:nvPr>
        </p:nvSpPr>
        <p:spPr>
          <a:xfrm>
            <a:off x="437390" y="304079"/>
            <a:ext cx="5363564" cy="228026"/>
          </a:xfrm>
          <a:prstGeom prst="rect">
            <a:avLst/>
          </a:prstGeom>
        </p:spPr>
        <p:txBody>
          <a:bodyPr>
            <a:noAutofit/>
          </a:bodyPr>
          <a:lstStyle>
            <a:lvl1pPr marL="0" inden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a:defRPr/>
            </a:lvl2pPr>
            <a:lvl3pPr>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tabLst/>
              <a:defRPr/>
            </a:pPr>
            <a:r>
              <a:rPr lang="en-GB"/>
              <a:t>THE AGENDA</a:t>
            </a:r>
            <a:endParaRPr lang="en-BE"/>
          </a:p>
        </p:txBody>
      </p:sp>
      <p:cxnSp>
        <p:nvCxnSpPr>
          <p:cNvPr id="4" name="Straight Connector 3">
            <a:extLst>
              <a:ext uri="{FF2B5EF4-FFF2-40B4-BE49-F238E27FC236}">
                <a16:creationId xmlns:a16="http://schemas.microsoft.com/office/drawing/2014/main" id="{752C83E4-584E-5F38-0AEC-415B239B07BB}"/>
              </a:ext>
            </a:extLst>
          </p:cNvPr>
          <p:cNvCxnSpPr>
            <a:cxnSpLocks/>
          </p:cNvCxnSpPr>
          <p:nvPr userDrawn="1"/>
        </p:nvCxnSpPr>
        <p:spPr>
          <a:xfrm flipV="1">
            <a:off x="6096000" y="1312673"/>
            <a:ext cx="0" cy="4232654"/>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851F078A-3B11-FB8A-B6D7-F420708DB844}"/>
              </a:ext>
            </a:extLst>
          </p:cNvPr>
          <p:cNvSpPr>
            <a:spLocks noGrp="1"/>
          </p:cNvSpPr>
          <p:nvPr>
            <p:ph type="body" sz="quarter" idx="18" hasCustomPrompt="1"/>
          </p:nvPr>
        </p:nvSpPr>
        <p:spPr>
          <a:xfrm>
            <a:off x="6631660" y="1312673"/>
            <a:ext cx="5114324" cy="4232654"/>
          </a:xfrm>
          <a:prstGeom prst="rect">
            <a:avLst/>
          </a:prstGeom>
        </p:spPr>
        <p:txBody>
          <a:bodyPr anchor="ctr"/>
          <a:lstStyle>
            <a:lvl1pPr marL="0" indent="0" algn="l">
              <a:buNone/>
              <a:defRPr sz="5000" b="1" i="0">
                <a:latin typeface="AvenirNext LT Pro Bold" panose="020B0504020202020204" pitchFamily="34" charset="77"/>
              </a:defRPr>
            </a:lvl1pPr>
            <a:lvl2pPr marL="457200" indent="0">
              <a:buNone/>
              <a:defRPr sz="8800" b="1" i="0">
                <a:latin typeface="AvenirNext LT Pro Bold" panose="020B0504020202020204" pitchFamily="34" charset="77"/>
              </a:defRPr>
            </a:lvl2pPr>
            <a:lvl3pPr marL="914400" indent="0">
              <a:buNone/>
              <a:defRPr sz="8800" b="1" i="0">
                <a:latin typeface="AvenirNext LT Pro Bold" panose="020B0504020202020204" pitchFamily="34" charset="77"/>
              </a:defRPr>
            </a:lvl3pPr>
            <a:lvl4pPr marL="1371600" indent="0">
              <a:buNone/>
              <a:defRPr sz="8800" b="1" i="0">
                <a:latin typeface="AvenirNext LT Pro Bold" panose="020B0504020202020204" pitchFamily="34" charset="77"/>
              </a:defRPr>
            </a:lvl4pPr>
            <a:lvl5pPr marL="1828800" indent="0">
              <a:buNone/>
              <a:defRPr sz="8800" b="1" i="0">
                <a:latin typeface="AvenirNext LT Pro Bold" panose="020B0504020202020204" pitchFamily="34" charset="77"/>
              </a:defRPr>
            </a:lvl5pPr>
          </a:lstStyle>
          <a:p>
            <a:pPr lvl="0"/>
            <a:r>
              <a:rPr lang="en-GB"/>
              <a:t>Click to edit Master title style</a:t>
            </a:r>
          </a:p>
        </p:txBody>
      </p:sp>
      <p:pic>
        <p:nvPicPr>
          <p:cNvPr id="7" name="Picture 6">
            <a:extLst>
              <a:ext uri="{FF2B5EF4-FFF2-40B4-BE49-F238E27FC236}">
                <a16:creationId xmlns:a16="http://schemas.microsoft.com/office/drawing/2014/main" id="{4F964337-D467-FD33-F300-3F7A05576C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33043" y="5494852"/>
            <a:ext cx="877957" cy="1083131"/>
          </a:xfrm>
          <a:prstGeom prst="rect">
            <a:avLst/>
          </a:prstGeom>
        </p:spPr>
      </p:pic>
    </p:spTree>
    <p:extLst>
      <p:ext uri="{BB962C8B-B14F-4D97-AF65-F5344CB8AC3E}">
        <p14:creationId xmlns:p14="http://schemas.microsoft.com/office/powerpoint/2010/main" val="29726948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PICTURE">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0C619FEB-D199-F16D-5442-090844318C24}"/>
              </a:ext>
            </a:extLst>
          </p:cNvPr>
          <p:cNvSpPr>
            <a:spLocks noGrp="1"/>
          </p:cNvSpPr>
          <p:nvPr>
            <p:ph type="body" sz="quarter" idx="10" hasCustomPrompt="1"/>
          </p:nvPr>
        </p:nvSpPr>
        <p:spPr>
          <a:xfrm>
            <a:off x="437390" y="304079"/>
            <a:ext cx="5363564" cy="228026"/>
          </a:xfrm>
          <a:prstGeom prst="rect">
            <a:avLst/>
          </a:prstGeom>
        </p:spPr>
        <p:txBody>
          <a:bodyPr>
            <a:noAutofit/>
          </a:bodyPr>
          <a:lstStyle>
            <a:lvl1pPr marL="0" inden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a:defRPr/>
            </a:lvl2pPr>
            <a:lvl3pPr>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tabLst/>
              <a:defRPr/>
            </a:pPr>
            <a:r>
              <a:rPr lang="en-GB"/>
              <a:t>THE AGENDA</a:t>
            </a:r>
            <a:endParaRPr lang="en-BE"/>
          </a:p>
        </p:txBody>
      </p:sp>
      <p:sp>
        <p:nvSpPr>
          <p:cNvPr id="4" name="Content Placeholder 3">
            <a:extLst>
              <a:ext uri="{FF2B5EF4-FFF2-40B4-BE49-F238E27FC236}">
                <a16:creationId xmlns:a16="http://schemas.microsoft.com/office/drawing/2014/main" id="{F316A5BF-6354-56B8-D595-C241C6EAC994}"/>
              </a:ext>
            </a:extLst>
          </p:cNvPr>
          <p:cNvSpPr>
            <a:spLocks noGrp="1"/>
          </p:cNvSpPr>
          <p:nvPr>
            <p:ph sz="half" idx="2"/>
          </p:nvPr>
        </p:nvSpPr>
        <p:spPr>
          <a:xfrm>
            <a:off x="0" y="1088571"/>
            <a:ext cx="6457190" cy="4553266"/>
          </a:xfrm>
          <a:prstGeom prst="rect">
            <a:avLst/>
          </a:prstGeom>
          <a:solidFill>
            <a:schemeClr val="bg1">
              <a:lumMod val="95000"/>
            </a:schemeClr>
          </a:solidFill>
          <a:ln>
            <a:noFill/>
          </a:ln>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sp>
        <p:nvSpPr>
          <p:cNvPr id="6" name="Content Placeholder 3">
            <a:extLst>
              <a:ext uri="{FF2B5EF4-FFF2-40B4-BE49-F238E27FC236}">
                <a16:creationId xmlns:a16="http://schemas.microsoft.com/office/drawing/2014/main" id="{5D602EE7-B3D1-FAB7-10A2-EB9AC52B8C04}"/>
              </a:ext>
            </a:extLst>
          </p:cNvPr>
          <p:cNvSpPr>
            <a:spLocks noGrp="1"/>
          </p:cNvSpPr>
          <p:nvPr>
            <p:ph sz="half" idx="11" hasCustomPrompt="1"/>
          </p:nvPr>
        </p:nvSpPr>
        <p:spPr>
          <a:xfrm>
            <a:off x="6838190" y="1088570"/>
            <a:ext cx="3688044" cy="4553267"/>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GB" sz="1600" b="0" i="0" smtClean="0">
                <a:effectLst/>
                <a:latin typeface="AvenirNext LT Pro Bold" panose="020B0504020202020204" pitchFamily="34" charset="77"/>
              </a:defRPr>
            </a:lvl1pPr>
            <a:lvl2pPr>
              <a:lnSpc>
                <a:spcPct val="100000"/>
              </a:lnSpc>
              <a:defRPr sz="1600">
                <a:latin typeface="AvenirNext LT Pro Bold" panose="020B0504020202020204" pitchFamily="34" charset="77"/>
              </a:defRPr>
            </a:lvl2pPr>
            <a:lvl3pPr>
              <a:lnSpc>
                <a:spcPct val="100000"/>
              </a:lnSpc>
              <a:defRPr sz="1400">
                <a:latin typeface="AvenirNext LT Pro Bold" panose="020B0504020202020204" pitchFamily="34" charset="77"/>
              </a:defRPr>
            </a:lvl3pPr>
            <a:lvl4pPr>
              <a:lnSpc>
                <a:spcPct val="100000"/>
              </a:lnSpc>
              <a:defRPr sz="1200">
                <a:latin typeface="AvenirNext LT Pro Bold" panose="020B0504020202020204" pitchFamily="34" charset="77"/>
              </a:defRPr>
            </a:lvl4pPr>
            <a:lvl5pPr>
              <a:lnSpc>
                <a:spcPct val="100000"/>
              </a:lnSpc>
              <a:defRPr sz="1100">
                <a:latin typeface="AvenirNext LT Pro Bold" panose="020B0504020202020204" pitchFamily="34" charset="77"/>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uspendisse</a:t>
            </a:r>
            <a:r>
              <a:rPr lang="en-GB"/>
              <a:t> et </a:t>
            </a:r>
            <a:r>
              <a:rPr lang="en-GB" err="1"/>
              <a:t>imperdiet</a:t>
            </a:r>
            <a:r>
              <a:rPr lang="en-GB"/>
              <a:t> nisi. Proin a </a:t>
            </a:r>
            <a:r>
              <a:rPr lang="en-GB" err="1"/>
              <a:t>metus</a:t>
            </a:r>
            <a:r>
              <a:rPr lang="en-GB"/>
              <a:t> </a:t>
            </a:r>
            <a:r>
              <a:rPr lang="en-GB" err="1"/>
              <a:t>volutpat</a:t>
            </a:r>
            <a:r>
              <a:rPr lang="en-GB"/>
              <a:t> </a:t>
            </a:r>
            <a:r>
              <a:rPr lang="en-GB" err="1"/>
              <a:t>odio</a:t>
            </a:r>
            <a:r>
              <a:rPr lang="en-GB"/>
              <a:t> convallis fermentum. Nunc </a:t>
            </a:r>
            <a:r>
              <a:rPr lang="en-GB" err="1"/>
              <a:t>massa</a:t>
            </a:r>
            <a:r>
              <a:rPr lang="en-GB"/>
              <a:t> </a:t>
            </a:r>
            <a:r>
              <a:rPr lang="en-GB" err="1"/>
              <a:t>augue</a:t>
            </a:r>
            <a:r>
              <a:rPr lang="en-GB"/>
              <a:t>, dictum vitae lorem </a:t>
            </a:r>
            <a:r>
              <a:rPr lang="en-GB" err="1"/>
              <a:t>eget</a:t>
            </a:r>
            <a:r>
              <a:rPr lang="en-GB"/>
              <a:t>, </a:t>
            </a:r>
            <a:r>
              <a:rPr lang="en-GB" err="1"/>
              <a:t>feugiat</a:t>
            </a:r>
            <a:r>
              <a:rPr lang="en-GB"/>
              <a:t> </a:t>
            </a:r>
            <a:r>
              <a:rPr lang="en-GB" err="1"/>
              <a:t>scelerisque</a:t>
            </a:r>
            <a:r>
              <a:rPr lang="en-GB"/>
              <a:t> dui. Ut mi </a:t>
            </a:r>
            <a:r>
              <a:rPr lang="en-GB" err="1"/>
              <a:t>lacus</a:t>
            </a:r>
            <a:r>
              <a:rPr lang="en-GB"/>
              <a:t>, </a:t>
            </a:r>
            <a:r>
              <a:rPr lang="en-GB" err="1"/>
              <a:t>ornare</a:t>
            </a:r>
            <a:r>
              <a:rPr lang="en-GB"/>
              <a:t> sit </a:t>
            </a:r>
            <a:r>
              <a:rPr lang="en-GB" err="1"/>
              <a:t>amet</a:t>
            </a:r>
            <a:r>
              <a:rPr lang="en-GB"/>
              <a:t> </a:t>
            </a:r>
            <a:r>
              <a:rPr lang="en-GB" err="1"/>
              <a:t>suscipit</a:t>
            </a:r>
            <a:r>
              <a:rPr lang="en-GB"/>
              <a:t> et, </a:t>
            </a:r>
            <a:r>
              <a:rPr lang="en-GB" err="1"/>
              <a:t>laoreet</a:t>
            </a:r>
            <a:r>
              <a:rPr lang="en-GB"/>
              <a:t> in </a:t>
            </a:r>
            <a:r>
              <a:rPr lang="en-GB" err="1"/>
              <a:t>massa</a:t>
            </a:r>
            <a:r>
              <a:rPr lang="en-GB"/>
              <a:t>. Vestibulum sit </a:t>
            </a:r>
            <a:r>
              <a:rPr lang="en-GB" err="1"/>
              <a:t>amet</a:t>
            </a:r>
            <a:r>
              <a:rPr lang="en-GB"/>
              <a:t> </a:t>
            </a:r>
            <a:r>
              <a:rPr lang="en-GB" err="1"/>
              <a:t>velit</a:t>
            </a:r>
            <a:r>
              <a:rPr lang="en-GB"/>
              <a:t> a </a:t>
            </a:r>
            <a:r>
              <a:rPr lang="en-GB" err="1"/>
              <a:t>augue</a:t>
            </a:r>
            <a:r>
              <a:rPr lang="en-GB"/>
              <a:t> </a:t>
            </a:r>
            <a:r>
              <a:rPr lang="en-GB" err="1"/>
              <a:t>egestas</a:t>
            </a:r>
            <a:r>
              <a:rPr lang="en-GB"/>
              <a:t> </a:t>
            </a:r>
            <a:r>
              <a:rPr lang="en-GB" err="1"/>
              <a:t>luctus</a:t>
            </a:r>
            <a:r>
              <a:rPr lang="en-GB"/>
              <a:t> et a nisi. 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pic>
        <p:nvPicPr>
          <p:cNvPr id="3" name="Picture 2">
            <a:extLst>
              <a:ext uri="{FF2B5EF4-FFF2-40B4-BE49-F238E27FC236}">
                <a16:creationId xmlns:a16="http://schemas.microsoft.com/office/drawing/2014/main" id="{C10CD12F-27C2-F49F-D68D-3B20D687BD4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33043" y="5469694"/>
            <a:ext cx="877957" cy="1133447"/>
          </a:xfrm>
          <a:prstGeom prst="rect">
            <a:avLst/>
          </a:prstGeom>
        </p:spPr>
      </p:pic>
    </p:spTree>
    <p:extLst>
      <p:ext uri="{BB962C8B-B14F-4D97-AF65-F5344CB8AC3E}">
        <p14:creationId xmlns:p14="http://schemas.microsoft.com/office/powerpoint/2010/main" val="3260504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PICTURE OPTION 2">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0C619FEB-D199-F16D-5442-090844318C24}"/>
              </a:ext>
            </a:extLst>
          </p:cNvPr>
          <p:cNvSpPr>
            <a:spLocks noGrp="1"/>
          </p:cNvSpPr>
          <p:nvPr>
            <p:ph type="body" sz="quarter" idx="10" hasCustomPrompt="1"/>
          </p:nvPr>
        </p:nvSpPr>
        <p:spPr>
          <a:xfrm>
            <a:off x="437390" y="304079"/>
            <a:ext cx="5363564" cy="228026"/>
          </a:xfrm>
          <a:prstGeom prst="rect">
            <a:avLst/>
          </a:prstGeom>
        </p:spPr>
        <p:txBody>
          <a:bodyPr>
            <a:noAutofit/>
          </a:bodyPr>
          <a:lstStyle>
            <a:lvl1pPr marL="0" inden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a:defRPr/>
            </a:lvl2pPr>
            <a:lvl3pPr>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tabLst/>
              <a:defRPr/>
            </a:pPr>
            <a:r>
              <a:rPr lang="en-GB"/>
              <a:t>THE AGENDA</a:t>
            </a:r>
            <a:endParaRPr lang="en-BE"/>
          </a:p>
        </p:txBody>
      </p:sp>
      <p:sp>
        <p:nvSpPr>
          <p:cNvPr id="2" name="Content Placeholder 3">
            <a:extLst>
              <a:ext uri="{FF2B5EF4-FFF2-40B4-BE49-F238E27FC236}">
                <a16:creationId xmlns:a16="http://schemas.microsoft.com/office/drawing/2014/main" id="{4CC05ADF-498C-75D3-7B91-8CDAEC3A155B}"/>
              </a:ext>
            </a:extLst>
          </p:cNvPr>
          <p:cNvSpPr>
            <a:spLocks noGrp="1"/>
          </p:cNvSpPr>
          <p:nvPr>
            <p:ph sz="half" idx="2" hasCustomPrompt="1"/>
          </p:nvPr>
        </p:nvSpPr>
        <p:spPr>
          <a:xfrm>
            <a:off x="0" y="1088571"/>
            <a:ext cx="6096000" cy="4553266"/>
          </a:xfrm>
          <a:prstGeom prst="rect">
            <a:avLst/>
          </a:prstGeom>
          <a:solidFill>
            <a:schemeClr val="bg1">
              <a:lumMod val="95000"/>
            </a:schemeClr>
          </a:solidFill>
          <a:ln>
            <a:noFill/>
          </a:ln>
        </p:spPr>
        <p:txBody>
          <a:bodyPr/>
          <a:lstStyle>
            <a:lvl1pPr marL="0" indent="0">
              <a:buNone/>
              <a:defRPr/>
            </a:lvl1pPr>
          </a:lstStyle>
          <a:p>
            <a:pPr lvl="0"/>
            <a:r>
              <a:rPr lang="en-BE"/>
              <a:t>Picture goes here</a:t>
            </a:r>
          </a:p>
        </p:txBody>
      </p:sp>
      <p:sp>
        <p:nvSpPr>
          <p:cNvPr id="3" name="Title 1">
            <a:extLst>
              <a:ext uri="{FF2B5EF4-FFF2-40B4-BE49-F238E27FC236}">
                <a16:creationId xmlns:a16="http://schemas.microsoft.com/office/drawing/2014/main" id="{83EBDE4F-7D7A-27F1-4AAB-103368C36C4E}"/>
              </a:ext>
            </a:extLst>
          </p:cNvPr>
          <p:cNvSpPr>
            <a:spLocks noGrp="1"/>
          </p:cNvSpPr>
          <p:nvPr>
            <p:ph type="title"/>
          </p:nvPr>
        </p:nvSpPr>
        <p:spPr>
          <a:xfrm>
            <a:off x="6619776" y="1088571"/>
            <a:ext cx="4659571" cy="4553265"/>
          </a:xfrm>
          <a:prstGeom prst="rect">
            <a:avLst/>
          </a:prstGeom>
        </p:spPr>
        <p:txBody>
          <a:bodyPr anchor="ctr"/>
          <a:lstStyle>
            <a:lvl1pPr>
              <a:defRPr sz="6000" b="1">
                <a:latin typeface="AvenirNext LT Pro Bold" panose="020B0504020202020204" pitchFamily="34" charset="77"/>
              </a:defRPr>
            </a:lvl1pPr>
          </a:lstStyle>
          <a:p>
            <a:r>
              <a:rPr lang="en-GB"/>
              <a:t>Click to edit Master title style</a:t>
            </a:r>
            <a:endParaRPr lang="en-BE"/>
          </a:p>
        </p:txBody>
      </p:sp>
      <p:pic>
        <p:nvPicPr>
          <p:cNvPr id="6" name="Picture 5">
            <a:extLst>
              <a:ext uri="{FF2B5EF4-FFF2-40B4-BE49-F238E27FC236}">
                <a16:creationId xmlns:a16="http://schemas.microsoft.com/office/drawing/2014/main" id="{8AA4CDAA-93F3-FC22-7F3F-C7368C0BB04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33043" y="5469694"/>
            <a:ext cx="877957" cy="1133447"/>
          </a:xfrm>
          <a:prstGeom prst="rect">
            <a:avLst/>
          </a:prstGeom>
        </p:spPr>
      </p:pic>
    </p:spTree>
    <p:extLst>
      <p:ext uri="{BB962C8B-B14F-4D97-AF65-F5344CB8AC3E}">
        <p14:creationId xmlns:p14="http://schemas.microsoft.com/office/powerpoint/2010/main" val="17897782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OPTION 3">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0C619FEB-D199-F16D-5442-090844318C24}"/>
              </a:ext>
            </a:extLst>
          </p:cNvPr>
          <p:cNvSpPr>
            <a:spLocks noGrp="1"/>
          </p:cNvSpPr>
          <p:nvPr>
            <p:ph type="body" sz="quarter" idx="10" hasCustomPrompt="1"/>
          </p:nvPr>
        </p:nvSpPr>
        <p:spPr>
          <a:xfrm>
            <a:off x="437390" y="304079"/>
            <a:ext cx="5363564" cy="228026"/>
          </a:xfrm>
          <a:prstGeom prst="rect">
            <a:avLst/>
          </a:prstGeom>
        </p:spPr>
        <p:txBody>
          <a:bodyPr>
            <a:noAutofit/>
          </a:bodyPr>
          <a:lstStyle>
            <a:lvl1pPr marL="0" inden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a:defRPr/>
            </a:lvl2pPr>
            <a:lvl3pPr>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tabLst/>
              <a:defRPr/>
            </a:pPr>
            <a:r>
              <a:rPr lang="en-GB"/>
              <a:t>THE AGENDA</a:t>
            </a:r>
            <a:endParaRPr lang="en-BE"/>
          </a:p>
        </p:txBody>
      </p:sp>
      <p:sp>
        <p:nvSpPr>
          <p:cNvPr id="4" name="Title 1">
            <a:extLst>
              <a:ext uri="{FF2B5EF4-FFF2-40B4-BE49-F238E27FC236}">
                <a16:creationId xmlns:a16="http://schemas.microsoft.com/office/drawing/2014/main" id="{D76D6FA6-2C38-C53D-6DFF-A33FE82B363F}"/>
              </a:ext>
            </a:extLst>
          </p:cNvPr>
          <p:cNvSpPr>
            <a:spLocks noGrp="1"/>
          </p:cNvSpPr>
          <p:nvPr>
            <p:ph type="title"/>
          </p:nvPr>
        </p:nvSpPr>
        <p:spPr>
          <a:xfrm>
            <a:off x="437389" y="882175"/>
            <a:ext cx="11211271" cy="1325563"/>
          </a:xfrm>
          <a:prstGeom prst="rect">
            <a:avLst/>
          </a:prstGeom>
        </p:spPr>
        <p:txBody>
          <a:bodyPr anchor="ctr"/>
          <a:lstStyle>
            <a:lvl1pPr>
              <a:defRPr b="1">
                <a:latin typeface="AvenirNext LT Pro Bold" panose="020B0504020202020204" pitchFamily="34" charset="77"/>
              </a:defRPr>
            </a:lvl1pPr>
          </a:lstStyle>
          <a:p>
            <a:r>
              <a:rPr lang="en-GB"/>
              <a:t>Click to edit Master title style</a:t>
            </a:r>
            <a:endParaRPr lang="en-BE"/>
          </a:p>
        </p:txBody>
      </p:sp>
      <p:sp>
        <p:nvSpPr>
          <p:cNvPr id="6" name="Content Placeholder 3">
            <a:extLst>
              <a:ext uri="{FF2B5EF4-FFF2-40B4-BE49-F238E27FC236}">
                <a16:creationId xmlns:a16="http://schemas.microsoft.com/office/drawing/2014/main" id="{C73C6E6B-F960-E7FB-16B0-2DA7D386B587}"/>
              </a:ext>
            </a:extLst>
          </p:cNvPr>
          <p:cNvSpPr>
            <a:spLocks noGrp="1"/>
          </p:cNvSpPr>
          <p:nvPr>
            <p:ph sz="half" idx="11" hasCustomPrompt="1"/>
          </p:nvPr>
        </p:nvSpPr>
        <p:spPr>
          <a:xfrm>
            <a:off x="437389" y="2408875"/>
            <a:ext cx="4651695" cy="35669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GB" sz="1600" b="0" i="0" smtClean="0">
                <a:effectLst/>
                <a:latin typeface="AvenirNext LT Pro Bold" panose="020B0504020202020204" pitchFamily="34" charset="77"/>
              </a:defRPr>
            </a:lvl1pPr>
            <a:lvl2pPr>
              <a:lnSpc>
                <a:spcPct val="100000"/>
              </a:lnSpc>
              <a:defRPr sz="1600">
                <a:latin typeface="AvenirNext LT Pro Bold" panose="020B0504020202020204" pitchFamily="34" charset="77"/>
              </a:defRPr>
            </a:lvl2pPr>
            <a:lvl3pPr>
              <a:lnSpc>
                <a:spcPct val="100000"/>
              </a:lnSpc>
              <a:defRPr sz="1400">
                <a:latin typeface="AvenirNext LT Pro Bold" panose="020B0504020202020204" pitchFamily="34" charset="77"/>
              </a:defRPr>
            </a:lvl3pPr>
            <a:lvl4pPr>
              <a:lnSpc>
                <a:spcPct val="100000"/>
              </a:lnSpc>
              <a:defRPr sz="1200">
                <a:latin typeface="AvenirNext LT Pro Bold" panose="020B0504020202020204" pitchFamily="34" charset="77"/>
              </a:defRPr>
            </a:lvl4pPr>
            <a:lvl5pPr>
              <a:lnSpc>
                <a:spcPct val="100000"/>
              </a:lnSpc>
              <a:defRPr sz="1100">
                <a:latin typeface="AvenirNext LT Pro Bold" panose="020B0504020202020204" pitchFamily="34" charset="77"/>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uspendisse</a:t>
            </a:r>
            <a:r>
              <a:rPr lang="en-GB"/>
              <a:t> et </a:t>
            </a:r>
            <a:r>
              <a:rPr lang="en-GB" err="1"/>
              <a:t>imperdiet</a:t>
            </a:r>
            <a:r>
              <a:rPr lang="en-GB"/>
              <a:t> nisi. Proin a </a:t>
            </a:r>
            <a:r>
              <a:rPr lang="en-GB" err="1"/>
              <a:t>metus</a:t>
            </a:r>
            <a:r>
              <a:rPr lang="en-GB"/>
              <a:t> </a:t>
            </a:r>
            <a:r>
              <a:rPr lang="en-GB" err="1"/>
              <a:t>volutpat</a:t>
            </a:r>
            <a:r>
              <a:rPr lang="en-GB"/>
              <a:t> </a:t>
            </a:r>
            <a:r>
              <a:rPr lang="en-GB" err="1"/>
              <a:t>odio</a:t>
            </a:r>
            <a:r>
              <a:rPr lang="en-GB"/>
              <a:t> convallis fermentum. Nunc </a:t>
            </a:r>
            <a:r>
              <a:rPr lang="en-GB" err="1"/>
              <a:t>massa</a:t>
            </a:r>
            <a:r>
              <a:rPr lang="en-GB"/>
              <a:t> </a:t>
            </a:r>
            <a:r>
              <a:rPr lang="en-GB" err="1"/>
              <a:t>augue</a:t>
            </a:r>
            <a:r>
              <a:rPr lang="en-GB"/>
              <a:t>, dictum vitae lorem </a:t>
            </a:r>
            <a:r>
              <a:rPr lang="en-GB" err="1"/>
              <a:t>eget</a:t>
            </a:r>
            <a:r>
              <a:rPr lang="en-GB"/>
              <a:t>, </a:t>
            </a:r>
            <a:r>
              <a:rPr lang="en-GB" err="1"/>
              <a:t>feugiat</a:t>
            </a:r>
            <a:r>
              <a:rPr lang="en-GB"/>
              <a:t> </a:t>
            </a:r>
            <a:r>
              <a:rPr lang="en-GB" err="1"/>
              <a:t>scelerisque</a:t>
            </a:r>
            <a:r>
              <a:rPr lang="en-GB"/>
              <a:t> dui. Ut mi </a:t>
            </a:r>
            <a:r>
              <a:rPr lang="en-GB" err="1"/>
              <a:t>lacus</a:t>
            </a:r>
            <a:r>
              <a:rPr lang="en-GB"/>
              <a:t>, </a:t>
            </a:r>
            <a:r>
              <a:rPr lang="en-GB" err="1"/>
              <a:t>ornare</a:t>
            </a:r>
            <a:r>
              <a:rPr lang="en-GB"/>
              <a:t> sit </a:t>
            </a:r>
            <a:r>
              <a:rPr lang="en-GB" err="1"/>
              <a:t>amet</a:t>
            </a:r>
            <a:r>
              <a:rPr lang="en-GB"/>
              <a:t> </a:t>
            </a:r>
            <a:r>
              <a:rPr lang="en-GB" err="1"/>
              <a:t>suscipit</a:t>
            </a:r>
            <a:r>
              <a:rPr lang="en-GB"/>
              <a:t> et, </a:t>
            </a:r>
            <a:r>
              <a:rPr lang="en-GB" err="1"/>
              <a:t>laoreet</a:t>
            </a:r>
            <a:r>
              <a:rPr lang="en-GB"/>
              <a:t> in </a:t>
            </a:r>
            <a:r>
              <a:rPr lang="en-GB" err="1"/>
              <a:t>massa</a:t>
            </a:r>
            <a:r>
              <a:rPr lang="en-GB"/>
              <a:t>. Vestibulum sit </a:t>
            </a:r>
            <a:r>
              <a:rPr lang="en-GB" err="1"/>
              <a:t>amet</a:t>
            </a:r>
            <a:r>
              <a:rPr lang="en-GB"/>
              <a:t> </a:t>
            </a:r>
            <a:r>
              <a:rPr lang="en-GB" err="1"/>
              <a:t>velit</a:t>
            </a:r>
            <a:r>
              <a:rPr lang="en-GB"/>
              <a:t> a </a:t>
            </a:r>
            <a:r>
              <a:rPr lang="en-GB" err="1"/>
              <a:t>augue</a:t>
            </a:r>
            <a:r>
              <a:rPr lang="en-GB"/>
              <a:t> </a:t>
            </a:r>
            <a:r>
              <a:rPr lang="en-GB" err="1"/>
              <a:t>egestas</a:t>
            </a:r>
            <a:r>
              <a:rPr lang="en-GB"/>
              <a:t> </a:t>
            </a:r>
            <a:r>
              <a:rPr lang="en-GB" err="1"/>
              <a:t>luctus</a:t>
            </a:r>
            <a:r>
              <a:rPr lang="en-GB"/>
              <a:t> et a nisi. 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sp>
        <p:nvSpPr>
          <p:cNvPr id="7" name="Content Placeholder 3">
            <a:extLst>
              <a:ext uri="{FF2B5EF4-FFF2-40B4-BE49-F238E27FC236}">
                <a16:creationId xmlns:a16="http://schemas.microsoft.com/office/drawing/2014/main" id="{9DE54786-1BEB-81E9-6E64-6F4E82A50AFC}"/>
              </a:ext>
            </a:extLst>
          </p:cNvPr>
          <p:cNvSpPr>
            <a:spLocks noGrp="1"/>
          </p:cNvSpPr>
          <p:nvPr>
            <p:ph sz="half" idx="12" hasCustomPrompt="1"/>
          </p:nvPr>
        </p:nvSpPr>
        <p:spPr>
          <a:xfrm>
            <a:off x="5500576" y="2408875"/>
            <a:ext cx="4651695" cy="35669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GB" sz="1600" b="0" i="0" smtClean="0">
                <a:effectLst/>
                <a:latin typeface="AvenirNext LT Pro Bold" panose="020B0504020202020204" pitchFamily="34" charset="77"/>
              </a:defRPr>
            </a:lvl1pPr>
            <a:lvl2pPr>
              <a:lnSpc>
                <a:spcPct val="100000"/>
              </a:lnSpc>
              <a:defRPr sz="1600">
                <a:latin typeface="AvenirNext LT Pro Bold" panose="020B0504020202020204" pitchFamily="34" charset="77"/>
              </a:defRPr>
            </a:lvl2pPr>
            <a:lvl3pPr>
              <a:lnSpc>
                <a:spcPct val="100000"/>
              </a:lnSpc>
              <a:defRPr sz="1400">
                <a:latin typeface="AvenirNext LT Pro Bold" panose="020B0504020202020204" pitchFamily="34" charset="77"/>
              </a:defRPr>
            </a:lvl3pPr>
            <a:lvl4pPr>
              <a:lnSpc>
                <a:spcPct val="100000"/>
              </a:lnSpc>
              <a:defRPr sz="1200">
                <a:latin typeface="AvenirNext LT Pro Bold" panose="020B0504020202020204" pitchFamily="34" charset="77"/>
              </a:defRPr>
            </a:lvl4pPr>
            <a:lvl5pPr>
              <a:lnSpc>
                <a:spcPct val="100000"/>
              </a:lnSpc>
              <a:defRPr sz="1100">
                <a:latin typeface="AvenirNext LT Pro Bold" panose="020B0504020202020204" pitchFamily="34" charset="77"/>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uspendisse</a:t>
            </a:r>
            <a:r>
              <a:rPr lang="en-GB"/>
              <a:t> et </a:t>
            </a:r>
            <a:r>
              <a:rPr lang="en-GB" err="1"/>
              <a:t>imperdiet</a:t>
            </a:r>
            <a:r>
              <a:rPr lang="en-GB"/>
              <a:t> nisi. Proin a </a:t>
            </a:r>
            <a:r>
              <a:rPr lang="en-GB" err="1"/>
              <a:t>metus</a:t>
            </a:r>
            <a:r>
              <a:rPr lang="en-GB"/>
              <a:t> </a:t>
            </a:r>
            <a:r>
              <a:rPr lang="en-GB" err="1"/>
              <a:t>volutpat</a:t>
            </a:r>
            <a:r>
              <a:rPr lang="en-GB"/>
              <a:t> </a:t>
            </a:r>
            <a:r>
              <a:rPr lang="en-GB" err="1"/>
              <a:t>odio</a:t>
            </a:r>
            <a:r>
              <a:rPr lang="en-GB"/>
              <a:t> convallis fermentum. Nunc </a:t>
            </a:r>
            <a:r>
              <a:rPr lang="en-GB" err="1"/>
              <a:t>massa</a:t>
            </a:r>
            <a:r>
              <a:rPr lang="en-GB"/>
              <a:t> </a:t>
            </a:r>
            <a:r>
              <a:rPr lang="en-GB" err="1"/>
              <a:t>augue</a:t>
            </a:r>
            <a:r>
              <a:rPr lang="en-GB"/>
              <a:t>, dictum vitae lorem </a:t>
            </a:r>
            <a:r>
              <a:rPr lang="en-GB" err="1"/>
              <a:t>eget</a:t>
            </a:r>
            <a:r>
              <a:rPr lang="en-GB"/>
              <a:t>, </a:t>
            </a:r>
            <a:r>
              <a:rPr lang="en-GB" err="1"/>
              <a:t>feugiat</a:t>
            </a:r>
            <a:r>
              <a:rPr lang="en-GB"/>
              <a:t> </a:t>
            </a:r>
            <a:r>
              <a:rPr lang="en-GB" err="1"/>
              <a:t>scelerisque</a:t>
            </a:r>
            <a:r>
              <a:rPr lang="en-GB"/>
              <a:t> dui. Ut mi </a:t>
            </a:r>
            <a:r>
              <a:rPr lang="en-GB" err="1"/>
              <a:t>lacus</a:t>
            </a:r>
            <a:r>
              <a:rPr lang="en-GB"/>
              <a:t>, </a:t>
            </a:r>
            <a:r>
              <a:rPr lang="en-GB" err="1"/>
              <a:t>ornare</a:t>
            </a:r>
            <a:r>
              <a:rPr lang="en-GB"/>
              <a:t> sit </a:t>
            </a:r>
            <a:r>
              <a:rPr lang="en-GB" err="1"/>
              <a:t>amet</a:t>
            </a:r>
            <a:r>
              <a:rPr lang="en-GB"/>
              <a:t> </a:t>
            </a:r>
            <a:r>
              <a:rPr lang="en-GB" err="1"/>
              <a:t>suscipit</a:t>
            </a:r>
            <a:r>
              <a:rPr lang="en-GB"/>
              <a:t> et, </a:t>
            </a:r>
            <a:r>
              <a:rPr lang="en-GB" err="1"/>
              <a:t>laoreet</a:t>
            </a:r>
            <a:r>
              <a:rPr lang="en-GB"/>
              <a:t> in </a:t>
            </a:r>
            <a:r>
              <a:rPr lang="en-GB" err="1"/>
              <a:t>massa</a:t>
            </a:r>
            <a:r>
              <a:rPr lang="en-GB"/>
              <a:t>. Vestibulum sit </a:t>
            </a:r>
            <a:r>
              <a:rPr lang="en-GB" err="1"/>
              <a:t>amet</a:t>
            </a:r>
            <a:r>
              <a:rPr lang="en-GB"/>
              <a:t> </a:t>
            </a:r>
            <a:r>
              <a:rPr lang="en-GB" err="1"/>
              <a:t>velit</a:t>
            </a:r>
            <a:r>
              <a:rPr lang="en-GB"/>
              <a:t> a </a:t>
            </a:r>
            <a:r>
              <a:rPr lang="en-GB" err="1"/>
              <a:t>augue</a:t>
            </a:r>
            <a:r>
              <a:rPr lang="en-GB"/>
              <a:t> </a:t>
            </a:r>
            <a:r>
              <a:rPr lang="en-GB" err="1"/>
              <a:t>egestas</a:t>
            </a:r>
            <a:r>
              <a:rPr lang="en-GB"/>
              <a:t> </a:t>
            </a:r>
            <a:r>
              <a:rPr lang="en-GB" err="1"/>
              <a:t>luctus</a:t>
            </a:r>
            <a:r>
              <a:rPr lang="en-GB"/>
              <a:t> et a nisi. 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pic>
        <p:nvPicPr>
          <p:cNvPr id="3" name="Picture 2">
            <a:extLst>
              <a:ext uri="{FF2B5EF4-FFF2-40B4-BE49-F238E27FC236}">
                <a16:creationId xmlns:a16="http://schemas.microsoft.com/office/drawing/2014/main" id="{7CCC2806-A9FE-51AA-89BB-F01C3A0ACB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33043" y="5469694"/>
            <a:ext cx="877957" cy="1133447"/>
          </a:xfrm>
          <a:prstGeom prst="rect">
            <a:avLst/>
          </a:prstGeom>
        </p:spPr>
      </p:pic>
    </p:spTree>
    <p:extLst>
      <p:ext uri="{BB962C8B-B14F-4D97-AF65-F5344CB8AC3E}">
        <p14:creationId xmlns:p14="http://schemas.microsoft.com/office/powerpoint/2010/main" val="28618610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OPTION 4">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0C619FEB-D199-F16D-5442-090844318C24}"/>
              </a:ext>
            </a:extLst>
          </p:cNvPr>
          <p:cNvSpPr>
            <a:spLocks noGrp="1"/>
          </p:cNvSpPr>
          <p:nvPr>
            <p:ph type="body" sz="quarter" idx="10" hasCustomPrompt="1"/>
          </p:nvPr>
        </p:nvSpPr>
        <p:spPr>
          <a:xfrm>
            <a:off x="437390" y="304079"/>
            <a:ext cx="5363564" cy="228026"/>
          </a:xfrm>
          <a:prstGeom prst="rect">
            <a:avLst/>
          </a:prstGeom>
        </p:spPr>
        <p:txBody>
          <a:bodyPr>
            <a:noAutofit/>
          </a:bodyPr>
          <a:lstStyle>
            <a:lvl1pPr marL="0" inden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a:defRPr/>
            </a:lvl2pPr>
            <a:lvl3pPr>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tabLst/>
              <a:defRPr/>
            </a:pPr>
            <a:r>
              <a:rPr lang="en-GB"/>
              <a:t>THE AGENDA</a:t>
            </a:r>
            <a:endParaRPr lang="en-BE"/>
          </a:p>
        </p:txBody>
      </p:sp>
      <p:sp>
        <p:nvSpPr>
          <p:cNvPr id="4" name="Title 1">
            <a:extLst>
              <a:ext uri="{FF2B5EF4-FFF2-40B4-BE49-F238E27FC236}">
                <a16:creationId xmlns:a16="http://schemas.microsoft.com/office/drawing/2014/main" id="{D76D6FA6-2C38-C53D-6DFF-A33FE82B363F}"/>
              </a:ext>
            </a:extLst>
          </p:cNvPr>
          <p:cNvSpPr>
            <a:spLocks noGrp="1"/>
          </p:cNvSpPr>
          <p:nvPr>
            <p:ph type="title"/>
          </p:nvPr>
        </p:nvSpPr>
        <p:spPr>
          <a:xfrm>
            <a:off x="437389" y="882175"/>
            <a:ext cx="11211271" cy="1325563"/>
          </a:xfrm>
          <a:prstGeom prst="rect">
            <a:avLst/>
          </a:prstGeom>
        </p:spPr>
        <p:txBody>
          <a:bodyPr anchor="ctr"/>
          <a:lstStyle>
            <a:lvl1pPr>
              <a:defRPr b="1">
                <a:latin typeface="AvenirNext LT Pro Bold" panose="020B0504020202020204" pitchFamily="34" charset="77"/>
              </a:defRPr>
            </a:lvl1pPr>
          </a:lstStyle>
          <a:p>
            <a:r>
              <a:rPr lang="en-GB"/>
              <a:t>Click to edit Master title style</a:t>
            </a:r>
            <a:endParaRPr lang="en-BE"/>
          </a:p>
        </p:txBody>
      </p:sp>
      <p:sp>
        <p:nvSpPr>
          <p:cNvPr id="6" name="Content Placeholder 3">
            <a:extLst>
              <a:ext uri="{FF2B5EF4-FFF2-40B4-BE49-F238E27FC236}">
                <a16:creationId xmlns:a16="http://schemas.microsoft.com/office/drawing/2014/main" id="{C73C6E6B-F960-E7FB-16B0-2DA7D386B587}"/>
              </a:ext>
            </a:extLst>
          </p:cNvPr>
          <p:cNvSpPr>
            <a:spLocks noGrp="1"/>
          </p:cNvSpPr>
          <p:nvPr>
            <p:ph sz="half" idx="11" hasCustomPrompt="1"/>
          </p:nvPr>
        </p:nvSpPr>
        <p:spPr>
          <a:xfrm>
            <a:off x="437389" y="2408875"/>
            <a:ext cx="11211271" cy="35669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GB" sz="1600" b="0" i="0" smtClean="0">
                <a:effectLst/>
                <a:latin typeface="AvenirNext LT Pro Bold" panose="020B0504020202020204" pitchFamily="34" charset="77"/>
              </a:defRPr>
            </a:lvl1pPr>
            <a:lvl2pPr>
              <a:lnSpc>
                <a:spcPct val="100000"/>
              </a:lnSpc>
              <a:defRPr sz="1600">
                <a:latin typeface="AvenirNext LT Pro Bold" panose="020B0504020202020204" pitchFamily="34" charset="77"/>
              </a:defRPr>
            </a:lvl2pPr>
            <a:lvl3pPr>
              <a:lnSpc>
                <a:spcPct val="100000"/>
              </a:lnSpc>
              <a:defRPr sz="1400">
                <a:latin typeface="AvenirNext LT Pro Bold" panose="020B0504020202020204" pitchFamily="34" charset="77"/>
              </a:defRPr>
            </a:lvl3pPr>
            <a:lvl4pPr>
              <a:lnSpc>
                <a:spcPct val="100000"/>
              </a:lnSpc>
              <a:defRPr sz="1200">
                <a:latin typeface="AvenirNext LT Pro Bold" panose="020B0504020202020204" pitchFamily="34" charset="77"/>
              </a:defRPr>
            </a:lvl4pPr>
            <a:lvl5pPr>
              <a:lnSpc>
                <a:spcPct val="100000"/>
              </a:lnSpc>
              <a:defRPr sz="1100">
                <a:latin typeface="AvenirNext LT Pro Bold" panose="020B0504020202020204" pitchFamily="34" charset="77"/>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uspendisse</a:t>
            </a:r>
            <a:r>
              <a:rPr lang="en-GB"/>
              <a:t> et </a:t>
            </a:r>
            <a:r>
              <a:rPr lang="en-GB" err="1"/>
              <a:t>imperdiet</a:t>
            </a:r>
            <a:r>
              <a:rPr lang="en-GB"/>
              <a:t> nisi. Proin a </a:t>
            </a:r>
            <a:r>
              <a:rPr lang="en-GB" err="1"/>
              <a:t>metus</a:t>
            </a:r>
            <a:r>
              <a:rPr lang="en-GB"/>
              <a:t> </a:t>
            </a:r>
            <a:r>
              <a:rPr lang="en-GB" err="1"/>
              <a:t>volutpat</a:t>
            </a:r>
            <a:r>
              <a:rPr lang="en-GB"/>
              <a:t> </a:t>
            </a:r>
            <a:r>
              <a:rPr lang="en-GB" err="1"/>
              <a:t>odio</a:t>
            </a:r>
            <a:r>
              <a:rPr lang="en-GB"/>
              <a:t> convallis fermentum. Nunc </a:t>
            </a:r>
            <a:r>
              <a:rPr lang="en-GB" err="1"/>
              <a:t>massa</a:t>
            </a:r>
            <a:r>
              <a:rPr lang="en-GB"/>
              <a:t> </a:t>
            </a:r>
            <a:r>
              <a:rPr lang="en-GB" err="1"/>
              <a:t>augue</a:t>
            </a:r>
            <a:r>
              <a:rPr lang="en-GB"/>
              <a:t>, dictum vitae lorem </a:t>
            </a:r>
            <a:r>
              <a:rPr lang="en-GB" err="1"/>
              <a:t>eget</a:t>
            </a:r>
            <a:r>
              <a:rPr lang="en-GB"/>
              <a:t>, </a:t>
            </a:r>
            <a:r>
              <a:rPr lang="en-GB" err="1"/>
              <a:t>feugiat</a:t>
            </a:r>
            <a:r>
              <a:rPr lang="en-GB"/>
              <a:t> </a:t>
            </a:r>
            <a:r>
              <a:rPr lang="en-GB" err="1"/>
              <a:t>scelerisque</a:t>
            </a:r>
            <a:r>
              <a:rPr lang="en-GB"/>
              <a:t> dui. Ut mi </a:t>
            </a:r>
            <a:r>
              <a:rPr lang="en-GB" err="1"/>
              <a:t>lacus</a:t>
            </a:r>
            <a:r>
              <a:rPr lang="en-GB"/>
              <a:t>, </a:t>
            </a:r>
            <a:r>
              <a:rPr lang="en-GB" err="1"/>
              <a:t>ornare</a:t>
            </a:r>
            <a:r>
              <a:rPr lang="en-GB"/>
              <a:t> sit </a:t>
            </a:r>
            <a:r>
              <a:rPr lang="en-GB" err="1"/>
              <a:t>amet</a:t>
            </a:r>
            <a:r>
              <a:rPr lang="en-GB"/>
              <a:t> </a:t>
            </a:r>
            <a:r>
              <a:rPr lang="en-GB" err="1"/>
              <a:t>suscipit</a:t>
            </a:r>
            <a:r>
              <a:rPr lang="en-GB"/>
              <a:t> et, </a:t>
            </a:r>
            <a:r>
              <a:rPr lang="en-GB" err="1"/>
              <a:t>laoreet</a:t>
            </a:r>
            <a:r>
              <a:rPr lang="en-GB"/>
              <a:t> in </a:t>
            </a:r>
            <a:r>
              <a:rPr lang="en-GB" err="1"/>
              <a:t>massa</a:t>
            </a:r>
            <a:r>
              <a:rPr lang="en-GB"/>
              <a:t>. Vestibulum sit </a:t>
            </a:r>
            <a:r>
              <a:rPr lang="en-GB" err="1"/>
              <a:t>amet</a:t>
            </a:r>
            <a:r>
              <a:rPr lang="en-GB"/>
              <a:t> </a:t>
            </a:r>
            <a:r>
              <a:rPr lang="en-GB" err="1"/>
              <a:t>velit</a:t>
            </a:r>
            <a:r>
              <a:rPr lang="en-GB"/>
              <a:t> a </a:t>
            </a:r>
            <a:r>
              <a:rPr lang="en-GB" err="1"/>
              <a:t>augue</a:t>
            </a:r>
            <a:r>
              <a:rPr lang="en-GB"/>
              <a:t> </a:t>
            </a:r>
            <a:r>
              <a:rPr lang="en-GB" err="1"/>
              <a:t>egestas</a:t>
            </a:r>
            <a:r>
              <a:rPr lang="en-GB"/>
              <a:t> </a:t>
            </a:r>
            <a:r>
              <a:rPr lang="en-GB" err="1"/>
              <a:t>luctus</a:t>
            </a:r>
            <a:r>
              <a:rPr lang="en-GB"/>
              <a:t> et a nisi. 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pic>
        <p:nvPicPr>
          <p:cNvPr id="3" name="Picture 2">
            <a:extLst>
              <a:ext uri="{FF2B5EF4-FFF2-40B4-BE49-F238E27FC236}">
                <a16:creationId xmlns:a16="http://schemas.microsoft.com/office/drawing/2014/main" id="{2312F0A4-1CEC-9D17-9FEB-3342154DA64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33043" y="5494852"/>
            <a:ext cx="877957" cy="1083131"/>
          </a:xfrm>
          <a:prstGeom prst="rect">
            <a:avLst/>
          </a:prstGeom>
        </p:spPr>
      </p:pic>
    </p:spTree>
    <p:extLst>
      <p:ext uri="{BB962C8B-B14F-4D97-AF65-F5344CB8AC3E}">
        <p14:creationId xmlns:p14="http://schemas.microsoft.com/office/powerpoint/2010/main" val="432438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HE AGENDA">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E3177B9-1765-CC87-DAC7-824DEE9050E0}"/>
              </a:ext>
            </a:extLst>
          </p:cNvPr>
          <p:cNvSpPr>
            <a:spLocks noGrp="1"/>
          </p:cNvSpPr>
          <p:nvPr>
            <p:ph type="title" hasCustomPrompt="1"/>
          </p:nvPr>
        </p:nvSpPr>
        <p:spPr>
          <a:xfrm>
            <a:off x="1455738" y="1455911"/>
            <a:ext cx="3028492" cy="843340"/>
          </a:xfrm>
          <a:prstGeom prst="rect">
            <a:avLst/>
          </a:prstGeom>
        </p:spPr>
        <p:txBody>
          <a:bodyPr anchor="ctr">
            <a:normAutofit/>
          </a:bodyPr>
          <a:lstStyle>
            <a:lvl1pPr marL="0" algn="l" defTabSz="914400" rtl="0" eaLnBrk="1" latinLnBrk="0" hangingPunct="1">
              <a:lnSpc>
                <a:spcPct val="90000"/>
              </a:lnSpc>
              <a:spcBef>
                <a:spcPct val="0"/>
              </a:spcBef>
              <a:buNone/>
              <a:defRPr lang="en-BE" sz="3200" b="1" i="0" kern="1200" dirty="0">
                <a:solidFill>
                  <a:schemeClr val="tx1"/>
                </a:solidFill>
                <a:latin typeface="AvenirNext LT Pro Bold" panose="020B0504020202020204" pitchFamily="34" charset="77"/>
                <a:ea typeface="+mj-ea"/>
                <a:cs typeface="+mj-cs"/>
              </a:defRPr>
            </a:lvl1pPr>
          </a:lstStyle>
          <a:p>
            <a:r>
              <a:rPr lang="en-GB"/>
              <a:t>Chapter title</a:t>
            </a:r>
            <a:endParaRPr lang="en-BE"/>
          </a:p>
        </p:txBody>
      </p:sp>
      <p:cxnSp>
        <p:nvCxnSpPr>
          <p:cNvPr id="8" name="Straight Connector 7">
            <a:extLst>
              <a:ext uri="{FF2B5EF4-FFF2-40B4-BE49-F238E27FC236}">
                <a16:creationId xmlns:a16="http://schemas.microsoft.com/office/drawing/2014/main" id="{ECB754D3-B723-90D5-F927-AE5F3979136D}"/>
              </a:ext>
            </a:extLst>
          </p:cNvPr>
          <p:cNvCxnSpPr>
            <a:cxnSpLocks/>
          </p:cNvCxnSpPr>
          <p:nvPr userDrawn="1"/>
        </p:nvCxnSpPr>
        <p:spPr>
          <a:xfrm>
            <a:off x="437390" y="587639"/>
            <a:ext cx="1675546" cy="0"/>
          </a:xfrm>
          <a:prstGeom prst="line">
            <a:avLst/>
          </a:prstGeom>
          <a:noFill/>
          <a:ln w="12700" cap="flat" cmpd="sng" algn="ctr">
            <a:solidFill>
              <a:srgbClr val="DCCF7F"/>
            </a:solidFill>
            <a:prstDash val="solid"/>
            <a:miter lim="800000"/>
          </a:ln>
          <a:effectLst/>
        </p:spPr>
      </p:cxnSp>
      <p:sp>
        <p:nvSpPr>
          <p:cNvPr id="10" name="Text Placeholder 5">
            <a:extLst>
              <a:ext uri="{FF2B5EF4-FFF2-40B4-BE49-F238E27FC236}">
                <a16:creationId xmlns:a16="http://schemas.microsoft.com/office/drawing/2014/main" id="{8D4E74AE-BE2A-555B-2C3C-E2E4528A13C1}"/>
              </a:ext>
            </a:extLst>
          </p:cNvPr>
          <p:cNvSpPr>
            <a:spLocks noGrp="1"/>
          </p:cNvSpPr>
          <p:nvPr>
            <p:ph type="body" sz="quarter" idx="10" hasCustomPrompt="1"/>
          </p:nvPr>
        </p:nvSpPr>
        <p:spPr>
          <a:xfrm>
            <a:off x="437390" y="304079"/>
            <a:ext cx="5363564" cy="228026"/>
          </a:xfrm>
          <a:prstGeom prst="rect">
            <a:avLst/>
          </a:prstGeom>
        </p:spPr>
        <p:txBody>
          <a:bodyPr>
            <a:noAutofit/>
          </a:bodyPr>
          <a:lstStyle>
            <a:lvl1pPr marL="0" inden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a:defRPr/>
            </a:lvl2pPr>
            <a:lvl3pPr>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tabLst/>
              <a:defRPr/>
            </a:pPr>
            <a:r>
              <a:rPr lang="en-GB"/>
              <a:t>THE AGENDA</a:t>
            </a:r>
            <a:endParaRPr lang="en-BE"/>
          </a:p>
        </p:txBody>
      </p:sp>
      <p:sp>
        <p:nvSpPr>
          <p:cNvPr id="36" name="Text Placeholder 35">
            <a:extLst>
              <a:ext uri="{FF2B5EF4-FFF2-40B4-BE49-F238E27FC236}">
                <a16:creationId xmlns:a16="http://schemas.microsoft.com/office/drawing/2014/main" id="{E0D22FC1-1B82-D4A0-832C-BA9733F4D600}"/>
              </a:ext>
            </a:extLst>
          </p:cNvPr>
          <p:cNvSpPr>
            <a:spLocks noGrp="1"/>
          </p:cNvSpPr>
          <p:nvPr>
            <p:ph type="body" sz="quarter" idx="11" hasCustomPrompt="1"/>
          </p:nvPr>
        </p:nvSpPr>
        <p:spPr>
          <a:xfrm>
            <a:off x="438150" y="1455359"/>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8800" b="0" i="0" kern="1200" dirty="0">
                <a:solidFill>
                  <a:srgbClr val="CEB36E"/>
                </a:solidFill>
                <a:latin typeface="Bodoni MT" panose="02070603080606020203" pitchFamily="18" charset="77"/>
                <a:ea typeface="+mn-ea"/>
                <a:cs typeface="+mn-cs"/>
              </a:defRPr>
            </a:lvl1pPr>
          </a:lstStyle>
          <a:p>
            <a:pPr lvl="0"/>
            <a:r>
              <a:rPr lang="en-GB"/>
              <a:t>1</a:t>
            </a:r>
          </a:p>
        </p:txBody>
      </p:sp>
      <p:sp>
        <p:nvSpPr>
          <p:cNvPr id="44" name="Text Placeholder 43">
            <a:extLst>
              <a:ext uri="{FF2B5EF4-FFF2-40B4-BE49-F238E27FC236}">
                <a16:creationId xmlns:a16="http://schemas.microsoft.com/office/drawing/2014/main" id="{2C33B690-4024-B18C-5813-1F81676020B8}"/>
              </a:ext>
            </a:extLst>
          </p:cNvPr>
          <p:cNvSpPr>
            <a:spLocks noGrp="1"/>
          </p:cNvSpPr>
          <p:nvPr>
            <p:ph type="body" sz="quarter" idx="12" hasCustomPrompt="1"/>
          </p:nvPr>
        </p:nvSpPr>
        <p:spPr>
          <a:xfrm>
            <a:off x="1455738" y="2585660"/>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45" name="Text Placeholder 35">
            <a:extLst>
              <a:ext uri="{FF2B5EF4-FFF2-40B4-BE49-F238E27FC236}">
                <a16:creationId xmlns:a16="http://schemas.microsoft.com/office/drawing/2014/main" id="{FCD1DC4A-E6B6-EE80-1E1F-8881A27E359C}"/>
              </a:ext>
            </a:extLst>
          </p:cNvPr>
          <p:cNvSpPr>
            <a:spLocks noGrp="1"/>
          </p:cNvSpPr>
          <p:nvPr>
            <p:ph type="body" sz="quarter" idx="13" hasCustomPrompt="1"/>
          </p:nvPr>
        </p:nvSpPr>
        <p:spPr>
          <a:xfrm>
            <a:off x="438150" y="2585659"/>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8800" b="0" i="0" kern="1200" dirty="0">
                <a:solidFill>
                  <a:srgbClr val="CEB36E"/>
                </a:solidFill>
                <a:latin typeface="Bodoni MT" panose="02070603080606020203" pitchFamily="18" charset="77"/>
                <a:ea typeface="+mn-ea"/>
                <a:cs typeface="+mn-cs"/>
              </a:defRPr>
            </a:lvl1pPr>
          </a:lstStyle>
          <a:p>
            <a:pPr lvl="0"/>
            <a:r>
              <a:rPr lang="en-GB"/>
              <a:t>2</a:t>
            </a:r>
          </a:p>
        </p:txBody>
      </p:sp>
      <p:sp>
        <p:nvSpPr>
          <p:cNvPr id="46" name="Text Placeholder 43">
            <a:extLst>
              <a:ext uri="{FF2B5EF4-FFF2-40B4-BE49-F238E27FC236}">
                <a16:creationId xmlns:a16="http://schemas.microsoft.com/office/drawing/2014/main" id="{11452F8C-DC1D-3A28-0048-4A6A33B75C89}"/>
              </a:ext>
            </a:extLst>
          </p:cNvPr>
          <p:cNvSpPr>
            <a:spLocks noGrp="1"/>
          </p:cNvSpPr>
          <p:nvPr>
            <p:ph type="body" sz="quarter" idx="14" hasCustomPrompt="1"/>
          </p:nvPr>
        </p:nvSpPr>
        <p:spPr>
          <a:xfrm>
            <a:off x="1455738" y="3715408"/>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47" name="Text Placeholder 35">
            <a:extLst>
              <a:ext uri="{FF2B5EF4-FFF2-40B4-BE49-F238E27FC236}">
                <a16:creationId xmlns:a16="http://schemas.microsoft.com/office/drawing/2014/main" id="{11868247-DD7B-AC5F-B819-4D86A08CE95B}"/>
              </a:ext>
            </a:extLst>
          </p:cNvPr>
          <p:cNvSpPr>
            <a:spLocks noGrp="1"/>
          </p:cNvSpPr>
          <p:nvPr>
            <p:ph type="body" sz="quarter" idx="15" hasCustomPrompt="1"/>
          </p:nvPr>
        </p:nvSpPr>
        <p:spPr>
          <a:xfrm>
            <a:off x="438150" y="3715407"/>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8800" b="0" i="0" kern="1200" dirty="0">
                <a:solidFill>
                  <a:srgbClr val="CEB36E"/>
                </a:solidFill>
                <a:latin typeface="Bodoni MT" panose="02070603080606020203" pitchFamily="18" charset="77"/>
                <a:ea typeface="+mn-ea"/>
                <a:cs typeface="+mn-cs"/>
              </a:defRPr>
            </a:lvl1pPr>
          </a:lstStyle>
          <a:p>
            <a:pPr lvl="0"/>
            <a:r>
              <a:rPr lang="en-GB"/>
              <a:t>3</a:t>
            </a:r>
          </a:p>
        </p:txBody>
      </p:sp>
      <p:sp>
        <p:nvSpPr>
          <p:cNvPr id="48" name="Text Placeholder 43">
            <a:extLst>
              <a:ext uri="{FF2B5EF4-FFF2-40B4-BE49-F238E27FC236}">
                <a16:creationId xmlns:a16="http://schemas.microsoft.com/office/drawing/2014/main" id="{033A2828-93D6-AE38-4904-EEC48DE99288}"/>
              </a:ext>
            </a:extLst>
          </p:cNvPr>
          <p:cNvSpPr>
            <a:spLocks noGrp="1"/>
          </p:cNvSpPr>
          <p:nvPr>
            <p:ph type="body" sz="quarter" idx="16" hasCustomPrompt="1"/>
          </p:nvPr>
        </p:nvSpPr>
        <p:spPr>
          <a:xfrm>
            <a:off x="1455738" y="4845155"/>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49" name="Text Placeholder 35">
            <a:extLst>
              <a:ext uri="{FF2B5EF4-FFF2-40B4-BE49-F238E27FC236}">
                <a16:creationId xmlns:a16="http://schemas.microsoft.com/office/drawing/2014/main" id="{4015985F-C691-248F-BA47-AF3BC5D72F10}"/>
              </a:ext>
            </a:extLst>
          </p:cNvPr>
          <p:cNvSpPr>
            <a:spLocks noGrp="1"/>
          </p:cNvSpPr>
          <p:nvPr>
            <p:ph type="body" sz="quarter" idx="17" hasCustomPrompt="1"/>
          </p:nvPr>
        </p:nvSpPr>
        <p:spPr>
          <a:xfrm>
            <a:off x="438150" y="4845154"/>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8800" b="0" i="0" kern="1200" dirty="0">
                <a:solidFill>
                  <a:srgbClr val="CEB36E"/>
                </a:solidFill>
                <a:latin typeface="Bodoni MT" panose="02070603080606020203" pitchFamily="18" charset="77"/>
                <a:ea typeface="+mn-ea"/>
                <a:cs typeface="+mn-cs"/>
              </a:defRPr>
            </a:lvl1pPr>
          </a:lstStyle>
          <a:p>
            <a:pPr lvl="0"/>
            <a:r>
              <a:rPr lang="en-GB"/>
              <a:t>4</a:t>
            </a:r>
          </a:p>
        </p:txBody>
      </p:sp>
      <p:sp>
        <p:nvSpPr>
          <p:cNvPr id="51" name="Text Placeholder 35">
            <a:extLst>
              <a:ext uri="{FF2B5EF4-FFF2-40B4-BE49-F238E27FC236}">
                <a16:creationId xmlns:a16="http://schemas.microsoft.com/office/drawing/2014/main" id="{7017D547-6A42-A890-55AE-F4A44405F755}"/>
              </a:ext>
            </a:extLst>
          </p:cNvPr>
          <p:cNvSpPr>
            <a:spLocks noGrp="1"/>
          </p:cNvSpPr>
          <p:nvPr>
            <p:ph type="body" sz="quarter" idx="18" hasCustomPrompt="1"/>
          </p:nvPr>
        </p:nvSpPr>
        <p:spPr>
          <a:xfrm>
            <a:off x="5267602" y="1455359"/>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8800" b="0" i="0" kern="1200" dirty="0">
                <a:solidFill>
                  <a:srgbClr val="CEB36E"/>
                </a:solidFill>
                <a:latin typeface="Bodoni MT" panose="02070603080606020203" pitchFamily="18" charset="77"/>
                <a:ea typeface="+mn-ea"/>
                <a:cs typeface="+mn-cs"/>
              </a:defRPr>
            </a:lvl1pPr>
          </a:lstStyle>
          <a:p>
            <a:pPr lvl="0"/>
            <a:r>
              <a:rPr lang="en-GB"/>
              <a:t>5</a:t>
            </a:r>
          </a:p>
        </p:txBody>
      </p:sp>
      <p:sp>
        <p:nvSpPr>
          <p:cNvPr id="52" name="Text Placeholder 43">
            <a:extLst>
              <a:ext uri="{FF2B5EF4-FFF2-40B4-BE49-F238E27FC236}">
                <a16:creationId xmlns:a16="http://schemas.microsoft.com/office/drawing/2014/main" id="{96C7732F-1EF7-3660-0A7B-D7A15A6390A1}"/>
              </a:ext>
            </a:extLst>
          </p:cNvPr>
          <p:cNvSpPr>
            <a:spLocks noGrp="1"/>
          </p:cNvSpPr>
          <p:nvPr>
            <p:ph type="body" sz="quarter" idx="19" hasCustomPrompt="1"/>
          </p:nvPr>
        </p:nvSpPr>
        <p:spPr>
          <a:xfrm>
            <a:off x="6285190" y="2585660"/>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53" name="Text Placeholder 35">
            <a:extLst>
              <a:ext uri="{FF2B5EF4-FFF2-40B4-BE49-F238E27FC236}">
                <a16:creationId xmlns:a16="http://schemas.microsoft.com/office/drawing/2014/main" id="{712600F8-D618-8E66-0159-98E1601D42F8}"/>
              </a:ext>
            </a:extLst>
          </p:cNvPr>
          <p:cNvSpPr>
            <a:spLocks noGrp="1"/>
          </p:cNvSpPr>
          <p:nvPr>
            <p:ph type="body" sz="quarter" idx="20" hasCustomPrompt="1"/>
          </p:nvPr>
        </p:nvSpPr>
        <p:spPr>
          <a:xfrm>
            <a:off x="5267602" y="2585659"/>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8800" b="0" i="0" kern="1200" dirty="0">
                <a:solidFill>
                  <a:srgbClr val="CEB36E"/>
                </a:solidFill>
                <a:latin typeface="Bodoni MT" panose="02070603080606020203" pitchFamily="18" charset="77"/>
                <a:ea typeface="+mn-ea"/>
                <a:cs typeface="+mn-cs"/>
              </a:defRPr>
            </a:lvl1pPr>
          </a:lstStyle>
          <a:p>
            <a:pPr lvl="0"/>
            <a:r>
              <a:rPr lang="en-GB"/>
              <a:t>6</a:t>
            </a:r>
          </a:p>
        </p:txBody>
      </p:sp>
      <p:sp>
        <p:nvSpPr>
          <p:cNvPr id="54" name="Text Placeholder 43">
            <a:extLst>
              <a:ext uri="{FF2B5EF4-FFF2-40B4-BE49-F238E27FC236}">
                <a16:creationId xmlns:a16="http://schemas.microsoft.com/office/drawing/2014/main" id="{9F7F3BA1-062B-20E6-8FFF-69B99F1BE645}"/>
              </a:ext>
            </a:extLst>
          </p:cNvPr>
          <p:cNvSpPr>
            <a:spLocks noGrp="1"/>
          </p:cNvSpPr>
          <p:nvPr>
            <p:ph type="body" sz="quarter" idx="21" hasCustomPrompt="1"/>
          </p:nvPr>
        </p:nvSpPr>
        <p:spPr>
          <a:xfrm>
            <a:off x="6285190" y="3715408"/>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55" name="Text Placeholder 35">
            <a:extLst>
              <a:ext uri="{FF2B5EF4-FFF2-40B4-BE49-F238E27FC236}">
                <a16:creationId xmlns:a16="http://schemas.microsoft.com/office/drawing/2014/main" id="{509D8F35-AAA0-92D2-5087-F637D5CC40A6}"/>
              </a:ext>
            </a:extLst>
          </p:cNvPr>
          <p:cNvSpPr>
            <a:spLocks noGrp="1"/>
          </p:cNvSpPr>
          <p:nvPr>
            <p:ph type="body" sz="quarter" idx="22" hasCustomPrompt="1"/>
          </p:nvPr>
        </p:nvSpPr>
        <p:spPr>
          <a:xfrm>
            <a:off x="5267602" y="3715407"/>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8800" b="0" i="0" kern="1200" dirty="0">
                <a:solidFill>
                  <a:srgbClr val="CEB36E"/>
                </a:solidFill>
                <a:latin typeface="Bodoni MT" panose="02070603080606020203" pitchFamily="18" charset="77"/>
                <a:ea typeface="+mn-ea"/>
                <a:cs typeface="+mn-cs"/>
              </a:defRPr>
            </a:lvl1pPr>
          </a:lstStyle>
          <a:p>
            <a:pPr lvl="0"/>
            <a:r>
              <a:rPr lang="en-GB"/>
              <a:t>7</a:t>
            </a:r>
          </a:p>
        </p:txBody>
      </p:sp>
      <p:sp>
        <p:nvSpPr>
          <p:cNvPr id="56" name="Text Placeholder 43">
            <a:extLst>
              <a:ext uri="{FF2B5EF4-FFF2-40B4-BE49-F238E27FC236}">
                <a16:creationId xmlns:a16="http://schemas.microsoft.com/office/drawing/2014/main" id="{B4BCE137-36D5-30F7-C22F-B6C97E1B15C7}"/>
              </a:ext>
            </a:extLst>
          </p:cNvPr>
          <p:cNvSpPr>
            <a:spLocks noGrp="1"/>
          </p:cNvSpPr>
          <p:nvPr>
            <p:ph type="body" sz="quarter" idx="23" hasCustomPrompt="1"/>
          </p:nvPr>
        </p:nvSpPr>
        <p:spPr>
          <a:xfrm>
            <a:off x="6285190" y="4845155"/>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57" name="Text Placeholder 35">
            <a:extLst>
              <a:ext uri="{FF2B5EF4-FFF2-40B4-BE49-F238E27FC236}">
                <a16:creationId xmlns:a16="http://schemas.microsoft.com/office/drawing/2014/main" id="{FFBF7E17-0C04-4665-FE41-0A4E15A900C9}"/>
              </a:ext>
            </a:extLst>
          </p:cNvPr>
          <p:cNvSpPr>
            <a:spLocks noGrp="1"/>
          </p:cNvSpPr>
          <p:nvPr>
            <p:ph type="body" sz="quarter" idx="24" hasCustomPrompt="1"/>
          </p:nvPr>
        </p:nvSpPr>
        <p:spPr>
          <a:xfrm>
            <a:off x="5267602" y="4845154"/>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8800" b="0" i="0" kern="1200" dirty="0">
                <a:solidFill>
                  <a:srgbClr val="CEB36E"/>
                </a:solidFill>
                <a:latin typeface="Bodoni MT" panose="02070603080606020203" pitchFamily="18" charset="77"/>
                <a:ea typeface="+mn-ea"/>
                <a:cs typeface="+mn-cs"/>
              </a:defRPr>
            </a:lvl1pPr>
          </a:lstStyle>
          <a:p>
            <a:pPr lvl="0"/>
            <a:r>
              <a:rPr lang="en-GB"/>
              <a:t>8</a:t>
            </a:r>
          </a:p>
        </p:txBody>
      </p:sp>
      <p:sp>
        <p:nvSpPr>
          <p:cNvPr id="58" name="Text Placeholder 43">
            <a:extLst>
              <a:ext uri="{FF2B5EF4-FFF2-40B4-BE49-F238E27FC236}">
                <a16:creationId xmlns:a16="http://schemas.microsoft.com/office/drawing/2014/main" id="{0511C860-68F2-B7BB-CD30-D9320A52141C}"/>
              </a:ext>
            </a:extLst>
          </p:cNvPr>
          <p:cNvSpPr>
            <a:spLocks noGrp="1"/>
          </p:cNvSpPr>
          <p:nvPr>
            <p:ph type="body" sz="quarter" idx="25" hasCustomPrompt="1"/>
          </p:nvPr>
        </p:nvSpPr>
        <p:spPr>
          <a:xfrm>
            <a:off x="6285190" y="1455358"/>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pic>
        <p:nvPicPr>
          <p:cNvPr id="3" name="Picture 2">
            <a:extLst>
              <a:ext uri="{FF2B5EF4-FFF2-40B4-BE49-F238E27FC236}">
                <a16:creationId xmlns:a16="http://schemas.microsoft.com/office/drawing/2014/main" id="{31F1F3C4-722D-65E5-3EDC-CDE31F2765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33043" y="5494852"/>
            <a:ext cx="877957" cy="1083131"/>
          </a:xfrm>
          <a:prstGeom prst="rect">
            <a:avLst/>
          </a:prstGeom>
        </p:spPr>
      </p:pic>
    </p:spTree>
    <p:extLst>
      <p:ext uri="{BB962C8B-B14F-4D97-AF65-F5344CB8AC3E}">
        <p14:creationId xmlns:p14="http://schemas.microsoft.com/office/powerpoint/2010/main" val="63284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THREE COLUMN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B333121A-C315-B6DF-FBBE-ECDD5E37D628}"/>
              </a:ext>
            </a:extLst>
          </p:cNvPr>
          <p:cNvSpPr>
            <a:spLocks noGrp="1"/>
          </p:cNvSpPr>
          <p:nvPr>
            <p:ph sz="half" idx="10" hasCustomPrompt="1"/>
          </p:nvPr>
        </p:nvSpPr>
        <p:spPr>
          <a:xfrm>
            <a:off x="737537" y="2490325"/>
            <a:ext cx="3158602" cy="3143362"/>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GB" sz="1600" b="0" i="0" smtClean="0">
                <a:effectLst/>
                <a:latin typeface="AvenirNext LT Pro Bold" panose="020B0504020202020204" pitchFamily="34" charset="77"/>
              </a:defRPr>
            </a:lvl1pPr>
            <a:lvl2pPr>
              <a:lnSpc>
                <a:spcPct val="100000"/>
              </a:lnSpc>
              <a:defRPr sz="1600">
                <a:latin typeface="AvenirNext LT Pro Bold" panose="020B0504020202020204" pitchFamily="34" charset="77"/>
              </a:defRPr>
            </a:lvl2pPr>
            <a:lvl3pPr>
              <a:lnSpc>
                <a:spcPct val="100000"/>
              </a:lnSpc>
              <a:defRPr sz="1400">
                <a:latin typeface="AvenirNext LT Pro Bold" panose="020B0504020202020204" pitchFamily="34" charset="77"/>
              </a:defRPr>
            </a:lvl3pPr>
            <a:lvl4pPr>
              <a:lnSpc>
                <a:spcPct val="100000"/>
              </a:lnSpc>
              <a:defRPr sz="1200">
                <a:latin typeface="AvenirNext LT Pro Bold" panose="020B0504020202020204" pitchFamily="34" charset="77"/>
              </a:defRPr>
            </a:lvl4pPr>
            <a:lvl5pPr>
              <a:lnSpc>
                <a:spcPct val="100000"/>
              </a:lnSpc>
              <a:defRPr sz="1100">
                <a:latin typeface="AvenirNext LT Pro Bold" panose="020B0504020202020204" pitchFamily="34" charset="77"/>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uspendisse</a:t>
            </a:r>
            <a:r>
              <a:rPr lang="en-GB"/>
              <a:t> et </a:t>
            </a:r>
            <a:r>
              <a:rPr lang="en-GB" err="1"/>
              <a:t>imperdiet</a:t>
            </a:r>
            <a:r>
              <a:rPr lang="en-GB"/>
              <a:t> nisi. Proin a </a:t>
            </a:r>
            <a:r>
              <a:rPr lang="en-GB" err="1"/>
              <a:t>metus</a:t>
            </a:r>
            <a:r>
              <a:rPr lang="en-GB"/>
              <a:t> </a:t>
            </a:r>
            <a:r>
              <a:rPr lang="en-GB" err="1"/>
              <a:t>volutpat</a:t>
            </a:r>
            <a:r>
              <a:rPr lang="en-GB"/>
              <a:t> </a:t>
            </a:r>
            <a:r>
              <a:rPr lang="en-GB" err="1"/>
              <a:t>odio</a:t>
            </a:r>
            <a:r>
              <a:rPr lang="en-GB"/>
              <a:t> convallis fermentum. Nunc </a:t>
            </a:r>
            <a:r>
              <a:rPr lang="en-GB" err="1"/>
              <a:t>massa</a:t>
            </a:r>
            <a:r>
              <a:rPr lang="en-GB"/>
              <a:t> </a:t>
            </a:r>
            <a:r>
              <a:rPr lang="en-GB" err="1"/>
              <a:t>augue</a:t>
            </a:r>
            <a:r>
              <a:rPr lang="en-GB"/>
              <a:t>, dictum vitae lorem </a:t>
            </a:r>
            <a:r>
              <a:rPr lang="en-GB" err="1"/>
              <a:t>eget</a:t>
            </a:r>
            <a:r>
              <a:rPr lang="en-GB"/>
              <a:t>, </a:t>
            </a:r>
            <a:r>
              <a:rPr lang="en-GB" err="1"/>
              <a:t>feugiat</a:t>
            </a:r>
            <a:r>
              <a:rPr lang="en-GB"/>
              <a:t> </a:t>
            </a:r>
            <a:r>
              <a:rPr lang="en-GB" err="1"/>
              <a:t>scelerisque</a:t>
            </a:r>
            <a:r>
              <a:rPr lang="en-GB"/>
              <a:t> dui. Ut mi </a:t>
            </a:r>
            <a:r>
              <a:rPr lang="en-GB" err="1"/>
              <a:t>lacus</a:t>
            </a:r>
            <a:r>
              <a:rPr lang="en-GB"/>
              <a:t>, </a:t>
            </a:r>
            <a:r>
              <a:rPr lang="en-GB" err="1"/>
              <a:t>ornare</a:t>
            </a:r>
            <a:r>
              <a:rPr lang="en-GB"/>
              <a:t> sit </a:t>
            </a:r>
            <a:r>
              <a:rPr lang="en-GB" err="1"/>
              <a:t>amet</a:t>
            </a:r>
            <a:r>
              <a:rPr lang="en-GB"/>
              <a:t> </a:t>
            </a:r>
            <a:r>
              <a:rPr lang="en-GB" err="1"/>
              <a:t>suscipit</a:t>
            </a:r>
            <a:r>
              <a:rPr lang="en-GB"/>
              <a:t> et, </a:t>
            </a:r>
            <a:r>
              <a:rPr lang="en-GB" err="1"/>
              <a:t>laoreet</a:t>
            </a:r>
            <a:r>
              <a:rPr lang="en-GB"/>
              <a:t> in </a:t>
            </a:r>
            <a:r>
              <a:rPr lang="en-GB" err="1"/>
              <a:t>massa</a:t>
            </a:r>
            <a:r>
              <a:rPr lang="en-GB"/>
              <a:t>. </a:t>
            </a:r>
          </a:p>
          <a:p>
            <a:pPr lvl="1"/>
            <a:r>
              <a:rPr lang="en-GB"/>
              <a:t>Second level</a:t>
            </a:r>
          </a:p>
          <a:p>
            <a:pPr lvl="2"/>
            <a:r>
              <a:rPr lang="en-GB"/>
              <a:t>Third level</a:t>
            </a:r>
          </a:p>
          <a:p>
            <a:pPr lvl="3"/>
            <a:r>
              <a:rPr lang="en-GB"/>
              <a:t>Fourth level</a:t>
            </a:r>
          </a:p>
          <a:p>
            <a:pPr lvl="4"/>
            <a:r>
              <a:rPr lang="en-GB"/>
              <a:t>Fifth level</a:t>
            </a:r>
            <a:endParaRPr lang="en-BE"/>
          </a:p>
        </p:txBody>
      </p:sp>
      <p:cxnSp>
        <p:nvCxnSpPr>
          <p:cNvPr id="7" name="Straight Connector 6">
            <a:extLst>
              <a:ext uri="{FF2B5EF4-FFF2-40B4-BE49-F238E27FC236}">
                <a16:creationId xmlns:a16="http://schemas.microsoft.com/office/drawing/2014/main" id="{21FBC233-F9FC-FC31-FFD4-498BB98BAC24}"/>
              </a:ext>
            </a:extLst>
          </p:cNvPr>
          <p:cNvCxnSpPr>
            <a:cxnSpLocks/>
          </p:cNvCxnSpPr>
          <p:nvPr userDrawn="1"/>
        </p:nvCxnSpPr>
        <p:spPr>
          <a:xfrm flipV="1">
            <a:off x="4186711" y="1506387"/>
            <a:ext cx="0" cy="442121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C4E3EAE-875C-903E-C98E-68D28A80444B}"/>
              </a:ext>
            </a:extLst>
          </p:cNvPr>
          <p:cNvCxnSpPr>
            <a:cxnSpLocks/>
          </p:cNvCxnSpPr>
          <p:nvPr userDrawn="1"/>
        </p:nvCxnSpPr>
        <p:spPr>
          <a:xfrm flipV="1">
            <a:off x="8008071" y="1467937"/>
            <a:ext cx="0" cy="442121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Content Placeholder 3">
            <a:extLst>
              <a:ext uri="{FF2B5EF4-FFF2-40B4-BE49-F238E27FC236}">
                <a16:creationId xmlns:a16="http://schemas.microsoft.com/office/drawing/2014/main" id="{300A8079-45AB-028C-F4E8-7C7E00CAEAD2}"/>
              </a:ext>
            </a:extLst>
          </p:cNvPr>
          <p:cNvSpPr>
            <a:spLocks noGrp="1"/>
          </p:cNvSpPr>
          <p:nvPr>
            <p:ph sz="half" idx="13" hasCustomPrompt="1"/>
          </p:nvPr>
        </p:nvSpPr>
        <p:spPr>
          <a:xfrm>
            <a:off x="4516697" y="2490325"/>
            <a:ext cx="3158602" cy="3143362"/>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GB" sz="1600" b="0" i="0" smtClean="0">
                <a:effectLst/>
                <a:latin typeface="AvenirNext LT Pro Bold" panose="020B0504020202020204" pitchFamily="34" charset="77"/>
              </a:defRPr>
            </a:lvl1pPr>
            <a:lvl2pPr>
              <a:lnSpc>
                <a:spcPct val="100000"/>
              </a:lnSpc>
              <a:defRPr sz="1600">
                <a:latin typeface="AvenirNext LT Pro Bold" panose="020B0504020202020204" pitchFamily="34" charset="77"/>
              </a:defRPr>
            </a:lvl2pPr>
            <a:lvl3pPr>
              <a:lnSpc>
                <a:spcPct val="100000"/>
              </a:lnSpc>
              <a:defRPr sz="1400">
                <a:latin typeface="AvenirNext LT Pro Bold" panose="020B0504020202020204" pitchFamily="34" charset="77"/>
              </a:defRPr>
            </a:lvl3pPr>
            <a:lvl4pPr>
              <a:lnSpc>
                <a:spcPct val="100000"/>
              </a:lnSpc>
              <a:defRPr sz="1200">
                <a:latin typeface="AvenirNext LT Pro Bold" panose="020B0504020202020204" pitchFamily="34" charset="77"/>
              </a:defRPr>
            </a:lvl4pPr>
            <a:lvl5pPr>
              <a:lnSpc>
                <a:spcPct val="100000"/>
              </a:lnSpc>
              <a:defRPr sz="1100">
                <a:latin typeface="AvenirNext LT Pro Bold" panose="020B0504020202020204" pitchFamily="34" charset="77"/>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uspendisse</a:t>
            </a:r>
            <a:r>
              <a:rPr lang="en-GB"/>
              <a:t> et </a:t>
            </a:r>
            <a:r>
              <a:rPr lang="en-GB" err="1"/>
              <a:t>imperdiet</a:t>
            </a:r>
            <a:r>
              <a:rPr lang="en-GB"/>
              <a:t> nisi. Proin a </a:t>
            </a:r>
            <a:r>
              <a:rPr lang="en-GB" err="1"/>
              <a:t>metus</a:t>
            </a:r>
            <a:r>
              <a:rPr lang="en-GB"/>
              <a:t> </a:t>
            </a:r>
            <a:r>
              <a:rPr lang="en-GB" err="1"/>
              <a:t>volutpat</a:t>
            </a:r>
            <a:r>
              <a:rPr lang="en-GB"/>
              <a:t> </a:t>
            </a:r>
            <a:r>
              <a:rPr lang="en-GB" err="1"/>
              <a:t>odio</a:t>
            </a:r>
            <a:r>
              <a:rPr lang="en-GB"/>
              <a:t> convallis fermentum. Nunc </a:t>
            </a:r>
            <a:r>
              <a:rPr lang="en-GB" err="1"/>
              <a:t>massa</a:t>
            </a:r>
            <a:r>
              <a:rPr lang="en-GB"/>
              <a:t> </a:t>
            </a:r>
            <a:r>
              <a:rPr lang="en-GB" err="1"/>
              <a:t>augue</a:t>
            </a:r>
            <a:r>
              <a:rPr lang="en-GB"/>
              <a:t>, dictum vitae lorem </a:t>
            </a:r>
            <a:r>
              <a:rPr lang="en-GB" err="1"/>
              <a:t>eget</a:t>
            </a:r>
            <a:r>
              <a:rPr lang="en-GB"/>
              <a:t>, </a:t>
            </a:r>
            <a:r>
              <a:rPr lang="en-GB" err="1"/>
              <a:t>feugiat</a:t>
            </a:r>
            <a:r>
              <a:rPr lang="en-GB"/>
              <a:t> </a:t>
            </a:r>
            <a:r>
              <a:rPr lang="en-GB" err="1"/>
              <a:t>scelerisque</a:t>
            </a:r>
            <a:r>
              <a:rPr lang="en-GB"/>
              <a:t> dui. Ut mi </a:t>
            </a:r>
            <a:r>
              <a:rPr lang="en-GB" err="1"/>
              <a:t>lacus</a:t>
            </a:r>
            <a:r>
              <a:rPr lang="en-GB"/>
              <a:t>, </a:t>
            </a:r>
            <a:r>
              <a:rPr lang="en-GB" err="1"/>
              <a:t>ornare</a:t>
            </a:r>
            <a:r>
              <a:rPr lang="en-GB"/>
              <a:t> sit </a:t>
            </a:r>
            <a:r>
              <a:rPr lang="en-GB" err="1"/>
              <a:t>amet</a:t>
            </a:r>
            <a:r>
              <a:rPr lang="en-GB"/>
              <a:t> </a:t>
            </a:r>
            <a:r>
              <a:rPr lang="en-GB" err="1"/>
              <a:t>suscipit</a:t>
            </a:r>
            <a:r>
              <a:rPr lang="en-GB"/>
              <a:t> et, </a:t>
            </a:r>
            <a:r>
              <a:rPr lang="en-GB" err="1"/>
              <a:t>laoreet</a:t>
            </a:r>
            <a:r>
              <a:rPr lang="en-GB"/>
              <a:t> in </a:t>
            </a:r>
            <a:r>
              <a:rPr lang="en-GB" err="1"/>
              <a:t>massa</a:t>
            </a:r>
            <a:r>
              <a:rPr lang="en-GB"/>
              <a:t>. </a:t>
            </a:r>
          </a:p>
          <a:p>
            <a:pPr lvl="1"/>
            <a:r>
              <a:rPr lang="en-GB"/>
              <a:t>Second level</a:t>
            </a:r>
          </a:p>
          <a:p>
            <a:pPr lvl="2"/>
            <a:r>
              <a:rPr lang="en-GB"/>
              <a:t>Third level</a:t>
            </a:r>
          </a:p>
          <a:p>
            <a:pPr lvl="3"/>
            <a:r>
              <a:rPr lang="en-GB"/>
              <a:t>Fourth level</a:t>
            </a:r>
          </a:p>
          <a:p>
            <a:pPr lvl="4"/>
            <a:r>
              <a:rPr lang="en-GB"/>
              <a:t>Fifth level</a:t>
            </a:r>
            <a:endParaRPr lang="en-BE"/>
          </a:p>
        </p:txBody>
      </p:sp>
      <p:sp>
        <p:nvSpPr>
          <p:cNvPr id="12" name="Content Placeholder 3">
            <a:extLst>
              <a:ext uri="{FF2B5EF4-FFF2-40B4-BE49-F238E27FC236}">
                <a16:creationId xmlns:a16="http://schemas.microsoft.com/office/drawing/2014/main" id="{9AA1F261-C265-AAC9-7420-4481410458A2}"/>
              </a:ext>
            </a:extLst>
          </p:cNvPr>
          <p:cNvSpPr>
            <a:spLocks noGrp="1"/>
          </p:cNvSpPr>
          <p:nvPr>
            <p:ph sz="half" idx="14" hasCustomPrompt="1"/>
          </p:nvPr>
        </p:nvSpPr>
        <p:spPr>
          <a:xfrm>
            <a:off x="8338056" y="2490325"/>
            <a:ext cx="3158602" cy="3143362"/>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GB" sz="1600" b="0" i="0" smtClean="0">
                <a:effectLst/>
                <a:latin typeface="AvenirNext LT Pro Bold" panose="020B0504020202020204" pitchFamily="34" charset="77"/>
              </a:defRPr>
            </a:lvl1pPr>
            <a:lvl2pPr>
              <a:lnSpc>
                <a:spcPct val="100000"/>
              </a:lnSpc>
              <a:defRPr sz="1600">
                <a:latin typeface="AvenirNext LT Pro Bold" panose="020B0504020202020204" pitchFamily="34" charset="77"/>
              </a:defRPr>
            </a:lvl2pPr>
            <a:lvl3pPr>
              <a:lnSpc>
                <a:spcPct val="100000"/>
              </a:lnSpc>
              <a:defRPr sz="1400">
                <a:latin typeface="AvenirNext LT Pro Bold" panose="020B0504020202020204" pitchFamily="34" charset="77"/>
              </a:defRPr>
            </a:lvl3pPr>
            <a:lvl4pPr>
              <a:lnSpc>
                <a:spcPct val="100000"/>
              </a:lnSpc>
              <a:defRPr sz="1200">
                <a:latin typeface="AvenirNext LT Pro Bold" panose="020B0504020202020204" pitchFamily="34" charset="77"/>
              </a:defRPr>
            </a:lvl4pPr>
            <a:lvl5pPr>
              <a:lnSpc>
                <a:spcPct val="100000"/>
              </a:lnSpc>
              <a:defRPr sz="1100">
                <a:latin typeface="AvenirNext LT Pro Bold" panose="020B0504020202020204" pitchFamily="34" charset="77"/>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uspendisse</a:t>
            </a:r>
            <a:r>
              <a:rPr lang="en-GB"/>
              <a:t> et </a:t>
            </a:r>
            <a:r>
              <a:rPr lang="en-GB" err="1"/>
              <a:t>imperdiet</a:t>
            </a:r>
            <a:r>
              <a:rPr lang="en-GB"/>
              <a:t> nisi. Proin a </a:t>
            </a:r>
            <a:r>
              <a:rPr lang="en-GB" err="1"/>
              <a:t>metus</a:t>
            </a:r>
            <a:r>
              <a:rPr lang="en-GB"/>
              <a:t> </a:t>
            </a:r>
            <a:r>
              <a:rPr lang="en-GB" err="1"/>
              <a:t>volutpat</a:t>
            </a:r>
            <a:r>
              <a:rPr lang="en-GB"/>
              <a:t> </a:t>
            </a:r>
            <a:r>
              <a:rPr lang="en-GB" err="1"/>
              <a:t>odio</a:t>
            </a:r>
            <a:r>
              <a:rPr lang="en-GB"/>
              <a:t> convallis fermentum. Nunc </a:t>
            </a:r>
            <a:r>
              <a:rPr lang="en-GB" err="1"/>
              <a:t>massa</a:t>
            </a:r>
            <a:r>
              <a:rPr lang="en-GB"/>
              <a:t> </a:t>
            </a:r>
            <a:r>
              <a:rPr lang="en-GB" err="1"/>
              <a:t>augue</a:t>
            </a:r>
            <a:r>
              <a:rPr lang="en-GB"/>
              <a:t>, dictum vitae lorem </a:t>
            </a:r>
            <a:r>
              <a:rPr lang="en-GB" err="1"/>
              <a:t>eget</a:t>
            </a:r>
            <a:r>
              <a:rPr lang="en-GB"/>
              <a:t>, </a:t>
            </a:r>
            <a:r>
              <a:rPr lang="en-GB" err="1"/>
              <a:t>feugiat</a:t>
            </a:r>
            <a:r>
              <a:rPr lang="en-GB"/>
              <a:t> </a:t>
            </a:r>
            <a:r>
              <a:rPr lang="en-GB" err="1"/>
              <a:t>scelerisque</a:t>
            </a:r>
            <a:r>
              <a:rPr lang="en-GB"/>
              <a:t> dui. Ut mi </a:t>
            </a:r>
            <a:r>
              <a:rPr lang="en-GB" err="1"/>
              <a:t>lacus</a:t>
            </a:r>
            <a:r>
              <a:rPr lang="en-GB"/>
              <a:t>, </a:t>
            </a:r>
            <a:r>
              <a:rPr lang="en-GB" err="1"/>
              <a:t>ornare</a:t>
            </a:r>
            <a:r>
              <a:rPr lang="en-GB"/>
              <a:t> sit </a:t>
            </a:r>
            <a:r>
              <a:rPr lang="en-GB" err="1"/>
              <a:t>amet</a:t>
            </a:r>
            <a:r>
              <a:rPr lang="en-GB"/>
              <a:t> </a:t>
            </a:r>
            <a:r>
              <a:rPr lang="en-GB" err="1"/>
              <a:t>suscipit</a:t>
            </a:r>
            <a:r>
              <a:rPr lang="en-GB"/>
              <a:t> et, </a:t>
            </a:r>
            <a:r>
              <a:rPr lang="en-GB" err="1"/>
              <a:t>laoreet</a:t>
            </a:r>
            <a:r>
              <a:rPr lang="en-GB"/>
              <a:t> in </a:t>
            </a:r>
            <a:r>
              <a:rPr lang="en-GB" err="1"/>
              <a:t>massa</a:t>
            </a:r>
            <a:r>
              <a:rPr lang="en-GB"/>
              <a:t>. </a:t>
            </a:r>
          </a:p>
          <a:p>
            <a:pPr lvl="1"/>
            <a:r>
              <a:rPr lang="en-GB"/>
              <a:t>Second level</a:t>
            </a:r>
          </a:p>
          <a:p>
            <a:pPr lvl="2"/>
            <a:r>
              <a:rPr lang="en-GB"/>
              <a:t>Third level</a:t>
            </a:r>
          </a:p>
          <a:p>
            <a:pPr lvl="3"/>
            <a:r>
              <a:rPr lang="en-GB"/>
              <a:t>Fourth level</a:t>
            </a:r>
          </a:p>
          <a:p>
            <a:pPr lvl="4"/>
            <a:r>
              <a:rPr lang="en-GB"/>
              <a:t>Fifth level</a:t>
            </a:r>
            <a:endParaRPr lang="en-BE"/>
          </a:p>
        </p:txBody>
      </p:sp>
      <p:sp>
        <p:nvSpPr>
          <p:cNvPr id="13" name="Text Placeholder 6">
            <a:extLst>
              <a:ext uri="{FF2B5EF4-FFF2-40B4-BE49-F238E27FC236}">
                <a16:creationId xmlns:a16="http://schemas.microsoft.com/office/drawing/2014/main" id="{C340CD68-F2E6-911E-5395-BDE9733A00A6}"/>
              </a:ext>
            </a:extLst>
          </p:cNvPr>
          <p:cNvSpPr>
            <a:spLocks noGrp="1"/>
          </p:cNvSpPr>
          <p:nvPr>
            <p:ph type="body" sz="quarter" idx="15" hasCustomPrompt="1"/>
          </p:nvPr>
        </p:nvSpPr>
        <p:spPr>
          <a:xfrm>
            <a:off x="4516697" y="920135"/>
            <a:ext cx="3158602" cy="547802"/>
          </a:xfrm>
          <a:prstGeom prst="rect">
            <a:avLst/>
          </a:prstGeom>
        </p:spPr>
        <p:txBody>
          <a:bodyPr>
            <a:normAutofit/>
          </a:bodyPr>
          <a:lstStyle>
            <a:lvl1pPr marL="0" indent="0" algn="ctr" defTabSz="914400" rtl="0" eaLnBrk="1" latinLnBrk="0" hangingPunct="1">
              <a:lnSpc>
                <a:spcPct val="90000"/>
              </a:lnSpc>
              <a:spcBef>
                <a:spcPts val="1000"/>
              </a:spcBef>
              <a:buFont typeface="Arial" panose="020B0604020202020204" pitchFamily="34" charset="0"/>
              <a:buNone/>
              <a:defRPr lang="en-BE" sz="3600" b="0" i="0" kern="1200" dirty="0">
                <a:solidFill>
                  <a:srgbClr val="CEB36E"/>
                </a:solidFill>
                <a:latin typeface="Bodoni MT" panose="02070603080606020203" pitchFamily="18" charset="77"/>
                <a:ea typeface="+mn-ea"/>
                <a:cs typeface="+mn-cs"/>
              </a:defRPr>
            </a:lvl1pPr>
          </a:lstStyle>
          <a:p>
            <a:pPr lvl="0"/>
            <a:r>
              <a:rPr lang="en-GB"/>
              <a:t>02</a:t>
            </a:r>
            <a:endParaRPr lang="en-BE"/>
          </a:p>
        </p:txBody>
      </p:sp>
      <p:sp>
        <p:nvSpPr>
          <p:cNvPr id="14" name="Text Placeholder 6">
            <a:extLst>
              <a:ext uri="{FF2B5EF4-FFF2-40B4-BE49-F238E27FC236}">
                <a16:creationId xmlns:a16="http://schemas.microsoft.com/office/drawing/2014/main" id="{2327DAAE-0937-02D6-26FE-5949FADF87BA}"/>
              </a:ext>
            </a:extLst>
          </p:cNvPr>
          <p:cNvSpPr>
            <a:spLocks noGrp="1"/>
          </p:cNvSpPr>
          <p:nvPr>
            <p:ph type="body" sz="quarter" idx="16" hasCustomPrompt="1"/>
          </p:nvPr>
        </p:nvSpPr>
        <p:spPr>
          <a:xfrm>
            <a:off x="8338056" y="920135"/>
            <a:ext cx="3158602" cy="547802"/>
          </a:xfrm>
          <a:prstGeom prst="rect">
            <a:avLst/>
          </a:prstGeom>
        </p:spPr>
        <p:txBody>
          <a:bodyPr>
            <a:normAutofit/>
          </a:bodyPr>
          <a:lstStyle>
            <a:lvl1pPr marL="0" indent="0" algn="ctr" defTabSz="914400" rtl="0" eaLnBrk="1" latinLnBrk="0" hangingPunct="1">
              <a:lnSpc>
                <a:spcPct val="90000"/>
              </a:lnSpc>
              <a:spcBef>
                <a:spcPts val="1000"/>
              </a:spcBef>
              <a:buFont typeface="Arial" panose="020B0604020202020204" pitchFamily="34" charset="0"/>
              <a:buNone/>
              <a:defRPr lang="en-BE" sz="3600" b="0" i="0" kern="1200" dirty="0">
                <a:solidFill>
                  <a:srgbClr val="CEB36E"/>
                </a:solidFill>
                <a:latin typeface="Bodoni MT" panose="02070603080606020203" pitchFamily="18" charset="77"/>
                <a:ea typeface="+mn-ea"/>
                <a:cs typeface="+mn-cs"/>
              </a:defRPr>
            </a:lvl1pPr>
          </a:lstStyle>
          <a:p>
            <a:pPr lvl="0"/>
            <a:r>
              <a:rPr lang="en-GB"/>
              <a:t>03</a:t>
            </a:r>
            <a:endParaRPr lang="en-BE"/>
          </a:p>
        </p:txBody>
      </p:sp>
      <p:sp>
        <p:nvSpPr>
          <p:cNvPr id="15" name="Text Placeholder 6">
            <a:extLst>
              <a:ext uri="{FF2B5EF4-FFF2-40B4-BE49-F238E27FC236}">
                <a16:creationId xmlns:a16="http://schemas.microsoft.com/office/drawing/2014/main" id="{980B9241-3FFF-1AD6-420B-047FFAD36640}"/>
              </a:ext>
            </a:extLst>
          </p:cNvPr>
          <p:cNvSpPr>
            <a:spLocks noGrp="1"/>
          </p:cNvSpPr>
          <p:nvPr>
            <p:ph type="body" sz="quarter" idx="17" hasCustomPrompt="1"/>
          </p:nvPr>
        </p:nvSpPr>
        <p:spPr>
          <a:xfrm>
            <a:off x="737537" y="920135"/>
            <a:ext cx="3158602" cy="547802"/>
          </a:xfrm>
          <a:prstGeom prst="rect">
            <a:avLst/>
          </a:prstGeom>
        </p:spPr>
        <p:txBody>
          <a:bodyPr>
            <a:normAutofit/>
          </a:bodyPr>
          <a:lstStyle>
            <a:lvl1pPr marL="0" indent="0" algn="ctr" defTabSz="914400" rtl="0" eaLnBrk="1" latinLnBrk="0" hangingPunct="1">
              <a:lnSpc>
                <a:spcPct val="90000"/>
              </a:lnSpc>
              <a:spcBef>
                <a:spcPts val="1000"/>
              </a:spcBef>
              <a:buFont typeface="Arial" panose="020B0604020202020204" pitchFamily="34" charset="0"/>
              <a:buNone/>
              <a:defRPr lang="en-BE" sz="3600" b="0" i="0" kern="1200" dirty="0">
                <a:solidFill>
                  <a:srgbClr val="CEB36E"/>
                </a:solidFill>
                <a:latin typeface="Bodoni MT" panose="02070603080606020203" pitchFamily="18" charset="77"/>
                <a:ea typeface="+mn-ea"/>
                <a:cs typeface="+mn-cs"/>
              </a:defRPr>
            </a:lvl1pPr>
          </a:lstStyle>
          <a:p>
            <a:pPr lvl="0"/>
            <a:r>
              <a:rPr lang="en-GB"/>
              <a:t>01</a:t>
            </a:r>
            <a:endParaRPr lang="en-BE"/>
          </a:p>
        </p:txBody>
      </p:sp>
      <p:sp>
        <p:nvSpPr>
          <p:cNvPr id="18" name="Text Placeholder 17">
            <a:extLst>
              <a:ext uri="{FF2B5EF4-FFF2-40B4-BE49-F238E27FC236}">
                <a16:creationId xmlns:a16="http://schemas.microsoft.com/office/drawing/2014/main" id="{F2BB25B4-EA95-05C8-294F-18A3E6B5CC04}"/>
              </a:ext>
            </a:extLst>
          </p:cNvPr>
          <p:cNvSpPr>
            <a:spLocks noGrp="1"/>
          </p:cNvSpPr>
          <p:nvPr>
            <p:ph type="body" sz="quarter" idx="18" hasCustomPrompt="1"/>
          </p:nvPr>
        </p:nvSpPr>
        <p:spPr>
          <a:xfrm>
            <a:off x="737536" y="1536540"/>
            <a:ext cx="3158595" cy="914400"/>
          </a:xfrm>
          <a:prstGeom prst="rect">
            <a:avLst/>
          </a:prstGeom>
        </p:spPr>
        <p:txBody>
          <a:bodyPr anchor="ctr"/>
          <a:lstStyle>
            <a:lvl1pPr marL="0" indent="0" algn="ctr">
              <a:buNone/>
              <a:defRPr sz="2400" b="1">
                <a:latin typeface="AvenirNext LT Pro Bold" panose="020B0504020202020204" pitchFamily="34" charset="77"/>
              </a:defRPr>
            </a:lvl1pPr>
          </a:lstStyle>
          <a:p>
            <a:r>
              <a:rPr lang="en-GB"/>
              <a:t>Click to edit </a:t>
            </a:r>
            <a:br>
              <a:rPr lang="en-GB"/>
            </a:br>
            <a:r>
              <a:rPr lang="en-GB"/>
              <a:t>Master title style</a:t>
            </a:r>
            <a:endParaRPr lang="en-BE"/>
          </a:p>
        </p:txBody>
      </p:sp>
      <p:sp>
        <p:nvSpPr>
          <p:cNvPr id="19" name="Text Placeholder 17">
            <a:extLst>
              <a:ext uri="{FF2B5EF4-FFF2-40B4-BE49-F238E27FC236}">
                <a16:creationId xmlns:a16="http://schemas.microsoft.com/office/drawing/2014/main" id="{45817B13-394A-2968-9E52-C825512DF70B}"/>
              </a:ext>
            </a:extLst>
          </p:cNvPr>
          <p:cNvSpPr>
            <a:spLocks noGrp="1"/>
          </p:cNvSpPr>
          <p:nvPr>
            <p:ph type="body" sz="quarter" idx="19" hasCustomPrompt="1"/>
          </p:nvPr>
        </p:nvSpPr>
        <p:spPr>
          <a:xfrm>
            <a:off x="4516697" y="1536540"/>
            <a:ext cx="3158595" cy="914400"/>
          </a:xfrm>
          <a:prstGeom prst="rect">
            <a:avLst/>
          </a:prstGeom>
        </p:spPr>
        <p:txBody>
          <a:bodyPr anchor="ctr"/>
          <a:lstStyle>
            <a:lvl1pPr marL="0" indent="0" algn="ctr">
              <a:buNone/>
              <a:defRPr sz="2400" b="1">
                <a:latin typeface="AvenirNext LT Pro Bold" panose="020B0504020202020204" pitchFamily="34" charset="77"/>
              </a:defRPr>
            </a:lvl1pPr>
          </a:lstStyle>
          <a:p>
            <a:r>
              <a:rPr lang="en-GB"/>
              <a:t>Click to edit </a:t>
            </a:r>
            <a:br>
              <a:rPr lang="en-GB"/>
            </a:br>
            <a:r>
              <a:rPr lang="en-GB"/>
              <a:t>Master title style</a:t>
            </a:r>
            <a:endParaRPr lang="en-BE"/>
          </a:p>
        </p:txBody>
      </p:sp>
      <p:sp>
        <p:nvSpPr>
          <p:cNvPr id="20" name="Text Placeholder 17">
            <a:extLst>
              <a:ext uri="{FF2B5EF4-FFF2-40B4-BE49-F238E27FC236}">
                <a16:creationId xmlns:a16="http://schemas.microsoft.com/office/drawing/2014/main" id="{91FF4CA5-D472-1AED-CEAD-CA41A88A3804}"/>
              </a:ext>
            </a:extLst>
          </p:cNvPr>
          <p:cNvSpPr>
            <a:spLocks noGrp="1"/>
          </p:cNvSpPr>
          <p:nvPr>
            <p:ph type="body" sz="quarter" idx="20" hasCustomPrompt="1"/>
          </p:nvPr>
        </p:nvSpPr>
        <p:spPr>
          <a:xfrm>
            <a:off x="8338056" y="1536540"/>
            <a:ext cx="3158595" cy="914400"/>
          </a:xfrm>
          <a:prstGeom prst="rect">
            <a:avLst/>
          </a:prstGeom>
        </p:spPr>
        <p:txBody>
          <a:bodyPr anchor="ctr"/>
          <a:lstStyle>
            <a:lvl1pPr marL="0" indent="0" algn="ctr">
              <a:buNone/>
              <a:defRPr sz="2400" b="1">
                <a:latin typeface="AvenirNext LT Pro Bold" panose="020B0504020202020204" pitchFamily="34" charset="77"/>
              </a:defRPr>
            </a:lvl1pPr>
          </a:lstStyle>
          <a:p>
            <a:r>
              <a:rPr lang="en-GB"/>
              <a:t>Click to edit </a:t>
            </a:r>
            <a:br>
              <a:rPr lang="en-GB"/>
            </a:br>
            <a:r>
              <a:rPr lang="en-GB"/>
              <a:t>Master title style</a:t>
            </a:r>
            <a:endParaRPr lang="en-BE"/>
          </a:p>
        </p:txBody>
      </p:sp>
      <p:sp>
        <p:nvSpPr>
          <p:cNvPr id="21" name="Text Placeholder 5">
            <a:extLst>
              <a:ext uri="{FF2B5EF4-FFF2-40B4-BE49-F238E27FC236}">
                <a16:creationId xmlns:a16="http://schemas.microsoft.com/office/drawing/2014/main" id="{BF58BE78-2203-98DB-5319-4F7887AE0E52}"/>
              </a:ext>
            </a:extLst>
          </p:cNvPr>
          <p:cNvSpPr>
            <a:spLocks noGrp="1"/>
          </p:cNvSpPr>
          <p:nvPr>
            <p:ph type="body" sz="quarter" idx="21" hasCustomPrompt="1"/>
          </p:nvPr>
        </p:nvSpPr>
        <p:spPr>
          <a:xfrm>
            <a:off x="437390" y="304079"/>
            <a:ext cx="5363564" cy="228026"/>
          </a:xfrm>
          <a:prstGeom prst="rect">
            <a:avLst/>
          </a:prstGeom>
        </p:spPr>
        <p:txBody>
          <a:bodyPr>
            <a:noAutofit/>
          </a:bodyPr>
          <a:lstStyle>
            <a:lvl1pPr marL="0" inden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a:defRPr/>
            </a:lvl2pPr>
            <a:lvl3pPr>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tabLst/>
              <a:defRPr/>
            </a:pPr>
            <a:r>
              <a:rPr lang="en-GB"/>
              <a:t>THE AGENDA</a:t>
            </a:r>
            <a:endParaRPr lang="en-BE"/>
          </a:p>
        </p:txBody>
      </p:sp>
    </p:spTree>
    <p:extLst>
      <p:ext uri="{BB962C8B-B14F-4D97-AF65-F5344CB8AC3E}">
        <p14:creationId xmlns:p14="http://schemas.microsoft.com/office/powerpoint/2010/main" val="20642862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A91A7C1C-CE71-C89E-0D93-A6ADB3161A35}"/>
              </a:ext>
            </a:extLst>
          </p:cNvPr>
          <p:cNvSpPr>
            <a:spLocks noGrp="1"/>
          </p:cNvSpPr>
          <p:nvPr>
            <p:ph type="pic" sz="quarter" idx="10"/>
          </p:nvPr>
        </p:nvSpPr>
        <p:spPr>
          <a:xfrm>
            <a:off x="592321" y="560957"/>
            <a:ext cx="2774553" cy="2774373"/>
          </a:xfrm>
          <a:prstGeom prst="ellipse">
            <a:avLst/>
          </a:prstGeom>
          <a:ln w="57150">
            <a:noFill/>
          </a:ln>
        </p:spPr>
        <p:txBody>
          <a:bodyPr/>
          <a:lstStyle>
            <a:lvl1pPr marL="0" indent="0">
              <a:buNone/>
              <a:defRPr b="0" i="0">
                <a:latin typeface="Arial" panose="020B0604020202020204" pitchFamily="34" charset="0"/>
              </a:defRPr>
            </a:lvl1pPr>
          </a:lstStyle>
          <a:p>
            <a:endParaRPr lang="en-BE"/>
          </a:p>
        </p:txBody>
      </p:sp>
      <p:sp>
        <p:nvSpPr>
          <p:cNvPr id="5" name="Text Placeholder 7">
            <a:extLst>
              <a:ext uri="{FF2B5EF4-FFF2-40B4-BE49-F238E27FC236}">
                <a16:creationId xmlns:a16="http://schemas.microsoft.com/office/drawing/2014/main" id="{9A87612D-6367-4B77-EFB6-89063F3A6593}"/>
              </a:ext>
            </a:extLst>
          </p:cNvPr>
          <p:cNvSpPr>
            <a:spLocks noGrp="1"/>
          </p:cNvSpPr>
          <p:nvPr>
            <p:ph type="body" sz="quarter" idx="11" hasCustomPrompt="1"/>
          </p:nvPr>
        </p:nvSpPr>
        <p:spPr>
          <a:xfrm>
            <a:off x="3793896" y="560957"/>
            <a:ext cx="4419228" cy="654844"/>
          </a:xfrm>
          <a:prstGeom prst="rect">
            <a:avLst/>
          </a:prstGeom>
        </p:spPr>
        <p:txBody>
          <a:bodyPr/>
          <a:lstStyle>
            <a:lvl1pPr marL="0" indent="0">
              <a:buNone/>
              <a:defRPr sz="4500" b="1" i="0">
                <a:latin typeface="AvenirNext LT Pro Bold" panose="020B0504020202020204" pitchFamily="34" charset="77"/>
                <a:cs typeface="Arial" panose="020B0604020202020204" pitchFamily="34" charset="0"/>
              </a:defRPr>
            </a:lvl1pPr>
          </a:lstStyle>
          <a:p>
            <a:pPr lvl="0"/>
            <a:r>
              <a:rPr lang="en-GB"/>
              <a:t>Meet Name</a:t>
            </a:r>
            <a:endParaRPr lang="en-BE"/>
          </a:p>
        </p:txBody>
      </p:sp>
      <p:sp>
        <p:nvSpPr>
          <p:cNvPr id="6" name="Text Placeholder 9">
            <a:extLst>
              <a:ext uri="{FF2B5EF4-FFF2-40B4-BE49-F238E27FC236}">
                <a16:creationId xmlns:a16="http://schemas.microsoft.com/office/drawing/2014/main" id="{04953FC3-BCDB-1456-D9E8-FEC3B1198A53}"/>
              </a:ext>
            </a:extLst>
          </p:cNvPr>
          <p:cNvSpPr>
            <a:spLocks noGrp="1"/>
          </p:cNvSpPr>
          <p:nvPr>
            <p:ph type="body" sz="quarter" idx="12" hasCustomPrompt="1"/>
          </p:nvPr>
        </p:nvSpPr>
        <p:spPr>
          <a:xfrm>
            <a:off x="3793897" y="1146962"/>
            <a:ext cx="7556523" cy="475343"/>
          </a:xfrm>
          <a:prstGeom prst="rect">
            <a:avLst/>
          </a:prstGeom>
        </p:spPr>
        <p:txBody>
          <a:bodyPr/>
          <a:lstStyle>
            <a:lvl1pPr marL="0" indent="0">
              <a:buNone/>
              <a:defRPr sz="2500" b="0" i="0">
                <a:latin typeface="AvenirNext LT Pro Bold" panose="020B0504020202020204" pitchFamily="34" charset="77"/>
                <a:cs typeface="Arial" panose="020B0604020202020204" pitchFamily="34" charset="0"/>
              </a:defRPr>
            </a:lvl1pPr>
          </a:lstStyle>
          <a:p>
            <a:pPr lvl="0"/>
            <a:r>
              <a:rPr lang="en-GB"/>
              <a:t>Your job title goes here</a:t>
            </a:r>
          </a:p>
        </p:txBody>
      </p:sp>
      <p:sp>
        <p:nvSpPr>
          <p:cNvPr id="7" name="Text Placeholder 22">
            <a:extLst>
              <a:ext uri="{FF2B5EF4-FFF2-40B4-BE49-F238E27FC236}">
                <a16:creationId xmlns:a16="http://schemas.microsoft.com/office/drawing/2014/main" id="{5D9DC4D9-2F5D-07F4-AC2C-B2F42619D5E8}"/>
              </a:ext>
            </a:extLst>
          </p:cNvPr>
          <p:cNvSpPr>
            <a:spLocks noGrp="1"/>
          </p:cNvSpPr>
          <p:nvPr>
            <p:ph type="body" sz="quarter" idx="13" hasCustomPrompt="1"/>
          </p:nvPr>
        </p:nvSpPr>
        <p:spPr>
          <a:xfrm>
            <a:off x="467441" y="3567907"/>
            <a:ext cx="3024311" cy="1988344"/>
          </a:xfrm>
          <a:prstGeom prst="rect">
            <a:avLst/>
          </a:prstGeom>
        </p:spPr>
        <p:txBody>
          <a:bodyPr/>
          <a:lstStyle>
            <a:lvl1pPr marL="0" indent="0" algn="r">
              <a:buNone/>
              <a:defRPr b="1" i="0">
                <a:latin typeface="AvenirNext LT Pro Bold" panose="020B0504020202020204" pitchFamily="34" charset="77"/>
                <a:cs typeface="Arial" panose="020B0604020202020204" pitchFamily="34" charset="0"/>
              </a:defRPr>
            </a:lvl1pPr>
          </a:lstStyle>
          <a:p>
            <a:pPr lvl="0"/>
            <a:r>
              <a:rPr lang="en-GB"/>
              <a:t>‘Don’t let small minds tell you that  your dreams are </a:t>
            </a:r>
            <a:br>
              <a:rPr lang="en-GB"/>
            </a:br>
            <a:r>
              <a:rPr lang="en-GB"/>
              <a:t>too big.’</a:t>
            </a:r>
            <a:endParaRPr lang="en-BE"/>
          </a:p>
        </p:txBody>
      </p:sp>
      <p:cxnSp>
        <p:nvCxnSpPr>
          <p:cNvPr id="8" name="Straight Connector 7">
            <a:extLst>
              <a:ext uri="{FF2B5EF4-FFF2-40B4-BE49-F238E27FC236}">
                <a16:creationId xmlns:a16="http://schemas.microsoft.com/office/drawing/2014/main" id="{BBC12F11-A7DA-A6DF-C6C0-ADF3B6EB43B3}"/>
              </a:ext>
            </a:extLst>
          </p:cNvPr>
          <p:cNvCxnSpPr>
            <a:cxnSpLocks/>
          </p:cNvCxnSpPr>
          <p:nvPr userDrawn="1"/>
        </p:nvCxnSpPr>
        <p:spPr>
          <a:xfrm flipV="1">
            <a:off x="3620654" y="560957"/>
            <a:ext cx="0" cy="6035786"/>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97A2C1D6-F4F6-E08D-28F9-8AA24D5A5B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33043" y="5469694"/>
            <a:ext cx="877957" cy="1133447"/>
          </a:xfrm>
          <a:prstGeom prst="rect">
            <a:avLst/>
          </a:prstGeom>
        </p:spPr>
      </p:pic>
    </p:spTree>
    <p:extLst>
      <p:ext uri="{BB962C8B-B14F-4D97-AF65-F5344CB8AC3E}">
        <p14:creationId xmlns:p14="http://schemas.microsoft.com/office/powerpoint/2010/main" val="14262761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X_BLANK_PAG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327568-1449-F9EA-E6AC-2F2143A2BE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33043" y="5469694"/>
            <a:ext cx="877957" cy="1133447"/>
          </a:xfrm>
          <a:prstGeom prst="rect">
            <a:avLst/>
          </a:prstGeom>
        </p:spPr>
      </p:pic>
    </p:spTree>
    <p:extLst>
      <p:ext uri="{BB962C8B-B14F-4D97-AF65-F5344CB8AC3E}">
        <p14:creationId xmlns:p14="http://schemas.microsoft.com/office/powerpoint/2010/main" val="16488168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PAGE">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DBBAD0F-B4DA-2C28-98DC-23FBE34C086C}"/>
              </a:ext>
            </a:extLst>
          </p:cNvPr>
          <p:cNvSpPr>
            <a:spLocks noGrp="1"/>
          </p:cNvSpPr>
          <p:nvPr>
            <p:ph type="body" sz="quarter" idx="18" hasCustomPrompt="1"/>
          </p:nvPr>
        </p:nvSpPr>
        <p:spPr>
          <a:xfrm>
            <a:off x="914852" y="2303273"/>
            <a:ext cx="10362296" cy="1593813"/>
          </a:xfrm>
          <a:prstGeom prst="rect">
            <a:avLst/>
          </a:prstGeom>
        </p:spPr>
        <p:txBody>
          <a:bodyPr anchor="ctr"/>
          <a:lstStyle>
            <a:lvl1pPr marL="0" indent="0" algn="ctr">
              <a:lnSpc>
                <a:spcPct val="100000"/>
              </a:lnSpc>
              <a:spcBef>
                <a:spcPts val="0"/>
              </a:spcBef>
              <a:buNone/>
              <a:defRPr sz="5000" b="0" i="0">
                <a:latin typeface="Bodoni MT" panose="02070603080606020203" pitchFamily="18" charset="77"/>
              </a:defRPr>
            </a:lvl1pPr>
            <a:lvl2pPr marL="457200" indent="0">
              <a:buNone/>
              <a:defRPr sz="8800" b="1" i="0">
                <a:latin typeface="AvenirNext LT Pro Bold" panose="020B0504020202020204" pitchFamily="34" charset="77"/>
              </a:defRPr>
            </a:lvl2pPr>
            <a:lvl3pPr marL="914400" indent="0">
              <a:buNone/>
              <a:defRPr sz="8800" b="1" i="0">
                <a:latin typeface="AvenirNext LT Pro Bold" panose="020B0504020202020204" pitchFamily="34" charset="77"/>
              </a:defRPr>
            </a:lvl3pPr>
            <a:lvl4pPr marL="1371600" indent="0">
              <a:buNone/>
              <a:defRPr sz="8800" b="1" i="0">
                <a:latin typeface="AvenirNext LT Pro Bold" panose="020B0504020202020204" pitchFamily="34" charset="77"/>
              </a:defRPr>
            </a:lvl4pPr>
            <a:lvl5pPr marL="1828800" indent="0">
              <a:buNone/>
              <a:defRPr sz="8800" b="1" i="0">
                <a:latin typeface="AvenirNext LT Pro Bold" panose="020B0504020202020204" pitchFamily="34" charset="77"/>
              </a:defRPr>
            </a:lvl5pPr>
          </a:lstStyle>
          <a:p>
            <a:pPr lvl="0"/>
            <a:r>
              <a:rPr lang="en-GB">
                <a:solidFill>
                  <a:schemeClr val="tx1"/>
                </a:solidFill>
              </a:rPr>
              <a:t>Thank</a:t>
            </a:r>
            <a:endParaRPr lang="en-GB"/>
          </a:p>
        </p:txBody>
      </p:sp>
      <p:sp>
        <p:nvSpPr>
          <p:cNvPr id="2" name="Text Placeholder 2">
            <a:extLst>
              <a:ext uri="{FF2B5EF4-FFF2-40B4-BE49-F238E27FC236}">
                <a16:creationId xmlns:a16="http://schemas.microsoft.com/office/drawing/2014/main" id="{5113F6BD-E763-B571-8E74-027FBF9708E8}"/>
              </a:ext>
            </a:extLst>
          </p:cNvPr>
          <p:cNvSpPr>
            <a:spLocks noGrp="1"/>
          </p:cNvSpPr>
          <p:nvPr>
            <p:ph type="body" sz="quarter" idx="19" hasCustomPrompt="1"/>
          </p:nvPr>
        </p:nvSpPr>
        <p:spPr>
          <a:xfrm>
            <a:off x="925738" y="2760474"/>
            <a:ext cx="10362296" cy="1593813"/>
          </a:xfrm>
          <a:prstGeom prst="rect">
            <a:avLst/>
          </a:prstGeom>
        </p:spPr>
        <p:txBody>
          <a:bodyPr anchor="ctr"/>
          <a:lstStyle>
            <a:lvl1pPr marL="0" indent="0" algn="ctr">
              <a:lnSpc>
                <a:spcPct val="100000"/>
              </a:lnSpc>
              <a:spcBef>
                <a:spcPts val="0"/>
              </a:spcBef>
              <a:buNone/>
              <a:defRPr sz="5000" b="1" i="0">
                <a:latin typeface="AvenirNext LT Pro Bold" panose="020B0504020202020204" pitchFamily="34" charset="77"/>
              </a:defRPr>
            </a:lvl1pPr>
            <a:lvl2pPr marL="457200" indent="0">
              <a:buNone/>
              <a:defRPr sz="8800" b="1" i="0">
                <a:latin typeface="AvenirNext LT Pro Bold" panose="020B0504020202020204" pitchFamily="34" charset="77"/>
              </a:defRPr>
            </a:lvl2pPr>
            <a:lvl3pPr marL="914400" indent="0">
              <a:buNone/>
              <a:defRPr sz="8800" b="1" i="0">
                <a:latin typeface="AvenirNext LT Pro Bold" panose="020B0504020202020204" pitchFamily="34" charset="77"/>
              </a:defRPr>
            </a:lvl3pPr>
            <a:lvl4pPr marL="1371600" indent="0">
              <a:buNone/>
              <a:defRPr sz="8800" b="1" i="0">
                <a:latin typeface="AvenirNext LT Pro Bold" panose="020B0504020202020204" pitchFamily="34" charset="77"/>
              </a:defRPr>
            </a:lvl4pPr>
            <a:lvl5pPr marL="1828800" indent="0">
              <a:buNone/>
              <a:defRPr sz="8800" b="1" i="0">
                <a:latin typeface="AvenirNext LT Pro Bold" panose="020B0504020202020204" pitchFamily="34" charset="77"/>
              </a:defRPr>
            </a:lvl5pPr>
          </a:lstStyle>
          <a:p>
            <a:pPr lvl="0"/>
            <a:r>
              <a:rPr lang="en-GB">
                <a:solidFill>
                  <a:schemeClr val="tx1"/>
                </a:solidFill>
              </a:rPr>
              <a:t>you.</a:t>
            </a:r>
            <a:endParaRPr lang="en-GB"/>
          </a:p>
        </p:txBody>
      </p:sp>
      <p:pic>
        <p:nvPicPr>
          <p:cNvPr id="5" name="Picture 4">
            <a:extLst>
              <a:ext uri="{FF2B5EF4-FFF2-40B4-BE49-F238E27FC236}">
                <a16:creationId xmlns:a16="http://schemas.microsoft.com/office/drawing/2014/main" id="{D72319DA-F3B9-FF59-B06A-6C833F248D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57020" y="5469694"/>
            <a:ext cx="877957" cy="1133447"/>
          </a:xfrm>
          <a:prstGeom prst="rect">
            <a:avLst/>
          </a:prstGeom>
        </p:spPr>
      </p:pic>
    </p:spTree>
    <p:extLst>
      <p:ext uri="{BB962C8B-B14F-4D97-AF65-F5344CB8AC3E}">
        <p14:creationId xmlns:p14="http://schemas.microsoft.com/office/powerpoint/2010/main" val="25136852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cSld name="Two Content">
    <p:spTree>
      <p:nvGrpSpPr>
        <p:cNvPr id="1" name=""/>
        <p:cNvGrpSpPr/>
        <p:nvPr/>
      </p:nvGrpSpPr>
      <p:grpSpPr>
        <a:xfrm>
          <a:off x="0" y="0"/>
          <a:ext cx="0" cy="0"/>
          <a:chOff x="0" y="0"/>
          <a:chExt cx="0" cy="0"/>
        </a:xfrm>
      </p:grpSpPr>
      <p:sp>
        <p:nvSpPr>
          <p:cNvPr id="171" name="Slide Number"/>
          <p:cNvSpPr txBox="1">
            <a:spLocks noGrp="1"/>
          </p:cNvSpPr>
          <p:nvPr>
            <p:ph type="sldNum" sz="quarter" idx="2"/>
          </p:nvPr>
        </p:nvSpPr>
        <p:spPr>
          <a:xfrm>
            <a:off x="5892900" y="6173787"/>
            <a:ext cx="2843403" cy="365126"/>
          </a:xfrm>
          <a:prstGeom prst="rect">
            <a:avLst/>
          </a:prstGeom>
        </p:spPr>
        <p:txBody>
          <a:bodyPr lIns="75353" tIns="75353" rIns="75353" bIns="75353"/>
          <a:lstStyle>
            <a:lvl1pPr defTabSz="913885">
              <a:defRPr sz="1092">
                <a:latin typeface="Gill Sans MT"/>
                <a:ea typeface="Gill Sans MT"/>
                <a:cs typeface="Gill Sans MT"/>
                <a:sym typeface="Gill Sans MT"/>
              </a:defRPr>
            </a:lvl1pPr>
          </a:lstStyle>
          <a:p>
            <a:fld id="{86CB4B4D-7CA3-9044-876B-883B54F8677D}" type="slidenum">
              <a:t>‹#›</a:t>
            </a:fld>
            <a:endParaRPr/>
          </a:p>
        </p:txBody>
      </p:sp>
    </p:spTree>
    <p:extLst>
      <p:ext uri="{BB962C8B-B14F-4D97-AF65-F5344CB8AC3E}">
        <p14:creationId xmlns:p14="http://schemas.microsoft.com/office/powerpoint/2010/main" val="2258732349"/>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x">
  <p:cSld name="1_General comment">
    <p:spTree>
      <p:nvGrpSpPr>
        <p:cNvPr id="1" name=""/>
        <p:cNvGrpSpPr/>
        <p:nvPr/>
      </p:nvGrpSpPr>
      <p:grpSpPr>
        <a:xfrm>
          <a:off x="0" y="0"/>
          <a:ext cx="0" cy="0"/>
          <a:chOff x="0" y="0"/>
          <a:chExt cx="0" cy="0"/>
        </a:xfrm>
      </p:grpSpPr>
      <p:sp>
        <p:nvSpPr>
          <p:cNvPr id="81" name="bk object 16"/>
          <p:cNvSpPr/>
          <p:nvPr/>
        </p:nvSpPr>
        <p:spPr>
          <a:xfrm>
            <a:off x="11369921" y="1290854"/>
            <a:ext cx="822080" cy="557051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21600"/>
                </a:lnTo>
                <a:lnTo>
                  <a:pt x="21600" y="21600"/>
                </a:lnTo>
                <a:lnTo>
                  <a:pt x="21600" y="0"/>
                </a:lnTo>
                <a:close/>
              </a:path>
            </a:pathLst>
          </a:custGeom>
          <a:solidFill>
            <a:srgbClr val="000000">
              <a:alpha val="5000"/>
            </a:srgbClr>
          </a:solidFill>
          <a:ln w="12700">
            <a:miter lim="400000"/>
          </a:ln>
        </p:spPr>
        <p:txBody>
          <a:bodyPr lIns="27725" tIns="27725" rIns="27725" bIns="27725"/>
          <a:lstStyle/>
          <a:p>
            <a:endParaRPr sz="1092"/>
          </a:p>
        </p:txBody>
      </p:sp>
      <p:sp>
        <p:nvSpPr>
          <p:cNvPr id="82" name="object 3"/>
          <p:cNvSpPr/>
          <p:nvPr/>
        </p:nvSpPr>
        <p:spPr>
          <a:xfrm>
            <a:off x="979207" y="6309367"/>
            <a:ext cx="124073" cy="156929"/>
          </a:xfrm>
          <a:prstGeom prst="rect">
            <a:avLst/>
          </a:prstGeom>
          <a:blipFill>
            <a:blip r:embed="rId2" cstate="screen">
              <a:extLst>
                <a:ext uri="{28A0092B-C50C-407E-A947-70E740481C1C}">
                  <a14:useLocalDpi xmlns:a14="http://schemas.microsoft.com/office/drawing/2010/main"/>
                </a:ext>
              </a:extLst>
            </a:blip>
            <a:stretch>
              <a:fillRect/>
            </a:stretch>
          </a:blipFill>
          <a:ln w="12700">
            <a:miter lim="400000"/>
          </a:ln>
        </p:spPr>
        <p:txBody>
          <a:bodyPr lIns="27725" tIns="27725" rIns="27725" bIns="27725"/>
          <a:lstStyle/>
          <a:p>
            <a:endParaRPr sz="1092"/>
          </a:p>
        </p:txBody>
      </p:sp>
      <p:sp>
        <p:nvSpPr>
          <p:cNvPr id="83" name="object 4"/>
          <p:cNvSpPr/>
          <p:nvPr/>
        </p:nvSpPr>
        <p:spPr>
          <a:xfrm>
            <a:off x="1122152" y="6309367"/>
            <a:ext cx="138996" cy="156929"/>
          </a:xfrm>
          <a:prstGeom prst="rect">
            <a:avLst/>
          </a:prstGeom>
          <a:blipFill>
            <a:blip r:embed="rId3" cstate="screen">
              <a:extLst>
                <a:ext uri="{28A0092B-C50C-407E-A947-70E740481C1C}">
                  <a14:useLocalDpi xmlns:a14="http://schemas.microsoft.com/office/drawing/2010/main"/>
                </a:ext>
              </a:extLst>
            </a:blip>
            <a:stretch>
              <a:fillRect/>
            </a:stretch>
          </a:blipFill>
          <a:ln w="12700">
            <a:miter lim="400000"/>
          </a:ln>
        </p:spPr>
        <p:txBody>
          <a:bodyPr lIns="27725" tIns="27725" rIns="27725" bIns="27725"/>
          <a:lstStyle/>
          <a:p>
            <a:endParaRPr sz="1092"/>
          </a:p>
        </p:txBody>
      </p:sp>
      <p:sp>
        <p:nvSpPr>
          <p:cNvPr id="84" name="object 5"/>
          <p:cNvSpPr/>
          <p:nvPr/>
        </p:nvSpPr>
        <p:spPr>
          <a:xfrm>
            <a:off x="1279892" y="6309367"/>
            <a:ext cx="116384" cy="156929"/>
          </a:xfrm>
          <a:prstGeom prst="rect">
            <a:avLst/>
          </a:prstGeom>
          <a:blipFill>
            <a:blip r:embed="rId4" cstate="screen">
              <a:extLst>
                <a:ext uri="{28A0092B-C50C-407E-A947-70E740481C1C}">
                  <a14:useLocalDpi xmlns:a14="http://schemas.microsoft.com/office/drawing/2010/main"/>
                </a:ext>
              </a:extLst>
            </a:blip>
            <a:stretch>
              <a:fillRect/>
            </a:stretch>
          </a:blipFill>
          <a:ln w="12700">
            <a:miter lim="400000"/>
          </a:ln>
        </p:spPr>
        <p:txBody>
          <a:bodyPr lIns="27725" tIns="27725" rIns="27725" bIns="27725"/>
          <a:lstStyle/>
          <a:p>
            <a:endParaRPr sz="1092"/>
          </a:p>
        </p:txBody>
      </p:sp>
      <p:sp>
        <p:nvSpPr>
          <p:cNvPr id="85" name="object 6"/>
          <p:cNvSpPr/>
          <p:nvPr/>
        </p:nvSpPr>
        <p:spPr>
          <a:xfrm>
            <a:off x="1417942" y="6309367"/>
            <a:ext cx="116390" cy="156929"/>
          </a:xfrm>
          <a:prstGeom prst="rect">
            <a:avLst/>
          </a:prstGeom>
          <a:blipFill>
            <a:blip r:embed="rId5" cstate="screen">
              <a:extLst>
                <a:ext uri="{28A0092B-C50C-407E-A947-70E740481C1C}">
                  <a14:useLocalDpi xmlns:a14="http://schemas.microsoft.com/office/drawing/2010/main"/>
                </a:ext>
              </a:extLst>
            </a:blip>
            <a:stretch>
              <a:fillRect/>
            </a:stretch>
          </a:blipFill>
          <a:ln w="12700">
            <a:miter lim="400000"/>
          </a:ln>
        </p:spPr>
        <p:txBody>
          <a:bodyPr lIns="27725" tIns="27725" rIns="27725" bIns="27725"/>
          <a:lstStyle/>
          <a:p>
            <a:endParaRPr sz="1092"/>
          </a:p>
        </p:txBody>
      </p:sp>
      <p:sp>
        <p:nvSpPr>
          <p:cNvPr id="86" name="object 7"/>
          <p:cNvSpPr/>
          <p:nvPr/>
        </p:nvSpPr>
        <p:spPr>
          <a:xfrm>
            <a:off x="1556334" y="6309367"/>
            <a:ext cx="19209" cy="156929"/>
          </a:xfrm>
          <a:prstGeom prst="rect">
            <a:avLst/>
          </a:prstGeom>
          <a:blipFill>
            <a:blip r:embed="rId6" cstate="screen">
              <a:extLst>
                <a:ext uri="{28A0092B-C50C-407E-A947-70E740481C1C}">
                  <a14:useLocalDpi xmlns:a14="http://schemas.microsoft.com/office/drawing/2010/main"/>
                </a:ext>
              </a:extLst>
            </a:blip>
            <a:stretch>
              <a:fillRect/>
            </a:stretch>
          </a:blipFill>
          <a:ln w="12700">
            <a:miter lim="400000"/>
          </a:ln>
        </p:spPr>
        <p:txBody>
          <a:bodyPr lIns="27725" tIns="27725" rIns="27725" bIns="27725"/>
          <a:lstStyle/>
          <a:p>
            <a:endParaRPr sz="1092"/>
          </a:p>
        </p:txBody>
      </p:sp>
      <p:sp>
        <p:nvSpPr>
          <p:cNvPr id="87" name="object 8"/>
          <p:cNvSpPr/>
          <p:nvPr/>
        </p:nvSpPr>
        <p:spPr>
          <a:xfrm>
            <a:off x="1612322" y="6309367"/>
            <a:ext cx="124752" cy="156929"/>
          </a:xfrm>
          <a:prstGeom prst="rect">
            <a:avLst/>
          </a:prstGeom>
          <a:blipFill>
            <a:blip r:embed="rId7" cstate="screen">
              <a:extLst>
                <a:ext uri="{28A0092B-C50C-407E-A947-70E740481C1C}">
                  <a14:useLocalDpi xmlns:a14="http://schemas.microsoft.com/office/drawing/2010/main"/>
                </a:ext>
              </a:extLst>
            </a:blip>
            <a:stretch>
              <a:fillRect/>
            </a:stretch>
          </a:blipFill>
          <a:ln w="12700">
            <a:miter lim="400000"/>
          </a:ln>
        </p:spPr>
        <p:txBody>
          <a:bodyPr lIns="27725" tIns="27725" rIns="27725" bIns="27725"/>
          <a:lstStyle/>
          <a:p>
            <a:endParaRPr sz="1092"/>
          </a:p>
        </p:txBody>
      </p:sp>
      <p:sp>
        <p:nvSpPr>
          <p:cNvPr id="88" name="object 9"/>
          <p:cNvSpPr/>
          <p:nvPr/>
        </p:nvSpPr>
        <p:spPr>
          <a:xfrm>
            <a:off x="1774005" y="6309367"/>
            <a:ext cx="112097" cy="156929"/>
          </a:xfrm>
          <a:prstGeom prst="rect">
            <a:avLst/>
          </a:prstGeom>
          <a:blipFill>
            <a:blip r:embed="rId8" cstate="screen">
              <a:extLst>
                <a:ext uri="{28A0092B-C50C-407E-A947-70E740481C1C}">
                  <a14:useLocalDpi xmlns:a14="http://schemas.microsoft.com/office/drawing/2010/main"/>
                </a:ext>
              </a:extLst>
            </a:blip>
            <a:stretch>
              <a:fillRect/>
            </a:stretch>
          </a:blipFill>
          <a:ln w="12700">
            <a:miter lim="400000"/>
          </a:ln>
        </p:spPr>
        <p:txBody>
          <a:bodyPr lIns="27725" tIns="27725" rIns="27725" bIns="27725"/>
          <a:lstStyle/>
          <a:p>
            <a:endParaRPr sz="1092"/>
          </a:p>
        </p:txBody>
      </p:sp>
      <p:sp>
        <p:nvSpPr>
          <p:cNvPr id="89" name="object 10"/>
          <p:cNvSpPr/>
          <p:nvPr/>
        </p:nvSpPr>
        <p:spPr>
          <a:xfrm>
            <a:off x="1900041" y="6305517"/>
            <a:ext cx="119095" cy="163486"/>
          </a:xfrm>
          <a:prstGeom prst="rect">
            <a:avLst/>
          </a:prstGeom>
          <a:blipFill>
            <a:blip r:embed="rId9" cstate="screen">
              <a:extLst>
                <a:ext uri="{28A0092B-C50C-407E-A947-70E740481C1C}">
                  <a14:useLocalDpi xmlns:a14="http://schemas.microsoft.com/office/drawing/2010/main"/>
                </a:ext>
              </a:extLst>
            </a:blip>
            <a:stretch>
              <a:fillRect/>
            </a:stretch>
          </a:blipFill>
          <a:ln w="12700">
            <a:miter lim="400000"/>
          </a:ln>
        </p:spPr>
        <p:txBody>
          <a:bodyPr lIns="27725" tIns="27725" rIns="27725" bIns="27725"/>
          <a:lstStyle/>
          <a:p>
            <a:endParaRPr sz="1092"/>
          </a:p>
        </p:txBody>
      </p:sp>
      <p:sp>
        <p:nvSpPr>
          <p:cNvPr id="90" name="object 11"/>
          <p:cNvSpPr/>
          <p:nvPr/>
        </p:nvSpPr>
        <p:spPr>
          <a:xfrm>
            <a:off x="2037232" y="6305517"/>
            <a:ext cx="119101" cy="163486"/>
          </a:xfrm>
          <a:prstGeom prst="rect">
            <a:avLst/>
          </a:prstGeom>
          <a:blipFill>
            <a:blip r:embed="rId10" cstate="screen">
              <a:extLst>
                <a:ext uri="{28A0092B-C50C-407E-A947-70E740481C1C}">
                  <a14:useLocalDpi xmlns:a14="http://schemas.microsoft.com/office/drawing/2010/main"/>
                </a:ext>
              </a:extLst>
            </a:blip>
            <a:stretch>
              <a:fillRect/>
            </a:stretch>
          </a:blipFill>
          <a:ln w="12700">
            <a:miter lim="400000"/>
          </a:ln>
        </p:spPr>
        <p:txBody>
          <a:bodyPr lIns="27725" tIns="27725" rIns="27725" bIns="27725"/>
          <a:lstStyle/>
          <a:p>
            <a:endParaRPr sz="1092"/>
          </a:p>
        </p:txBody>
      </p:sp>
      <p:sp>
        <p:nvSpPr>
          <p:cNvPr id="91" name="object 2"/>
          <p:cNvSpPr/>
          <p:nvPr/>
        </p:nvSpPr>
        <p:spPr>
          <a:xfrm flipH="1">
            <a:off x="5125822" y="0"/>
            <a:ext cx="963830" cy="6861373"/>
          </a:xfrm>
          <a:prstGeom prst="line">
            <a:avLst/>
          </a:prstGeom>
          <a:ln w="20945">
            <a:solidFill>
              <a:srgbClr val="BDAD63"/>
            </a:solidFill>
          </a:ln>
        </p:spPr>
        <p:txBody>
          <a:bodyPr lIns="27725" tIns="27725" rIns="27725" bIns="27725"/>
          <a:lstStyle/>
          <a:p>
            <a:endParaRPr sz="1092"/>
          </a:p>
        </p:txBody>
      </p:sp>
      <p:sp>
        <p:nvSpPr>
          <p:cNvPr id="92" name="Body Level One…"/>
          <p:cNvSpPr txBox="1">
            <a:spLocks noGrp="1"/>
          </p:cNvSpPr>
          <p:nvPr>
            <p:ph type="body" sz="quarter" idx="1" hasCustomPrompt="1"/>
          </p:nvPr>
        </p:nvSpPr>
        <p:spPr>
          <a:xfrm>
            <a:off x="6513379" y="2332394"/>
            <a:ext cx="4506535" cy="2193212"/>
          </a:xfrm>
          <a:prstGeom prst="rect">
            <a:avLst/>
          </a:prstGeom>
        </p:spPr>
        <p:txBody>
          <a:bodyPr>
            <a:normAutofit/>
          </a:bodyPr>
          <a:lstStyle>
            <a:lvl1pPr marL="121680" indent="-113979">
              <a:lnSpc>
                <a:spcPct val="140000"/>
              </a:lnSpc>
              <a:spcBef>
                <a:spcPts val="61"/>
              </a:spcBef>
              <a:buClr>
                <a:srgbClr val="000000"/>
              </a:buClr>
              <a:buSzPct val="81632"/>
              <a:buFont typeface="Chalet NewYorkNineteenSixty"/>
              <a:buChar char="•"/>
              <a:tabLst>
                <a:tab pos="115519" algn="l"/>
              </a:tabLst>
              <a:defRPr sz="1455" spc="-9">
                <a:solidFill>
                  <a:srgbClr val="333333"/>
                </a:solidFill>
                <a:latin typeface="Chalet-LondonNineteenSixty"/>
                <a:ea typeface="Chalet-LondonNineteenSixty"/>
                <a:cs typeface="Chalet-LondonNineteenSixty"/>
                <a:sym typeface="Chalet LondonNineteenSixty"/>
              </a:defRPr>
            </a:lvl1pPr>
            <a:lvl2pPr>
              <a:lnSpc>
                <a:spcPct val="140000"/>
              </a:lnSpc>
              <a:spcBef>
                <a:spcPts val="61"/>
              </a:spcBef>
              <a:buClr>
                <a:srgbClr val="000000"/>
              </a:buClr>
              <a:buFont typeface="Chalet NewYorkNineteenSixty"/>
              <a:tabLst>
                <a:tab pos="115519" algn="l"/>
              </a:tabLst>
              <a:defRPr sz="1455" spc="-9">
                <a:solidFill>
                  <a:srgbClr val="333333"/>
                </a:solidFill>
                <a:latin typeface="Chalet-LondonNineteenSixty"/>
                <a:ea typeface="Chalet-LondonNineteenSixty"/>
                <a:cs typeface="Chalet-LondonNineteenSixty"/>
                <a:sym typeface="Chalet LondonNineteenSixty"/>
              </a:defRPr>
            </a:lvl2pPr>
            <a:lvl3pPr>
              <a:lnSpc>
                <a:spcPct val="140000"/>
              </a:lnSpc>
              <a:spcBef>
                <a:spcPts val="61"/>
              </a:spcBef>
              <a:buClr>
                <a:srgbClr val="000000"/>
              </a:buClr>
              <a:buFont typeface="Chalet NewYorkNineteenSixty"/>
              <a:tabLst>
                <a:tab pos="115519" algn="l"/>
              </a:tabLst>
              <a:defRPr sz="1455" spc="-9">
                <a:solidFill>
                  <a:srgbClr val="333333"/>
                </a:solidFill>
                <a:latin typeface="Chalet-LondonNineteenSixty"/>
                <a:ea typeface="Chalet-LondonNineteenSixty"/>
                <a:cs typeface="Chalet-LondonNineteenSixty"/>
                <a:sym typeface="Chalet LondonNineteenSixty"/>
              </a:defRPr>
            </a:lvl3pPr>
            <a:lvl4pPr>
              <a:lnSpc>
                <a:spcPct val="140000"/>
              </a:lnSpc>
              <a:spcBef>
                <a:spcPts val="61"/>
              </a:spcBef>
              <a:buClr>
                <a:srgbClr val="000000"/>
              </a:buClr>
              <a:buFont typeface="Chalet NewYorkNineteenSixty"/>
              <a:tabLst>
                <a:tab pos="115519" algn="l"/>
              </a:tabLst>
              <a:defRPr sz="1455" spc="-9">
                <a:solidFill>
                  <a:srgbClr val="333333"/>
                </a:solidFill>
                <a:latin typeface="Chalet-LondonNineteenSixty"/>
                <a:ea typeface="Chalet-LondonNineteenSixty"/>
                <a:cs typeface="Chalet-LondonNineteenSixty"/>
                <a:sym typeface="Chalet LondonNineteenSixty"/>
              </a:defRPr>
            </a:lvl4pPr>
            <a:lvl5pPr>
              <a:lnSpc>
                <a:spcPct val="140000"/>
              </a:lnSpc>
              <a:spcBef>
                <a:spcPts val="61"/>
              </a:spcBef>
              <a:buClr>
                <a:srgbClr val="000000"/>
              </a:buClr>
              <a:buFont typeface="Chalet NewYorkNineteenSixty"/>
              <a:tabLst>
                <a:tab pos="115519" algn="l"/>
              </a:tabLst>
              <a:defRPr sz="1455" spc="-9">
                <a:solidFill>
                  <a:srgbClr val="333333"/>
                </a:solidFill>
                <a:latin typeface="Chalet-LondonNineteenSixty"/>
                <a:ea typeface="Chalet-LondonNineteenSixty"/>
                <a:cs typeface="Chalet-LondonNineteenSixty"/>
                <a:sym typeface="Chalet LondonNineteenSixty"/>
              </a:defRPr>
            </a:lvl5pPr>
          </a:lstStyle>
          <a:p>
            <a:r>
              <a:t>For bullet points</a:t>
            </a:r>
          </a:p>
          <a:p>
            <a:pPr lvl="1"/>
            <a:endParaRPr/>
          </a:p>
          <a:p>
            <a:pPr lvl="2"/>
            <a:endParaRPr/>
          </a:p>
          <a:p>
            <a:pPr lvl="3"/>
            <a:endParaRPr/>
          </a:p>
          <a:p>
            <a:pPr lvl="4"/>
            <a:endParaRPr/>
          </a:p>
        </p:txBody>
      </p:sp>
      <p:sp>
        <p:nvSpPr>
          <p:cNvPr id="93" name="The title of your slide goes here."/>
          <p:cNvSpPr txBox="1">
            <a:spLocks noGrp="1"/>
          </p:cNvSpPr>
          <p:nvPr>
            <p:ph type="title" hasCustomPrompt="1"/>
          </p:nvPr>
        </p:nvSpPr>
        <p:spPr>
          <a:xfrm>
            <a:off x="979207" y="2080774"/>
            <a:ext cx="3472373" cy="2470816"/>
          </a:xfrm>
          <a:prstGeom prst="rect">
            <a:avLst/>
          </a:prstGeom>
        </p:spPr>
        <p:txBody>
          <a:bodyPr>
            <a:normAutofit/>
          </a:bodyPr>
          <a:lstStyle>
            <a:lvl1pPr>
              <a:defRPr sz="5458">
                <a:solidFill>
                  <a:srgbClr val="000000"/>
                </a:solidFill>
              </a:defRPr>
            </a:lvl1pPr>
          </a:lstStyle>
          <a:p>
            <a:r>
              <a:t>The title of your slide goes here.</a:t>
            </a:r>
          </a:p>
        </p:txBody>
      </p:sp>
      <p:sp>
        <p:nvSpPr>
          <p:cNvPr id="9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45835043"/>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7A08EC-77E5-4805-85EB-C6B36FEECCDC}"/>
              </a:ext>
            </a:extLst>
          </p:cNvPr>
          <p:cNvSpPr>
            <a:spLocks noGrp="1"/>
          </p:cNvSpPr>
          <p:nvPr>
            <p:ph type="dt" sz="half" idx="10"/>
          </p:nvPr>
        </p:nvSpPr>
        <p:spPr/>
        <p:txBody>
          <a:bodyPr/>
          <a:lstStyle/>
          <a:p>
            <a:fld id="{684EDBFF-5C05-9345-8582-879687C08339}" type="datetimeFigureOut">
              <a:rPr lang="nl-NL" smtClean="0"/>
              <a:t>15-2-2024</a:t>
            </a:fld>
            <a:endParaRPr lang="nl-NL"/>
          </a:p>
        </p:txBody>
      </p:sp>
      <p:sp>
        <p:nvSpPr>
          <p:cNvPr id="3" name="Footer Placeholder 2">
            <a:extLst>
              <a:ext uri="{FF2B5EF4-FFF2-40B4-BE49-F238E27FC236}">
                <a16:creationId xmlns:a16="http://schemas.microsoft.com/office/drawing/2014/main" id="{46BE91D3-BC52-E4F3-7DE8-ED869D9B7BAB}"/>
              </a:ext>
            </a:extLst>
          </p:cNvPr>
          <p:cNvSpPr>
            <a:spLocks noGrp="1"/>
          </p:cNvSpPr>
          <p:nvPr>
            <p:ph type="ftr" sz="quarter" idx="11"/>
          </p:nvPr>
        </p:nvSpPr>
        <p:spPr>
          <a:xfrm>
            <a:off x="4038600" y="6356350"/>
            <a:ext cx="4114800" cy="365125"/>
          </a:xfrm>
          <a:prstGeom prst="rect">
            <a:avLst/>
          </a:prstGeom>
        </p:spPr>
        <p:txBody>
          <a:bodyPr/>
          <a:lstStyle/>
          <a:p>
            <a:endParaRPr lang="nl-NL"/>
          </a:p>
        </p:txBody>
      </p:sp>
      <p:sp>
        <p:nvSpPr>
          <p:cNvPr id="4" name="Slide Number Placeholder 3">
            <a:extLst>
              <a:ext uri="{FF2B5EF4-FFF2-40B4-BE49-F238E27FC236}">
                <a16:creationId xmlns:a16="http://schemas.microsoft.com/office/drawing/2014/main" id="{792ECEBC-5883-A363-C18B-B3B5FDED9BFC}"/>
              </a:ext>
            </a:extLst>
          </p:cNvPr>
          <p:cNvSpPr>
            <a:spLocks noGrp="1"/>
          </p:cNvSpPr>
          <p:nvPr>
            <p:ph type="sldNum" sz="quarter" idx="12"/>
          </p:nvPr>
        </p:nvSpPr>
        <p:spPr/>
        <p:txBody>
          <a:bodyPr/>
          <a:lstStyle/>
          <a:p>
            <a:fld id="{EBB113F2-8BEA-6E48-BC63-688D9F3F339D}" type="slidenum">
              <a:rPr lang="nl-NL" smtClean="0"/>
              <a:t>‹#›</a:t>
            </a:fld>
            <a:endParaRPr lang="nl-NL"/>
          </a:p>
        </p:txBody>
      </p:sp>
    </p:spTree>
    <p:extLst>
      <p:ext uri="{BB962C8B-B14F-4D97-AF65-F5344CB8AC3E}">
        <p14:creationId xmlns:p14="http://schemas.microsoft.com/office/powerpoint/2010/main" val="42256773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page grey">
    <p:bg>
      <p:bgPr>
        <a:solidFill>
          <a:srgbClr val="D5D4D3"/>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010659663"/>
              </p:ext>
            </p:extLst>
          </p:nvPr>
        </p:nvGraphicFramePr>
        <p:xfrm>
          <a:off x="1812" y="1443"/>
          <a:ext cx="1809" cy="143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kt 6" hidden="1"/>
                      <p:cNvPicPr/>
                      <p:nvPr/>
                    </p:nvPicPr>
                    <p:blipFill>
                      <a:blip r:embed="rId4"/>
                      <a:stretch>
                        <a:fillRect/>
                      </a:stretch>
                    </p:blipFill>
                    <p:spPr>
                      <a:xfrm>
                        <a:off x="1812" y="1443"/>
                        <a:ext cx="1809" cy="1439"/>
                      </a:xfrm>
                      <a:prstGeom prst="rect">
                        <a:avLst/>
                      </a:prstGeom>
                    </p:spPr>
                  </p:pic>
                </p:oleObj>
              </mc:Fallback>
            </mc:AlternateContent>
          </a:graphicData>
        </a:graphic>
      </p:graphicFrame>
      <p:grpSp>
        <p:nvGrpSpPr>
          <p:cNvPr id="4" name="Gruppieren 3"/>
          <p:cNvGrpSpPr>
            <a:grpSpLocks noChangeAspect="1"/>
          </p:cNvGrpSpPr>
          <p:nvPr userDrawn="1"/>
        </p:nvGrpSpPr>
        <p:grpSpPr>
          <a:xfrm>
            <a:off x="5485321" y="5695047"/>
            <a:ext cx="1221504" cy="744458"/>
            <a:chOff x="7680842" y="5709958"/>
            <a:chExt cx="884790" cy="677863"/>
          </a:xfrm>
          <a:solidFill>
            <a:schemeClr val="bg1"/>
          </a:solidFill>
        </p:grpSpPr>
        <p:sp>
          <p:nvSpPr>
            <p:cNvPr id="11" name="Freeform 17"/>
            <p:cNvSpPr>
              <a:spLocks noEditPoints="1"/>
            </p:cNvSpPr>
            <p:nvPr/>
          </p:nvSpPr>
          <p:spPr bwMode="auto">
            <a:xfrm>
              <a:off x="7680842" y="5709958"/>
              <a:ext cx="884790" cy="677863"/>
            </a:xfrm>
            <a:custGeom>
              <a:avLst/>
              <a:gdLst>
                <a:gd name="T0" fmla="*/ 2771 w 2976"/>
                <a:gd name="T1" fmla="*/ 570 h 2280"/>
                <a:gd name="T2" fmla="*/ 2686 w 2976"/>
                <a:gd name="T3" fmla="*/ 444 h 2280"/>
                <a:gd name="T4" fmla="*/ 2469 w 2976"/>
                <a:gd name="T5" fmla="*/ 363 h 2280"/>
                <a:gd name="T6" fmla="*/ 2333 w 2976"/>
                <a:gd name="T7" fmla="*/ 272 h 2280"/>
                <a:gd name="T8" fmla="*/ 2172 w 2976"/>
                <a:gd name="T9" fmla="*/ 119 h 2280"/>
                <a:gd name="T10" fmla="*/ 2025 w 2976"/>
                <a:gd name="T11" fmla="*/ 100 h 2280"/>
                <a:gd name="T12" fmla="*/ 1804 w 2976"/>
                <a:gd name="T13" fmla="*/ 118 h 2280"/>
                <a:gd name="T14" fmla="*/ 1591 w 2976"/>
                <a:gd name="T15" fmla="*/ 23 h 2280"/>
                <a:gd name="T16" fmla="*/ 1488 w 2976"/>
                <a:gd name="T17" fmla="*/ 0 h 2280"/>
                <a:gd name="T18" fmla="*/ 1305 w 2976"/>
                <a:gd name="T19" fmla="*/ 69 h 2280"/>
                <a:gd name="T20" fmla="*/ 1120 w 2976"/>
                <a:gd name="T21" fmla="*/ 121 h 2280"/>
                <a:gd name="T22" fmla="*/ 891 w 2976"/>
                <a:gd name="T23" fmla="*/ 98 h 2280"/>
                <a:gd name="T24" fmla="*/ 753 w 2976"/>
                <a:gd name="T25" fmla="*/ 152 h 2280"/>
                <a:gd name="T26" fmla="*/ 593 w 2976"/>
                <a:gd name="T27" fmla="*/ 318 h 2280"/>
                <a:gd name="T28" fmla="*/ 404 w 2976"/>
                <a:gd name="T29" fmla="*/ 396 h 2280"/>
                <a:gd name="T30" fmla="*/ 254 w 2976"/>
                <a:gd name="T31" fmla="*/ 473 h 2280"/>
                <a:gd name="T32" fmla="*/ 178 w 2976"/>
                <a:gd name="T33" fmla="*/ 719 h 2280"/>
                <a:gd name="T34" fmla="*/ 106 w 2976"/>
                <a:gd name="T35" fmla="*/ 907 h 2280"/>
                <a:gd name="T36" fmla="*/ 2 w 2976"/>
                <a:gd name="T37" fmla="*/ 1115 h 2280"/>
                <a:gd name="T38" fmla="*/ 34 w 2976"/>
                <a:gd name="T39" fmla="*/ 1265 h 2280"/>
                <a:gd name="T40" fmla="*/ 154 w 2976"/>
                <a:gd name="T41" fmla="*/ 1462 h 2280"/>
                <a:gd name="T42" fmla="*/ 219 w 2976"/>
                <a:gd name="T43" fmla="*/ 1750 h 2280"/>
                <a:gd name="T44" fmla="*/ 326 w 2976"/>
                <a:gd name="T45" fmla="*/ 1856 h 2280"/>
                <a:gd name="T46" fmla="*/ 550 w 2976"/>
                <a:gd name="T47" fmla="*/ 1935 h 2280"/>
                <a:gd name="T48" fmla="*/ 699 w 2976"/>
                <a:gd name="T49" fmla="*/ 2070 h 2280"/>
                <a:gd name="T50" fmla="*/ 823 w 2976"/>
                <a:gd name="T51" fmla="*/ 2169 h 2280"/>
                <a:gd name="T52" fmla="*/ 1031 w 2976"/>
                <a:gd name="T53" fmla="*/ 2167 h 2280"/>
                <a:gd name="T54" fmla="*/ 1224 w 2976"/>
                <a:gd name="T55" fmla="*/ 2175 h 2280"/>
                <a:gd name="T56" fmla="*/ 1421 w 2976"/>
                <a:gd name="T57" fmla="*/ 2270 h 2280"/>
                <a:gd name="T58" fmla="*/ 1555 w 2976"/>
                <a:gd name="T59" fmla="*/ 2270 h 2280"/>
                <a:gd name="T60" fmla="*/ 1752 w 2976"/>
                <a:gd name="T61" fmla="*/ 2175 h 2280"/>
                <a:gd name="T62" fmla="*/ 1945 w 2976"/>
                <a:gd name="T63" fmla="*/ 2167 h 2280"/>
                <a:gd name="T64" fmla="*/ 2153 w 2976"/>
                <a:gd name="T65" fmla="*/ 2169 h 2280"/>
                <a:gd name="T66" fmla="*/ 2277 w 2976"/>
                <a:gd name="T67" fmla="*/ 2070 h 2280"/>
                <a:gd name="T68" fmla="*/ 2424 w 2976"/>
                <a:gd name="T69" fmla="*/ 1935 h 2280"/>
                <a:gd name="T70" fmla="*/ 2649 w 2976"/>
                <a:gd name="T71" fmla="*/ 1856 h 2280"/>
                <a:gd name="T72" fmla="*/ 2757 w 2976"/>
                <a:gd name="T73" fmla="*/ 1750 h 2280"/>
                <a:gd name="T74" fmla="*/ 2820 w 2976"/>
                <a:gd name="T75" fmla="*/ 1462 h 2280"/>
                <a:gd name="T76" fmla="*/ 2942 w 2976"/>
                <a:gd name="T77" fmla="*/ 1264 h 2280"/>
                <a:gd name="T78" fmla="*/ 2974 w 2976"/>
                <a:gd name="T79" fmla="*/ 1115 h 2280"/>
                <a:gd name="T80" fmla="*/ 2868 w 2976"/>
                <a:gd name="T81" fmla="*/ 907 h 2280"/>
                <a:gd name="T82" fmla="*/ 1419 w 2976"/>
                <a:gd name="T83" fmla="*/ 2028 h 2280"/>
                <a:gd name="T84" fmla="*/ 923 w 2976"/>
                <a:gd name="T85" fmla="*/ 1943 h 2280"/>
                <a:gd name="T86" fmla="*/ 547 w 2976"/>
                <a:gd name="T87" fmla="*/ 1742 h 2280"/>
                <a:gd name="T88" fmla="*/ 314 w 2976"/>
                <a:gd name="T89" fmla="*/ 1449 h 2280"/>
                <a:gd name="T90" fmla="*/ 246 w 2976"/>
                <a:gd name="T91" fmla="*/ 1139 h 2280"/>
                <a:gd name="T92" fmla="*/ 334 w 2976"/>
                <a:gd name="T93" fmla="*/ 791 h 2280"/>
                <a:gd name="T94" fmla="*/ 588 w 2976"/>
                <a:gd name="T95" fmla="*/ 507 h 2280"/>
                <a:gd name="T96" fmla="*/ 979 w 2976"/>
                <a:gd name="T97" fmla="*/ 319 h 2280"/>
                <a:gd name="T98" fmla="*/ 1488 w 2976"/>
                <a:gd name="T99" fmla="*/ 250 h 2280"/>
                <a:gd name="T100" fmla="*/ 1940 w 2976"/>
                <a:gd name="T101" fmla="*/ 303 h 2280"/>
                <a:gd name="T102" fmla="*/ 2347 w 2976"/>
                <a:gd name="T103" fmla="*/ 480 h 2280"/>
                <a:gd name="T104" fmla="*/ 2619 w 2976"/>
                <a:gd name="T105" fmla="*/ 751 h 2280"/>
                <a:gd name="T106" fmla="*/ 2729 w 2976"/>
                <a:gd name="T107" fmla="*/ 1093 h 2280"/>
                <a:gd name="T108" fmla="*/ 2680 w 2976"/>
                <a:gd name="T109" fmla="*/ 1408 h 2280"/>
                <a:gd name="T110" fmla="*/ 2465 w 2976"/>
                <a:gd name="T111" fmla="*/ 1709 h 2280"/>
                <a:gd name="T112" fmla="*/ 2107 w 2976"/>
                <a:gd name="T113" fmla="*/ 1923 h 2280"/>
                <a:gd name="T114" fmla="*/ 1624 w 2976"/>
                <a:gd name="T115" fmla="*/ 2025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76" h="2280">
                  <a:moveTo>
                    <a:pt x="2820" y="818"/>
                  </a:moveTo>
                  <a:lnTo>
                    <a:pt x="2820" y="818"/>
                  </a:lnTo>
                  <a:lnTo>
                    <a:pt x="2812" y="792"/>
                  </a:lnTo>
                  <a:lnTo>
                    <a:pt x="2806" y="768"/>
                  </a:lnTo>
                  <a:lnTo>
                    <a:pt x="2798" y="719"/>
                  </a:lnTo>
                  <a:lnTo>
                    <a:pt x="2784" y="630"/>
                  </a:lnTo>
                  <a:lnTo>
                    <a:pt x="2776" y="589"/>
                  </a:lnTo>
                  <a:lnTo>
                    <a:pt x="2771" y="570"/>
                  </a:lnTo>
                  <a:lnTo>
                    <a:pt x="2765" y="550"/>
                  </a:lnTo>
                  <a:lnTo>
                    <a:pt x="2757" y="530"/>
                  </a:lnTo>
                  <a:lnTo>
                    <a:pt x="2747" y="511"/>
                  </a:lnTo>
                  <a:lnTo>
                    <a:pt x="2735" y="493"/>
                  </a:lnTo>
                  <a:lnTo>
                    <a:pt x="2722" y="473"/>
                  </a:lnTo>
                  <a:lnTo>
                    <a:pt x="2722" y="473"/>
                  </a:lnTo>
                  <a:lnTo>
                    <a:pt x="2704" y="458"/>
                  </a:lnTo>
                  <a:lnTo>
                    <a:pt x="2686" y="444"/>
                  </a:lnTo>
                  <a:lnTo>
                    <a:pt x="2668" y="434"/>
                  </a:lnTo>
                  <a:lnTo>
                    <a:pt x="2649" y="424"/>
                  </a:lnTo>
                  <a:lnTo>
                    <a:pt x="2631" y="416"/>
                  </a:lnTo>
                  <a:lnTo>
                    <a:pt x="2611" y="408"/>
                  </a:lnTo>
                  <a:lnTo>
                    <a:pt x="2572" y="396"/>
                  </a:lnTo>
                  <a:lnTo>
                    <a:pt x="2531" y="385"/>
                  </a:lnTo>
                  <a:lnTo>
                    <a:pt x="2490" y="372"/>
                  </a:lnTo>
                  <a:lnTo>
                    <a:pt x="2469" y="363"/>
                  </a:lnTo>
                  <a:lnTo>
                    <a:pt x="2447" y="355"/>
                  </a:lnTo>
                  <a:lnTo>
                    <a:pt x="2424" y="345"/>
                  </a:lnTo>
                  <a:lnTo>
                    <a:pt x="2403" y="332"/>
                  </a:lnTo>
                  <a:lnTo>
                    <a:pt x="2403" y="332"/>
                  </a:lnTo>
                  <a:lnTo>
                    <a:pt x="2383" y="318"/>
                  </a:lnTo>
                  <a:lnTo>
                    <a:pt x="2364" y="303"/>
                  </a:lnTo>
                  <a:lnTo>
                    <a:pt x="2347" y="286"/>
                  </a:lnTo>
                  <a:lnTo>
                    <a:pt x="2333" y="272"/>
                  </a:lnTo>
                  <a:lnTo>
                    <a:pt x="2303" y="239"/>
                  </a:lnTo>
                  <a:lnTo>
                    <a:pt x="2277" y="208"/>
                  </a:lnTo>
                  <a:lnTo>
                    <a:pt x="2251" y="178"/>
                  </a:lnTo>
                  <a:lnTo>
                    <a:pt x="2238" y="165"/>
                  </a:lnTo>
                  <a:lnTo>
                    <a:pt x="2223" y="152"/>
                  </a:lnTo>
                  <a:lnTo>
                    <a:pt x="2207" y="139"/>
                  </a:lnTo>
                  <a:lnTo>
                    <a:pt x="2190" y="129"/>
                  </a:lnTo>
                  <a:lnTo>
                    <a:pt x="2172" y="119"/>
                  </a:lnTo>
                  <a:lnTo>
                    <a:pt x="2153" y="110"/>
                  </a:lnTo>
                  <a:lnTo>
                    <a:pt x="2153" y="110"/>
                  </a:lnTo>
                  <a:lnTo>
                    <a:pt x="2130" y="105"/>
                  </a:lnTo>
                  <a:lnTo>
                    <a:pt x="2107" y="100"/>
                  </a:lnTo>
                  <a:lnTo>
                    <a:pt x="2085" y="98"/>
                  </a:lnTo>
                  <a:lnTo>
                    <a:pt x="2064" y="98"/>
                  </a:lnTo>
                  <a:lnTo>
                    <a:pt x="2045" y="98"/>
                  </a:lnTo>
                  <a:lnTo>
                    <a:pt x="2025" y="100"/>
                  </a:lnTo>
                  <a:lnTo>
                    <a:pt x="1984" y="106"/>
                  </a:lnTo>
                  <a:lnTo>
                    <a:pt x="1945" y="113"/>
                  </a:lnTo>
                  <a:lnTo>
                    <a:pt x="1901" y="119"/>
                  </a:lnTo>
                  <a:lnTo>
                    <a:pt x="1879" y="121"/>
                  </a:lnTo>
                  <a:lnTo>
                    <a:pt x="1855" y="121"/>
                  </a:lnTo>
                  <a:lnTo>
                    <a:pt x="1830" y="119"/>
                  </a:lnTo>
                  <a:lnTo>
                    <a:pt x="1804" y="118"/>
                  </a:lnTo>
                  <a:lnTo>
                    <a:pt x="1804" y="118"/>
                  </a:lnTo>
                  <a:lnTo>
                    <a:pt x="1776" y="111"/>
                  </a:lnTo>
                  <a:lnTo>
                    <a:pt x="1752" y="105"/>
                  </a:lnTo>
                  <a:lnTo>
                    <a:pt x="1729" y="97"/>
                  </a:lnTo>
                  <a:lnTo>
                    <a:pt x="1707" y="87"/>
                  </a:lnTo>
                  <a:lnTo>
                    <a:pt x="1671" y="69"/>
                  </a:lnTo>
                  <a:lnTo>
                    <a:pt x="1639" y="49"/>
                  </a:lnTo>
                  <a:lnTo>
                    <a:pt x="1607" y="31"/>
                  </a:lnTo>
                  <a:lnTo>
                    <a:pt x="1591" y="23"/>
                  </a:lnTo>
                  <a:lnTo>
                    <a:pt x="1573" y="16"/>
                  </a:lnTo>
                  <a:lnTo>
                    <a:pt x="1555" y="10"/>
                  </a:lnTo>
                  <a:lnTo>
                    <a:pt x="1534" y="5"/>
                  </a:lnTo>
                  <a:lnTo>
                    <a:pt x="1513" y="2"/>
                  </a:lnTo>
                  <a:lnTo>
                    <a:pt x="1488" y="0"/>
                  </a:lnTo>
                  <a:lnTo>
                    <a:pt x="1488" y="0"/>
                  </a:lnTo>
                  <a:lnTo>
                    <a:pt x="1488" y="0"/>
                  </a:lnTo>
                  <a:lnTo>
                    <a:pt x="1488" y="0"/>
                  </a:lnTo>
                  <a:lnTo>
                    <a:pt x="1463" y="2"/>
                  </a:lnTo>
                  <a:lnTo>
                    <a:pt x="1441" y="5"/>
                  </a:lnTo>
                  <a:lnTo>
                    <a:pt x="1421" y="10"/>
                  </a:lnTo>
                  <a:lnTo>
                    <a:pt x="1403" y="16"/>
                  </a:lnTo>
                  <a:lnTo>
                    <a:pt x="1385" y="23"/>
                  </a:lnTo>
                  <a:lnTo>
                    <a:pt x="1369" y="31"/>
                  </a:lnTo>
                  <a:lnTo>
                    <a:pt x="1337" y="49"/>
                  </a:lnTo>
                  <a:lnTo>
                    <a:pt x="1305" y="69"/>
                  </a:lnTo>
                  <a:lnTo>
                    <a:pt x="1269" y="87"/>
                  </a:lnTo>
                  <a:lnTo>
                    <a:pt x="1247" y="97"/>
                  </a:lnTo>
                  <a:lnTo>
                    <a:pt x="1224" y="105"/>
                  </a:lnTo>
                  <a:lnTo>
                    <a:pt x="1200" y="111"/>
                  </a:lnTo>
                  <a:lnTo>
                    <a:pt x="1172" y="118"/>
                  </a:lnTo>
                  <a:lnTo>
                    <a:pt x="1172" y="118"/>
                  </a:lnTo>
                  <a:lnTo>
                    <a:pt x="1146" y="119"/>
                  </a:lnTo>
                  <a:lnTo>
                    <a:pt x="1120" y="121"/>
                  </a:lnTo>
                  <a:lnTo>
                    <a:pt x="1097" y="121"/>
                  </a:lnTo>
                  <a:lnTo>
                    <a:pt x="1074" y="119"/>
                  </a:lnTo>
                  <a:lnTo>
                    <a:pt x="1031" y="113"/>
                  </a:lnTo>
                  <a:lnTo>
                    <a:pt x="990" y="106"/>
                  </a:lnTo>
                  <a:lnTo>
                    <a:pt x="951" y="100"/>
                  </a:lnTo>
                  <a:lnTo>
                    <a:pt x="931" y="98"/>
                  </a:lnTo>
                  <a:lnTo>
                    <a:pt x="910" y="98"/>
                  </a:lnTo>
                  <a:lnTo>
                    <a:pt x="891" y="98"/>
                  </a:lnTo>
                  <a:lnTo>
                    <a:pt x="869" y="100"/>
                  </a:lnTo>
                  <a:lnTo>
                    <a:pt x="846" y="105"/>
                  </a:lnTo>
                  <a:lnTo>
                    <a:pt x="823" y="110"/>
                  </a:lnTo>
                  <a:lnTo>
                    <a:pt x="823" y="110"/>
                  </a:lnTo>
                  <a:lnTo>
                    <a:pt x="804" y="119"/>
                  </a:lnTo>
                  <a:lnTo>
                    <a:pt x="786" y="129"/>
                  </a:lnTo>
                  <a:lnTo>
                    <a:pt x="768" y="139"/>
                  </a:lnTo>
                  <a:lnTo>
                    <a:pt x="753" y="152"/>
                  </a:lnTo>
                  <a:lnTo>
                    <a:pt x="738" y="165"/>
                  </a:lnTo>
                  <a:lnTo>
                    <a:pt x="725" y="178"/>
                  </a:lnTo>
                  <a:lnTo>
                    <a:pt x="699" y="208"/>
                  </a:lnTo>
                  <a:lnTo>
                    <a:pt x="671" y="239"/>
                  </a:lnTo>
                  <a:lnTo>
                    <a:pt x="643" y="272"/>
                  </a:lnTo>
                  <a:lnTo>
                    <a:pt x="629" y="286"/>
                  </a:lnTo>
                  <a:lnTo>
                    <a:pt x="611" y="303"/>
                  </a:lnTo>
                  <a:lnTo>
                    <a:pt x="593" y="318"/>
                  </a:lnTo>
                  <a:lnTo>
                    <a:pt x="573" y="332"/>
                  </a:lnTo>
                  <a:lnTo>
                    <a:pt x="573" y="332"/>
                  </a:lnTo>
                  <a:lnTo>
                    <a:pt x="550" y="345"/>
                  </a:lnTo>
                  <a:lnTo>
                    <a:pt x="529" y="355"/>
                  </a:lnTo>
                  <a:lnTo>
                    <a:pt x="507" y="363"/>
                  </a:lnTo>
                  <a:lnTo>
                    <a:pt x="486" y="372"/>
                  </a:lnTo>
                  <a:lnTo>
                    <a:pt x="445" y="385"/>
                  </a:lnTo>
                  <a:lnTo>
                    <a:pt x="404" y="396"/>
                  </a:lnTo>
                  <a:lnTo>
                    <a:pt x="365" y="408"/>
                  </a:lnTo>
                  <a:lnTo>
                    <a:pt x="345" y="416"/>
                  </a:lnTo>
                  <a:lnTo>
                    <a:pt x="326" y="424"/>
                  </a:lnTo>
                  <a:lnTo>
                    <a:pt x="308" y="434"/>
                  </a:lnTo>
                  <a:lnTo>
                    <a:pt x="290" y="444"/>
                  </a:lnTo>
                  <a:lnTo>
                    <a:pt x="272" y="458"/>
                  </a:lnTo>
                  <a:lnTo>
                    <a:pt x="254" y="473"/>
                  </a:lnTo>
                  <a:lnTo>
                    <a:pt x="254" y="473"/>
                  </a:lnTo>
                  <a:lnTo>
                    <a:pt x="241" y="493"/>
                  </a:lnTo>
                  <a:lnTo>
                    <a:pt x="228" y="511"/>
                  </a:lnTo>
                  <a:lnTo>
                    <a:pt x="219" y="530"/>
                  </a:lnTo>
                  <a:lnTo>
                    <a:pt x="211" y="550"/>
                  </a:lnTo>
                  <a:lnTo>
                    <a:pt x="205" y="570"/>
                  </a:lnTo>
                  <a:lnTo>
                    <a:pt x="200" y="589"/>
                  </a:lnTo>
                  <a:lnTo>
                    <a:pt x="192" y="630"/>
                  </a:lnTo>
                  <a:lnTo>
                    <a:pt x="178" y="719"/>
                  </a:lnTo>
                  <a:lnTo>
                    <a:pt x="169" y="768"/>
                  </a:lnTo>
                  <a:lnTo>
                    <a:pt x="162" y="792"/>
                  </a:lnTo>
                  <a:lnTo>
                    <a:pt x="154" y="818"/>
                  </a:lnTo>
                  <a:lnTo>
                    <a:pt x="154" y="818"/>
                  </a:lnTo>
                  <a:lnTo>
                    <a:pt x="144" y="843"/>
                  </a:lnTo>
                  <a:lnTo>
                    <a:pt x="133" y="866"/>
                  </a:lnTo>
                  <a:lnTo>
                    <a:pt x="119" y="887"/>
                  </a:lnTo>
                  <a:lnTo>
                    <a:pt x="106" y="907"/>
                  </a:lnTo>
                  <a:lnTo>
                    <a:pt x="82" y="944"/>
                  </a:lnTo>
                  <a:lnTo>
                    <a:pt x="57" y="979"/>
                  </a:lnTo>
                  <a:lnTo>
                    <a:pt x="34" y="1013"/>
                  </a:lnTo>
                  <a:lnTo>
                    <a:pt x="25" y="1031"/>
                  </a:lnTo>
                  <a:lnTo>
                    <a:pt x="16" y="1051"/>
                  </a:lnTo>
                  <a:lnTo>
                    <a:pt x="10" y="1070"/>
                  </a:lnTo>
                  <a:lnTo>
                    <a:pt x="5" y="1092"/>
                  </a:lnTo>
                  <a:lnTo>
                    <a:pt x="2" y="1115"/>
                  </a:lnTo>
                  <a:lnTo>
                    <a:pt x="0" y="1139"/>
                  </a:lnTo>
                  <a:lnTo>
                    <a:pt x="0" y="1139"/>
                  </a:lnTo>
                  <a:lnTo>
                    <a:pt x="2" y="1164"/>
                  </a:lnTo>
                  <a:lnTo>
                    <a:pt x="5" y="1187"/>
                  </a:lnTo>
                  <a:lnTo>
                    <a:pt x="10" y="1208"/>
                  </a:lnTo>
                  <a:lnTo>
                    <a:pt x="16" y="1228"/>
                  </a:lnTo>
                  <a:lnTo>
                    <a:pt x="25" y="1247"/>
                  </a:lnTo>
                  <a:lnTo>
                    <a:pt x="34" y="1265"/>
                  </a:lnTo>
                  <a:lnTo>
                    <a:pt x="57" y="1300"/>
                  </a:lnTo>
                  <a:lnTo>
                    <a:pt x="82" y="1336"/>
                  </a:lnTo>
                  <a:lnTo>
                    <a:pt x="106" y="1373"/>
                  </a:lnTo>
                  <a:lnTo>
                    <a:pt x="119" y="1393"/>
                  </a:lnTo>
                  <a:lnTo>
                    <a:pt x="133" y="1414"/>
                  </a:lnTo>
                  <a:lnTo>
                    <a:pt x="144" y="1437"/>
                  </a:lnTo>
                  <a:lnTo>
                    <a:pt x="154" y="1462"/>
                  </a:lnTo>
                  <a:lnTo>
                    <a:pt x="154" y="1462"/>
                  </a:lnTo>
                  <a:lnTo>
                    <a:pt x="162" y="1488"/>
                  </a:lnTo>
                  <a:lnTo>
                    <a:pt x="169" y="1512"/>
                  </a:lnTo>
                  <a:lnTo>
                    <a:pt x="178" y="1560"/>
                  </a:lnTo>
                  <a:lnTo>
                    <a:pt x="192" y="1648"/>
                  </a:lnTo>
                  <a:lnTo>
                    <a:pt x="200" y="1689"/>
                  </a:lnTo>
                  <a:lnTo>
                    <a:pt x="205" y="1710"/>
                  </a:lnTo>
                  <a:lnTo>
                    <a:pt x="211" y="1730"/>
                  </a:lnTo>
                  <a:lnTo>
                    <a:pt x="219" y="1750"/>
                  </a:lnTo>
                  <a:lnTo>
                    <a:pt x="228" y="1768"/>
                  </a:lnTo>
                  <a:lnTo>
                    <a:pt x="241" y="1787"/>
                  </a:lnTo>
                  <a:lnTo>
                    <a:pt x="254" y="1807"/>
                  </a:lnTo>
                  <a:lnTo>
                    <a:pt x="254" y="1807"/>
                  </a:lnTo>
                  <a:lnTo>
                    <a:pt x="272" y="1822"/>
                  </a:lnTo>
                  <a:lnTo>
                    <a:pt x="290" y="1835"/>
                  </a:lnTo>
                  <a:lnTo>
                    <a:pt x="308" y="1846"/>
                  </a:lnTo>
                  <a:lnTo>
                    <a:pt x="326" y="1856"/>
                  </a:lnTo>
                  <a:lnTo>
                    <a:pt x="345" y="1864"/>
                  </a:lnTo>
                  <a:lnTo>
                    <a:pt x="365" y="1871"/>
                  </a:lnTo>
                  <a:lnTo>
                    <a:pt x="404" y="1884"/>
                  </a:lnTo>
                  <a:lnTo>
                    <a:pt x="445" y="1895"/>
                  </a:lnTo>
                  <a:lnTo>
                    <a:pt x="486" y="1908"/>
                  </a:lnTo>
                  <a:lnTo>
                    <a:pt x="507" y="1915"/>
                  </a:lnTo>
                  <a:lnTo>
                    <a:pt x="529" y="1925"/>
                  </a:lnTo>
                  <a:lnTo>
                    <a:pt x="550" y="1935"/>
                  </a:lnTo>
                  <a:lnTo>
                    <a:pt x="573" y="1946"/>
                  </a:lnTo>
                  <a:lnTo>
                    <a:pt x="573" y="1946"/>
                  </a:lnTo>
                  <a:lnTo>
                    <a:pt x="593" y="1962"/>
                  </a:lnTo>
                  <a:lnTo>
                    <a:pt x="611" y="1977"/>
                  </a:lnTo>
                  <a:lnTo>
                    <a:pt x="629" y="1992"/>
                  </a:lnTo>
                  <a:lnTo>
                    <a:pt x="643" y="2008"/>
                  </a:lnTo>
                  <a:lnTo>
                    <a:pt x="671" y="2039"/>
                  </a:lnTo>
                  <a:lnTo>
                    <a:pt x="699" y="2070"/>
                  </a:lnTo>
                  <a:lnTo>
                    <a:pt x="725" y="2100"/>
                  </a:lnTo>
                  <a:lnTo>
                    <a:pt x="738" y="2115"/>
                  </a:lnTo>
                  <a:lnTo>
                    <a:pt x="753" y="2128"/>
                  </a:lnTo>
                  <a:lnTo>
                    <a:pt x="768" y="2139"/>
                  </a:lnTo>
                  <a:lnTo>
                    <a:pt x="786" y="2151"/>
                  </a:lnTo>
                  <a:lnTo>
                    <a:pt x="804" y="2161"/>
                  </a:lnTo>
                  <a:lnTo>
                    <a:pt x="823" y="2169"/>
                  </a:lnTo>
                  <a:lnTo>
                    <a:pt x="823" y="2169"/>
                  </a:lnTo>
                  <a:lnTo>
                    <a:pt x="846" y="2175"/>
                  </a:lnTo>
                  <a:lnTo>
                    <a:pt x="869" y="2179"/>
                  </a:lnTo>
                  <a:lnTo>
                    <a:pt x="891" y="2182"/>
                  </a:lnTo>
                  <a:lnTo>
                    <a:pt x="910" y="2182"/>
                  </a:lnTo>
                  <a:lnTo>
                    <a:pt x="931" y="2180"/>
                  </a:lnTo>
                  <a:lnTo>
                    <a:pt x="951" y="2179"/>
                  </a:lnTo>
                  <a:lnTo>
                    <a:pt x="990" y="2174"/>
                  </a:lnTo>
                  <a:lnTo>
                    <a:pt x="1031" y="2167"/>
                  </a:lnTo>
                  <a:lnTo>
                    <a:pt x="1074" y="2161"/>
                  </a:lnTo>
                  <a:lnTo>
                    <a:pt x="1097" y="2159"/>
                  </a:lnTo>
                  <a:lnTo>
                    <a:pt x="1120" y="2159"/>
                  </a:lnTo>
                  <a:lnTo>
                    <a:pt x="1146" y="2159"/>
                  </a:lnTo>
                  <a:lnTo>
                    <a:pt x="1172" y="2162"/>
                  </a:lnTo>
                  <a:lnTo>
                    <a:pt x="1172" y="2162"/>
                  </a:lnTo>
                  <a:lnTo>
                    <a:pt x="1200" y="2169"/>
                  </a:lnTo>
                  <a:lnTo>
                    <a:pt x="1224" y="2175"/>
                  </a:lnTo>
                  <a:lnTo>
                    <a:pt x="1247" y="2183"/>
                  </a:lnTo>
                  <a:lnTo>
                    <a:pt x="1269" y="2193"/>
                  </a:lnTo>
                  <a:lnTo>
                    <a:pt x="1305" y="2211"/>
                  </a:lnTo>
                  <a:lnTo>
                    <a:pt x="1337" y="2231"/>
                  </a:lnTo>
                  <a:lnTo>
                    <a:pt x="1369" y="2249"/>
                  </a:lnTo>
                  <a:lnTo>
                    <a:pt x="1385" y="2257"/>
                  </a:lnTo>
                  <a:lnTo>
                    <a:pt x="1403" y="2264"/>
                  </a:lnTo>
                  <a:lnTo>
                    <a:pt x="1421" y="2270"/>
                  </a:lnTo>
                  <a:lnTo>
                    <a:pt x="1441" y="2275"/>
                  </a:lnTo>
                  <a:lnTo>
                    <a:pt x="1463" y="2278"/>
                  </a:lnTo>
                  <a:lnTo>
                    <a:pt x="1488" y="2280"/>
                  </a:lnTo>
                  <a:lnTo>
                    <a:pt x="1488" y="2280"/>
                  </a:lnTo>
                  <a:lnTo>
                    <a:pt x="1488" y="2280"/>
                  </a:lnTo>
                  <a:lnTo>
                    <a:pt x="1513" y="2278"/>
                  </a:lnTo>
                  <a:lnTo>
                    <a:pt x="1534" y="2275"/>
                  </a:lnTo>
                  <a:lnTo>
                    <a:pt x="1555" y="2270"/>
                  </a:lnTo>
                  <a:lnTo>
                    <a:pt x="1573" y="2264"/>
                  </a:lnTo>
                  <a:lnTo>
                    <a:pt x="1591" y="2257"/>
                  </a:lnTo>
                  <a:lnTo>
                    <a:pt x="1607" y="2249"/>
                  </a:lnTo>
                  <a:lnTo>
                    <a:pt x="1639" y="2231"/>
                  </a:lnTo>
                  <a:lnTo>
                    <a:pt x="1671" y="2211"/>
                  </a:lnTo>
                  <a:lnTo>
                    <a:pt x="1707" y="2193"/>
                  </a:lnTo>
                  <a:lnTo>
                    <a:pt x="1729" y="2183"/>
                  </a:lnTo>
                  <a:lnTo>
                    <a:pt x="1752" y="2175"/>
                  </a:lnTo>
                  <a:lnTo>
                    <a:pt x="1776" y="2169"/>
                  </a:lnTo>
                  <a:lnTo>
                    <a:pt x="1804" y="2162"/>
                  </a:lnTo>
                  <a:lnTo>
                    <a:pt x="1804" y="2162"/>
                  </a:lnTo>
                  <a:lnTo>
                    <a:pt x="1830" y="2159"/>
                  </a:lnTo>
                  <a:lnTo>
                    <a:pt x="1855" y="2159"/>
                  </a:lnTo>
                  <a:lnTo>
                    <a:pt x="1879" y="2159"/>
                  </a:lnTo>
                  <a:lnTo>
                    <a:pt x="1901" y="2161"/>
                  </a:lnTo>
                  <a:lnTo>
                    <a:pt x="1945" y="2167"/>
                  </a:lnTo>
                  <a:lnTo>
                    <a:pt x="1984" y="2174"/>
                  </a:lnTo>
                  <a:lnTo>
                    <a:pt x="2025" y="2179"/>
                  </a:lnTo>
                  <a:lnTo>
                    <a:pt x="2045" y="2180"/>
                  </a:lnTo>
                  <a:lnTo>
                    <a:pt x="2064" y="2182"/>
                  </a:lnTo>
                  <a:lnTo>
                    <a:pt x="2085" y="2182"/>
                  </a:lnTo>
                  <a:lnTo>
                    <a:pt x="2107" y="2179"/>
                  </a:lnTo>
                  <a:lnTo>
                    <a:pt x="2130" y="2175"/>
                  </a:lnTo>
                  <a:lnTo>
                    <a:pt x="2153" y="2169"/>
                  </a:lnTo>
                  <a:lnTo>
                    <a:pt x="2153" y="2169"/>
                  </a:lnTo>
                  <a:lnTo>
                    <a:pt x="2172" y="2161"/>
                  </a:lnTo>
                  <a:lnTo>
                    <a:pt x="2190" y="2151"/>
                  </a:lnTo>
                  <a:lnTo>
                    <a:pt x="2207" y="2139"/>
                  </a:lnTo>
                  <a:lnTo>
                    <a:pt x="2223" y="2128"/>
                  </a:lnTo>
                  <a:lnTo>
                    <a:pt x="2238" y="2115"/>
                  </a:lnTo>
                  <a:lnTo>
                    <a:pt x="2251" y="2100"/>
                  </a:lnTo>
                  <a:lnTo>
                    <a:pt x="2277" y="2070"/>
                  </a:lnTo>
                  <a:lnTo>
                    <a:pt x="2303" y="2039"/>
                  </a:lnTo>
                  <a:lnTo>
                    <a:pt x="2333" y="2008"/>
                  </a:lnTo>
                  <a:lnTo>
                    <a:pt x="2347" y="1992"/>
                  </a:lnTo>
                  <a:lnTo>
                    <a:pt x="2364" y="1977"/>
                  </a:lnTo>
                  <a:lnTo>
                    <a:pt x="2383" y="1962"/>
                  </a:lnTo>
                  <a:lnTo>
                    <a:pt x="2403" y="1946"/>
                  </a:lnTo>
                  <a:lnTo>
                    <a:pt x="2403" y="1946"/>
                  </a:lnTo>
                  <a:lnTo>
                    <a:pt x="2424" y="1935"/>
                  </a:lnTo>
                  <a:lnTo>
                    <a:pt x="2447" y="1925"/>
                  </a:lnTo>
                  <a:lnTo>
                    <a:pt x="2469" y="1915"/>
                  </a:lnTo>
                  <a:lnTo>
                    <a:pt x="2490" y="1908"/>
                  </a:lnTo>
                  <a:lnTo>
                    <a:pt x="2531" y="1895"/>
                  </a:lnTo>
                  <a:lnTo>
                    <a:pt x="2572" y="1884"/>
                  </a:lnTo>
                  <a:lnTo>
                    <a:pt x="2611" y="1871"/>
                  </a:lnTo>
                  <a:lnTo>
                    <a:pt x="2631" y="1864"/>
                  </a:lnTo>
                  <a:lnTo>
                    <a:pt x="2649" y="1856"/>
                  </a:lnTo>
                  <a:lnTo>
                    <a:pt x="2668" y="1846"/>
                  </a:lnTo>
                  <a:lnTo>
                    <a:pt x="2686" y="1835"/>
                  </a:lnTo>
                  <a:lnTo>
                    <a:pt x="2704" y="1822"/>
                  </a:lnTo>
                  <a:lnTo>
                    <a:pt x="2722" y="1807"/>
                  </a:lnTo>
                  <a:lnTo>
                    <a:pt x="2722" y="1807"/>
                  </a:lnTo>
                  <a:lnTo>
                    <a:pt x="2735" y="1787"/>
                  </a:lnTo>
                  <a:lnTo>
                    <a:pt x="2747" y="1768"/>
                  </a:lnTo>
                  <a:lnTo>
                    <a:pt x="2757" y="1750"/>
                  </a:lnTo>
                  <a:lnTo>
                    <a:pt x="2765" y="1730"/>
                  </a:lnTo>
                  <a:lnTo>
                    <a:pt x="2771" y="1710"/>
                  </a:lnTo>
                  <a:lnTo>
                    <a:pt x="2776" y="1689"/>
                  </a:lnTo>
                  <a:lnTo>
                    <a:pt x="2784" y="1648"/>
                  </a:lnTo>
                  <a:lnTo>
                    <a:pt x="2798" y="1560"/>
                  </a:lnTo>
                  <a:lnTo>
                    <a:pt x="2806" y="1512"/>
                  </a:lnTo>
                  <a:lnTo>
                    <a:pt x="2812" y="1488"/>
                  </a:lnTo>
                  <a:lnTo>
                    <a:pt x="2820" y="1462"/>
                  </a:lnTo>
                  <a:lnTo>
                    <a:pt x="2820" y="1462"/>
                  </a:lnTo>
                  <a:lnTo>
                    <a:pt x="2832" y="1437"/>
                  </a:lnTo>
                  <a:lnTo>
                    <a:pt x="2843" y="1414"/>
                  </a:lnTo>
                  <a:lnTo>
                    <a:pt x="2857" y="1393"/>
                  </a:lnTo>
                  <a:lnTo>
                    <a:pt x="2868" y="1372"/>
                  </a:lnTo>
                  <a:lnTo>
                    <a:pt x="2894" y="1336"/>
                  </a:lnTo>
                  <a:lnTo>
                    <a:pt x="2919" y="1300"/>
                  </a:lnTo>
                  <a:lnTo>
                    <a:pt x="2942" y="1264"/>
                  </a:lnTo>
                  <a:lnTo>
                    <a:pt x="2951" y="1246"/>
                  </a:lnTo>
                  <a:lnTo>
                    <a:pt x="2960" y="1228"/>
                  </a:lnTo>
                  <a:lnTo>
                    <a:pt x="2966" y="1208"/>
                  </a:lnTo>
                  <a:lnTo>
                    <a:pt x="2971" y="1187"/>
                  </a:lnTo>
                  <a:lnTo>
                    <a:pt x="2974" y="1164"/>
                  </a:lnTo>
                  <a:lnTo>
                    <a:pt x="2976" y="1139"/>
                  </a:lnTo>
                  <a:lnTo>
                    <a:pt x="2976" y="1139"/>
                  </a:lnTo>
                  <a:lnTo>
                    <a:pt x="2974" y="1115"/>
                  </a:lnTo>
                  <a:lnTo>
                    <a:pt x="2971" y="1092"/>
                  </a:lnTo>
                  <a:lnTo>
                    <a:pt x="2966" y="1070"/>
                  </a:lnTo>
                  <a:lnTo>
                    <a:pt x="2960" y="1051"/>
                  </a:lnTo>
                  <a:lnTo>
                    <a:pt x="2951" y="1031"/>
                  </a:lnTo>
                  <a:lnTo>
                    <a:pt x="2942" y="1013"/>
                  </a:lnTo>
                  <a:lnTo>
                    <a:pt x="2919" y="979"/>
                  </a:lnTo>
                  <a:lnTo>
                    <a:pt x="2894" y="943"/>
                  </a:lnTo>
                  <a:lnTo>
                    <a:pt x="2868" y="907"/>
                  </a:lnTo>
                  <a:lnTo>
                    <a:pt x="2857" y="887"/>
                  </a:lnTo>
                  <a:lnTo>
                    <a:pt x="2843" y="866"/>
                  </a:lnTo>
                  <a:lnTo>
                    <a:pt x="2832" y="843"/>
                  </a:lnTo>
                  <a:lnTo>
                    <a:pt x="2820" y="818"/>
                  </a:lnTo>
                  <a:lnTo>
                    <a:pt x="2820" y="818"/>
                  </a:lnTo>
                  <a:close/>
                  <a:moveTo>
                    <a:pt x="1488" y="2030"/>
                  </a:moveTo>
                  <a:lnTo>
                    <a:pt x="1488" y="2030"/>
                  </a:lnTo>
                  <a:lnTo>
                    <a:pt x="1419" y="2028"/>
                  </a:lnTo>
                  <a:lnTo>
                    <a:pt x="1350" y="2025"/>
                  </a:lnTo>
                  <a:lnTo>
                    <a:pt x="1285" y="2018"/>
                  </a:lnTo>
                  <a:lnTo>
                    <a:pt x="1221" y="2012"/>
                  </a:lnTo>
                  <a:lnTo>
                    <a:pt x="1157" y="2002"/>
                  </a:lnTo>
                  <a:lnTo>
                    <a:pt x="1097" y="1990"/>
                  </a:lnTo>
                  <a:lnTo>
                    <a:pt x="1036" y="1976"/>
                  </a:lnTo>
                  <a:lnTo>
                    <a:pt x="979" y="1961"/>
                  </a:lnTo>
                  <a:lnTo>
                    <a:pt x="923" y="1943"/>
                  </a:lnTo>
                  <a:lnTo>
                    <a:pt x="869" y="1923"/>
                  </a:lnTo>
                  <a:lnTo>
                    <a:pt x="817" y="1902"/>
                  </a:lnTo>
                  <a:lnTo>
                    <a:pt x="768" y="1879"/>
                  </a:lnTo>
                  <a:lnTo>
                    <a:pt x="719" y="1854"/>
                  </a:lnTo>
                  <a:lnTo>
                    <a:pt x="673" y="1828"/>
                  </a:lnTo>
                  <a:lnTo>
                    <a:pt x="629" y="1800"/>
                  </a:lnTo>
                  <a:lnTo>
                    <a:pt x="586" y="1771"/>
                  </a:lnTo>
                  <a:lnTo>
                    <a:pt x="547" y="1742"/>
                  </a:lnTo>
                  <a:lnTo>
                    <a:pt x="509" y="1709"/>
                  </a:lnTo>
                  <a:lnTo>
                    <a:pt x="475" y="1674"/>
                  </a:lnTo>
                  <a:lnTo>
                    <a:pt x="442" y="1640"/>
                  </a:lnTo>
                  <a:lnTo>
                    <a:pt x="411" y="1604"/>
                  </a:lnTo>
                  <a:lnTo>
                    <a:pt x="383" y="1566"/>
                  </a:lnTo>
                  <a:lnTo>
                    <a:pt x="357" y="1529"/>
                  </a:lnTo>
                  <a:lnTo>
                    <a:pt x="334" y="1489"/>
                  </a:lnTo>
                  <a:lnTo>
                    <a:pt x="314" y="1449"/>
                  </a:lnTo>
                  <a:lnTo>
                    <a:pt x="296" y="1408"/>
                  </a:lnTo>
                  <a:lnTo>
                    <a:pt x="280" y="1365"/>
                  </a:lnTo>
                  <a:lnTo>
                    <a:pt x="267" y="1321"/>
                  </a:lnTo>
                  <a:lnTo>
                    <a:pt x="257" y="1277"/>
                  </a:lnTo>
                  <a:lnTo>
                    <a:pt x="250" y="1232"/>
                  </a:lnTo>
                  <a:lnTo>
                    <a:pt x="246" y="1187"/>
                  </a:lnTo>
                  <a:lnTo>
                    <a:pt x="246" y="1139"/>
                  </a:lnTo>
                  <a:lnTo>
                    <a:pt x="246" y="1139"/>
                  </a:lnTo>
                  <a:lnTo>
                    <a:pt x="246" y="1093"/>
                  </a:lnTo>
                  <a:lnTo>
                    <a:pt x="250" y="1048"/>
                  </a:lnTo>
                  <a:lnTo>
                    <a:pt x="257" y="1002"/>
                  </a:lnTo>
                  <a:lnTo>
                    <a:pt x="267" y="958"/>
                  </a:lnTo>
                  <a:lnTo>
                    <a:pt x="280" y="915"/>
                  </a:lnTo>
                  <a:lnTo>
                    <a:pt x="296" y="872"/>
                  </a:lnTo>
                  <a:lnTo>
                    <a:pt x="314" y="831"/>
                  </a:lnTo>
                  <a:lnTo>
                    <a:pt x="334" y="791"/>
                  </a:lnTo>
                  <a:lnTo>
                    <a:pt x="357" y="751"/>
                  </a:lnTo>
                  <a:lnTo>
                    <a:pt x="383" y="712"/>
                  </a:lnTo>
                  <a:lnTo>
                    <a:pt x="411" y="674"/>
                  </a:lnTo>
                  <a:lnTo>
                    <a:pt x="442" y="638"/>
                  </a:lnTo>
                  <a:lnTo>
                    <a:pt x="475" y="604"/>
                  </a:lnTo>
                  <a:lnTo>
                    <a:pt x="509" y="571"/>
                  </a:lnTo>
                  <a:lnTo>
                    <a:pt x="547" y="538"/>
                  </a:lnTo>
                  <a:lnTo>
                    <a:pt x="588" y="507"/>
                  </a:lnTo>
                  <a:lnTo>
                    <a:pt x="629" y="480"/>
                  </a:lnTo>
                  <a:lnTo>
                    <a:pt x="673" y="452"/>
                  </a:lnTo>
                  <a:lnTo>
                    <a:pt x="719" y="426"/>
                  </a:lnTo>
                  <a:lnTo>
                    <a:pt x="768" y="401"/>
                  </a:lnTo>
                  <a:lnTo>
                    <a:pt x="817" y="378"/>
                  </a:lnTo>
                  <a:lnTo>
                    <a:pt x="869" y="357"/>
                  </a:lnTo>
                  <a:lnTo>
                    <a:pt x="923" y="337"/>
                  </a:lnTo>
                  <a:lnTo>
                    <a:pt x="979" y="319"/>
                  </a:lnTo>
                  <a:lnTo>
                    <a:pt x="1036" y="303"/>
                  </a:lnTo>
                  <a:lnTo>
                    <a:pt x="1097" y="290"/>
                  </a:lnTo>
                  <a:lnTo>
                    <a:pt x="1157" y="278"/>
                  </a:lnTo>
                  <a:lnTo>
                    <a:pt x="1221" y="268"/>
                  </a:lnTo>
                  <a:lnTo>
                    <a:pt x="1285" y="260"/>
                  </a:lnTo>
                  <a:lnTo>
                    <a:pt x="1350" y="255"/>
                  </a:lnTo>
                  <a:lnTo>
                    <a:pt x="1419" y="252"/>
                  </a:lnTo>
                  <a:lnTo>
                    <a:pt x="1488" y="250"/>
                  </a:lnTo>
                  <a:lnTo>
                    <a:pt x="1488" y="250"/>
                  </a:lnTo>
                  <a:lnTo>
                    <a:pt x="1557" y="252"/>
                  </a:lnTo>
                  <a:lnTo>
                    <a:pt x="1626" y="255"/>
                  </a:lnTo>
                  <a:lnTo>
                    <a:pt x="1691" y="260"/>
                  </a:lnTo>
                  <a:lnTo>
                    <a:pt x="1756" y="268"/>
                  </a:lnTo>
                  <a:lnTo>
                    <a:pt x="1819" y="278"/>
                  </a:lnTo>
                  <a:lnTo>
                    <a:pt x="1879" y="290"/>
                  </a:lnTo>
                  <a:lnTo>
                    <a:pt x="1940" y="303"/>
                  </a:lnTo>
                  <a:lnTo>
                    <a:pt x="1997" y="319"/>
                  </a:lnTo>
                  <a:lnTo>
                    <a:pt x="2053" y="337"/>
                  </a:lnTo>
                  <a:lnTo>
                    <a:pt x="2107" y="357"/>
                  </a:lnTo>
                  <a:lnTo>
                    <a:pt x="2159" y="378"/>
                  </a:lnTo>
                  <a:lnTo>
                    <a:pt x="2210" y="401"/>
                  </a:lnTo>
                  <a:lnTo>
                    <a:pt x="2257" y="426"/>
                  </a:lnTo>
                  <a:lnTo>
                    <a:pt x="2303" y="452"/>
                  </a:lnTo>
                  <a:lnTo>
                    <a:pt x="2347" y="480"/>
                  </a:lnTo>
                  <a:lnTo>
                    <a:pt x="2390" y="507"/>
                  </a:lnTo>
                  <a:lnTo>
                    <a:pt x="2429" y="538"/>
                  </a:lnTo>
                  <a:lnTo>
                    <a:pt x="2467" y="571"/>
                  </a:lnTo>
                  <a:lnTo>
                    <a:pt x="2501" y="604"/>
                  </a:lnTo>
                  <a:lnTo>
                    <a:pt x="2534" y="638"/>
                  </a:lnTo>
                  <a:lnTo>
                    <a:pt x="2565" y="674"/>
                  </a:lnTo>
                  <a:lnTo>
                    <a:pt x="2593" y="712"/>
                  </a:lnTo>
                  <a:lnTo>
                    <a:pt x="2619" y="751"/>
                  </a:lnTo>
                  <a:lnTo>
                    <a:pt x="2642" y="791"/>
                  </a:lnTo>
                  <a:lnTo>
                    <a:pt x="2662" y="831"/>
                  </a:lnTo>
                  <a:lnTo>
                    <a:pt x="2680" y="872"/>
                  </a:lnTo>
                  <a:lnTo>
                    <a:pt x="2696" y="915"/>
                  </a:lnTo>
                  <a:lnTo>
                    <a:pt x="2708" y="958"/>
                  </a:lnTo>
                  <a:lnTo>
                    <a:pt x="2717" y="1002"/>
                  </a:lnTo>
                  <a:lnTo>
                    <a:pt x="2726" y="1048"/>
                  </a:lnTo>
                  <a:lnTo>
                    <a:pt x="2729" y="1093"/>
                  </a:lnTo>
                  <a:lnTo>
                    <a:pt x="2730" y="1139"/>
                  </a:lnTo>
                  <a:lnTo>
                    <a:pt x="2730" y="1139"/>
                  </a:lnTo>
                  <a:lnTo>
                    <a:pt x="2729" y="1187"/>
                  </a:lnTo>
                  <a:lnTo>
                    <a:pt x="2726" y="1232"/>
                  </a:lnTo>
                  <a:lnTo>
                    <a:pt x="2717" y="1277"/>
                  </a:lnTo>
                  <a:lnTo>
                    <a:pt x="2708" y="1321"/>
                  </a:lnTo>
                  <a:lnTo>
                    <a:pt x="2696" y="1365"/>
                  </a:lnTo>
                  <a:lnTo>
                    <a:pt x="2680" y="1408"/>
                  </a:lnTo>
                  <a:lnTo>
                    <a:pt x="2662" y="1449"/>
                  </a:lnTo>
                  <a:lnTo>
                    <a:pt x="2642" y="1489"/>
                  </a:lnTo>
                  <a:lnTo>
                    <a:pt x="2619" y="1529"/>
                  </a:lnTo>
                  <a:lnTo>
                    <a:pt x="2593" y="1566"/>
                  </a:lnTo>
                  <a:lnTo>
                    <a:pt x="2565" y="1604"/>
                  </a:lnTo>
                  <a:lnTo>
                    <a:pt x="2534" y="1640"/>
                  </a:lnTo>
                  <a:lnTo>
                    <a:pt x="2501" y="1674"/>
                  </a:lnTo>
                  <a:lnTo>
                    <a:pt x="2465" y="1709"/>
                  </a:lnTo>
                  <a:lnTo>
                    <a:pt x="2429" y="1742"/>
                  </a:lnTo>
                  <a:lnTo>
                    <a:pt x="2388" y="1771"/>
                  </a:lnTo>
                  <a:lnTo>
                    <a:pt x="2347" y="1800"/>
                  </a:lnTo>
                  <a:lnTo>
                    <a:pt x="2303" y="1828"/>
                  </a:lnTo>
                  <a:lnTo>
                    <a:pt x="2257" y="1854"/>
                  </a:lnTo>
                  <a:lnTo>
                    <a:pt x="2208" y="1879"/>
                  </a:lnTo>
                  <a:lnTo>
                    <a:pt x="2159" y="1902"/>
                  </a:lnTo>
                  <a:lnTo>
                    <a:pt x="2107" y="1923"/>
                  </a:lnTo>
                  <a:lnTo>
                    <a:pt x="2053" y="1943"/>
                  </a:lnTo>
                  <a:lnTo>
                    <a:pt x="1997" y="1961"/>
                  </a:lnTo>
                  <a:lnTo>
                    <a:pt x="1938" y="1976"/>
                  </a:lnTo>
                  <a:lnTo>
                    <a:pt x="1879" y="1990"/>
                  </a:lnTo>
                  <a:lnTo>
                    <a:pt x="1819" y="2002"/>
                  </a:lnTo>
                  <a:lnTo>
                    <a:pt x="1755" y="2012"/>
                  </a:lnTo>
                  <a:lnTo>
                    <a:pt x="1691" y="2018"/>
                  </a:lnTo>
                  <a:lnTo>
                    <a:pt x="1624" y="2025"/>
                  </a:lnTo>
                  <a:lnTo>
                    <a:pt x="1557" y="2028"/>
                  </a:lnTo>
                  <a:lnTo>
                    <a:pt x="1488" y="2030"/>
                  </a:lnTo>
                  <a:lnTo>
                    <a:pt x="1488" y="20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3" name="Freeform 18"/>
            <p:cNvSpPr>
              <a:spLocks/>
            </p:cNvSpPr>
            <p:nvPr/>
          </p:nvSpPr>
          <p:spPr bwMode="auto">
            <a:xfrm>
              <a:off x="7856254" y="5908560"/>
              <a:ext cx="206927" cy="269362"/>
            </a:xfrm>
            <a:custGeom>
              <a:avLst/>
              <a:gdLst>
                <a:gd name="T0" fmla="*/ 4 w 698"/>
                <a:gd name="T1" fmla="*/ 404 h 907"/>
                <a:gd name="T2" fmla="*/ 18 w 698"/>
                <a:gd name="T3" fmla="*/ 309 h 907"/>
                <a:gd name="T4" fmla="*/ 48 w 698"/>
                <a:gd name="T5" fmla="*/ 226 h 907"/>
                <a:gd name="T6" fmla="*/ 89 w 698"/>
                <a:gd name="T7" fmla="*/ 154 h 907"/>
                <a:gd name="T8" fmla="*/ 143 w 698"/>
                <a:gd name="T9" fmla="*/ 95 h 907"/>
                <a:gd name="T10" fmla="*/ 207 w 698"/>
                <a:gd name="T11" fmla="*/ 49 h 907"/>
                <a:gd name="T12" fmla="*/ 279 w 698"/>
                <a:gd name="T13" fmla="*/ 18 h 907"/>
                <a:gd name="T14" fmla="*/ 359 w 698"/>
                <a:gd name="T15" fmla="*/ 1 h 907"/>
                <a:gd name="T16" fmla="*/ 428 w 698"/>
                <a:gd name="T17" fmla="*/ 0 h 907"/>
                <a:gd name="T18" fmla="*/ 519 w 698"/>
                <a:gd name="T19" fmla="*/ 16 h 907"/>
                <a:gd name="T20" fmla="*/ 573 w 698"/>
                <a:gd name="T21" fmla="*/ 37 h 907"/>
                <a:gd name="T22" fmla="*/ 593 w 698"/>
                <a:gd name="T23" fmla="*/ 37 h 907"/>
                <a:gd name="T24" fmla="*/ 611 w 698"/>
                <a:gd name="T25" fmla="*/ 16 h 907"/>
                <a:gd name="T26" fmla="*/ 621 w 698"/>
                <a:gd name="T27" fmla="*/ 6 h 907"/>
                <a:gd name="T28" fmla="*/ 681 w 698"/>
                <a:gd name="T29" fmla="*/ 6 h 907"/>
                <a:gd name="T30" fmla="*/ 689 w 698"/>
                <a:gd name="T31" fmla="*/ 245 h 907"/>
                <a:gd name="T32" fmla="*/ 681 w 698"/>
                <a:gd name="T33" fmla="*/ 258 h 907"/>
                <a:gd name="T34" fmla="*/ 621 w 698"/>
                <a:gd name="T35" fmla="*/ 258 h 907"/>
                <a:gd name="T36" fmla="*/ 613 w 698"/>
                <a:gd name="T37" fmla="*/ 247 h 907"/>
                <a:gd name="T38" fmla="*/ 586 w 698"/>
                <a:gd name="T39" fmla="*/ 160 h 907"/>
                <a:gd name="T40" fmla="*/ 550 w 698"/>
                <a:gd name="T41" fmla="*/ 111 h 907"/>
                <a:gd name="T42" fmla="*/ 495 w 698"/>
                <a:gd name="T43" fmla="*/ 82 h 907"/>
                <a:gd name="T44" fmla="*/ 436 w 698"/>
                <a:gd name="T45" fmla="*/ 75 h 907"/>
                <a:gd name="T46" fmla="*/ 383 w 698"/>
                <a:gd name="T47" fmla="*/ 87 h 907"/>
                <a:gd name="T48" fmla="*/ 342 w 698"/>
                <a:gd name="T49" fmla="*/ 114 h 907"/>
                <a:gd name="T50" fmla="*/ 285 w 698"/>
                <a:gd name="T51" fmla="*/ 206 h 907"/>
                <a:gd name="T52" fmla="*/ 256 w 698"/>
                <a:gd name="T53" fmla="*/ 321 h 907"/>
                <a:gd name="T54" fmla="*/ 247 w 698"/>
                <a:gd name="T55" fmla="*/ 424 h 907"/>
                <a:gd name="T56" fmla="*/ 257 w 698"/>
                <a:gd name="T57" fmla="*/ 596 h 907"/>
                <a:gd name="T58" fmla="*/ 290 w 698"/>
                <a:gd name="T59" fmla="*/ 722 h 907"/>
                <a:gd name="T60" fmla="*/ 338 w 698"/>
                <a:gd name="T61" fmla="*/ 792 h 907"/>
                <a:gd name="T62" fmla="*/ 383 w 698"/>
                <a:gd name="T63" fmla="*/ 820 h 907"/>
                <a:gd name="T64" fmla="*/ 441 w 698"/>
                <a:gd name="T65" fmla="*/ 831 h 907"/>
                <a:gd name="T66" fmla="*/ 503 w 698"/>
                <a:gd name="T67" fmla="*/ 823 h 907"/>
                <a:gd name="T68" fmla="*/ 562 w 698"/>
                <a:gd name="T69" fmla="*/ 794 h 907"/>
                <a:gd name="T70" fmla="*/ 598 w 698"/>
                <a:gd name="T71" fmla="*/ 743 h 907"/>
                <a:gd name="T72" fmla="*/ 621 w 698"/>
                <a:gd name="T73" fmla="*/ 658 h 907"/>
                <a:gd name="T74" fmla="*/ 631 w 698"/>
                <a:gd name="T75" fmla="*/ 646 h 907"/>
                <a:gd name="T76" fmla="*/ 689 w 698"/>
                <a:gd name="T77" fmla="*/ 648 h 907"/>
                <a:gd name="T78" fmla="*/ 698 w 698"/>
                <a:gd name="T79" fmla="*/ 887 h 907"/>
                <a:gd name="T80" fmla="*/ 689 w 698"/>
                <a:gd name="T81" fmla="*/ 898 h 907"/>
                <a:gd name="T82" fmla="*/ 629 w 698"/>
                <a:gd name="T83" fmla="*/ 900 h 907"/>
                <a:gd name="T84" fmla="*/ 621 w 698"/>
                <a:gd name="T85" fmla="*/ 892 h 907"/>
                <a:gd name="T86" fmla="*/ 599 w 698"/>
                <a:gd name="T87" fmla="*/ 877 h 907"/>
                <a:gd name="T88" fmla="*/ 534 w 698"/>
                <a:gd name="T89" fmla="*/ 892 h 907"/>
                <a:gd name="T90" fmla="*/ 403 w 698"/>
                <a:gd name="T91" fmla="*/ 907 h 907"/>
                <a:gd name="T92" fmla="*/ 334 w 698"/>
                <a:gd name="T93" fmla="*/ 902 h 907"/>
                <a:gd name="T94" fmla="*/ 249 w 698"/>
                <a:gd name="T95" fmla="*/ 877 h 907"/>
                <a:gd name="T96" fmla="*/ 177 w 698"/>
                <a:gd name="T97" fmla="*/ 838 h 907"/>
                <a:gd name="T98" fmla="*/ 118 w 698"/>
                <a:gd name="T99" fmla="*/ 784 h 907"/>
                <a:gd name="T100" fmla="*/ 59 w 698"/>
                <a:gd name="T101" fmla="*/ 702 h 907"/>
                <a:gd name="T102" fmla="*/ 7 w 698"/>
                <a:gd name="T103" fmla="*/ 5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8" h="907">
                  <a:moveTo>
                    <a:pt x="0" y="455"/>
                  </a:moveTo>
                  <a:lnTo>
                    <a:pt x="0" y="455"/>
                  </a:lnTo>
                  <a:lnTo>
                    <a:pt x="2" y="429"/>
                  </a:lnTo>
                  <a:lnTo>
                    <a:pt x="4" y="404"/>
                  </a:lnTo>
                  <a:lnTo>
                    <a:pt x="5" y="378"/>
                  </a:lnTo>
                  <a:lnTo>
                    <a:pt x="8" y="355"/>
                  </a:lnTo>
                  <a:lnTo>
                    <a:pt x="13" y="332"/>
                  </a:lnTo>
                  <a:lnTo>
                    <a:pt x="18" y="309"/>
                  </a:lnTo>
                  <a:lnTo>
                    <a:pt x="25" y="286"/>
                  </a:lnTo>
                  <a:lnTo>
                    <a:pt x="31" y="265"/>
                  </a:lnTo>
                  <a:lnTo>
                    <a:pt x="38" y="245"/>
                  </a:lnTo>
                  <a:lnTo>
                    <a:pt x="48" y="226"/>
                  </a:lnTo>
                  <a:lnTo>
                    <a:pt x="56" y="206"/>
                  </a:lnTo>
                  <a:lnTo>
                    <a:pt x="67" y="188"/>
                  </a:lnTo>
                  <a:lnTo>
                    <a:pt x="77" y="170"/>
                  </a:lnTo>
                  <a:lnTo>
                    <a:pt x="89" y="154"/>
                  </a:lnTo>
                  <a:lnTo>
                    <a:pt x="102" y="137"/>
                  </a:lnTo>
                  <a:lnTo>
                    <a:pt x="115" y="123"/>
                  </a:lnTo>
                  <a:lnTo>
                    <a:pt x="128" y="108"/>
                  </a:lnTo>
                  <a:lnTo>
                    <a:pt x="143" y="95"/>
                  </a:lnTo>
                  <a:lnTo>
                    <a:pt x="157" y="82"/>
                  </a:lnTo>
                  <a:lnTo>
                    <a:pt x="174" y="70"/>
                  </a:lnTo>
                  <a:lnTo>
                    <a:pt x="190" y="59"/>
                  </a:lnTo>
                  <a:lnTo>
                    <a:pt x="207" y="49"/>
                  </a:lnTo>
                  <a:lnTo>
                    <a:pt x="225" y="39"/>
                  </a:lnTo>
                  <a:lnTo>
                    <a:pt x="243" y="31"/>
                  </a:lnTo>
                  <a:lnTo>
                    <a:pt x="261" y="24"/>
                  </a:lnTo>
                  <a:lnTo>
                    <a:pt x="279" y="18"/>
                  </a:lnTo>
                  <a:lnTo>
                    <a:pt x="298" y="11"/>
                  </a:lnTo>
                  <a:lnTo>
                    <a:pt x="318" y="8"/>
                  </a:lnTo>
                  <a:lnTo>
                    <a:pt x="339" y="3"/>
                  </a:lnTo>
                  <a:lnTo>
                    <a:pt x="359" y="1"/>
                  </a:lnTo>
                  <a:lnTo>
                    <a:pt x="380" y="0"/>
                  </a:lnTo>
                  <a:lnTo>
                    <a:pt x="401" y="0"/>
                  </a:lnTo>
                  <a:lnTo>
                    <a:pt x="401" y="0"/>
                  </a:lnTo>
                  <a:lnTo>
                    <a:pt x="428" y="0"/>
                  </a:lnTo>
                  <a:lnTo>
                    <a:pt x="452" y="1"/>
                  </a:lnTo>
                  <a:lnTo>
                    <a:pt x="472" y="5"/>
                  </a:lnTo>
                  <a:lnTo>
                    <a:pt x="490" y="8"/>
                  </a:lnTo>
                  <a:lnTo>
                    <a:pt x="519" y="16"/>
                  </a:lnTo>
                  <a:lnTo>
                    <a:pt x="541" y="24"/>
                  </a:lnTo>
                  <a:lnTo>
                    <a:pt x="541" y="24"/>
                  </a:lnTo>
                  <a:lnTo>
                    <a:pt x="563" y="34"/>
                  </a:lnTo>
                  <a:lnTo>
                    <a:pt x="573" y="37"/>
                  </a:lnTo>
                  <a:lnTo>
                    <a:pt x="583" y="39"/>
                  </a:lnTo>
                  <a:lnTo>
                    <a:pt x="583" y="39"/>
                  </a:lnTo>
                  <a:lnTo>
                    <a:pt x="588" y="39"/>
                  </a:lnTo>
                  <a:lnTo>
                    <a:pt x="593" y="37"/>
                  </a:lnTo>
                  <a:lnTo>
                    <a:pt x="598" y="36"/>
                  </a:lnTo>
                  <a:lnTo>
                    <a:pt x="601" y="33"/>
                  </a:lnTo>
                  <a:lnTo>
                    <a:pt x="608" y="24"/>
                  </a:lnTo>
                  <a:lnTo>
                    <a:pt x="611" y="16"/>
                  </a:lnTo>
                  <a:lnTo>
                    <a:pt x="611" y="16"/>
                  </a:lnTo>
                  <a:lnTo>
                    <a:pt x="614" y="11"/>
                  </a:lnTo>
                  <a:lnTo>
                    <a:pt x="617" y="8"/>
                  </a:lnTo>
                  <a:lnTo>
                    <a:pt x="621" y="6"/>
                  </a:lnTo>
                  <a:lnTo>
                    <a:pt x="624" y="5"/>
                  </a:lnTo>
                  <a:lnTo>
                    <a:pt x="676" y="5"/>
                  </a:lnTo>
                  <a:lnTo>
                    <a:pt x="676" y="5"/>
                  </a:lnTo>
                  <a:lnTo>
                    <a:pt x="681" y="6"/>
                  </a:lnTo>
                  <a:lnTo>
                    <a:pt x="686" y="8"/>
                  </a:lnTo>
                  <a:lnTo>
                    <a:pt x="688" y="13"/>
                  </a:lnTo>
                  <a:lnTo>
                    <a:pt x="689" y="18"/>
                  </a:lnTo>
                  <a:lnTo>
                    <a:pt x="689" y="245"/>
                  </a:lnTo>
                  <a:lnTo>
                    <a:pt x="689" y="245"/>
                  </a:lnTo>
                  <a:lnTo>
                    <a:pt x="688" y="250"/>
                  </a:lnTo>
                  <a:lnTo>
                    <a:pt x="686" y="255"/>
                  </a:lnTo>
                  <a:lnTo>
                    <a:pt x="681" y="258"/>
                  </a:lnTo>
                  <a:lnTo>
                    <a:pt x="676" y="258"/>
                  </a:lnTo>
                  <a:lnTo>
                    <a:pt x="626" y="258"/>
                  </a:lnTo>
                  <a:lnTo>
                    <a:pt x="626" y="258"/>
                  </a:lnTo>
                  <a:lnTo>
                    <a:pt x="621" y="258"/>
                  </a:lnTo>
                  <a:lnTo>
                    <a:pt x="617" y="257"/>
                  </a:lnTo>
                  <a:lnTo>
                    <a:pt x="614" y="252"/>
                  </a:lnTo>
                  <a:lnTo>
                    <a:pt x="613" y="247"/>
                  </a:lnTo>
                  <a:lnTo>
                    <a:pt x="613" y="247"/>
                  </a:lnTo>
                  <a:lnTo>
                    <a:pt x="604" y="209"/>
                  </a:lnTo>
                  <a:lnTo>
                    <a:pt x="599" y="191"/>
                  </a:lnTo>
                  <a:lnTo>
                    <a:pt x="593" y="175"/>
                  </a:lnTo>
                  <a:lnTo>
                    <a:pt x="586" y="160"/>
                  </a:lnTo>
                  <a:lnTo>
                    <a:pt x="580" y="145"/>
                  </a:lnTo>
                  <a:lnTo>
                    <a:pt x="572" y="132"/>
                  </a:lnTo>
                  <a:lnTo>
                    <a:pt x="562" y="121"/>
                  </a:lnTo>
                  <a:lnTo>
                    <a:pt x="550" y="111"/>
                  </a:lnTo>
                  <a:lnTo>
                    <a:pt x="539" y="101"/>
                  </a:lnTo>
                  <a:lnTo>
                    <a:pt x="526" y="93"/>
                  </a:lnTo>
                  <a:lnTo>
                    <a:pt x="511" y="87"/>
                  </a:lnTo>
                  <a:lnTo>
                    <a:pt x="495" y="82"/>
                  </a:lnTo>
                  <a:lnTo>
                    <a:pt x="477" y="78"/>
                  </a:lnTo>
                  <a:lnTo>
                    <a:pt x="457" y="77"/>
                  </a:lnTo>
                  <a:lnTo>
                    <a:pt x="436" y="75"/>
                  </a:lnTo>
                  <a:lnTo>
                    <a:pt x="436" y="75"/>
                  </a:lnTo>
                  <a:lnTo>
                    <a:pt x="421" y="77"/>
                  </a:lnTo>
                  <a:lnTo>
                    <a:pt x="408" y="78"/>
                  </a:lnTo>
                  <a:lnTo>
                    <a:pt x="395" y="82"/>
                  </a:lnTo>
                  <a:lnTo>
                    <a:pt x="383" y="87"/>
                  </a:lnTo>
                  <a:lnTo>
                    <a:pt x="372" y="91"/>
                  </a:lnTo>
                  <a:lnTo>
                    <a:pt x="362" y="98"/>
                  </a:lnTo>
                  <a:lnTo>
                    <a:pt x="352" y="105"/>
                  </a:lnTo>
                  <a:lnTo>
                    <a:pt x="342" y="114"/>
                  </a:lnTo>
                  <a:lnTo>
                    <a:pt x="324" y="132"/>
                  </a:lnTo>
                  <a:lnTo>
                    <a:pt x="310" y="155"/>
                  </a:lnTo>
                  <a:lnTo>
                    <a:pt x="297" y="180"/>
                  </a:lnTo>
                  <a:lnTo>
                    <a:pt x="285" y="206"/>
                  </a:lnTo>
                  <a:lnTo>
                    <a:pt x="275" y="234"/>
                  </a:lnTo>
                  <a:lnTo>
                    <a:pt x="267" y="263"/>
                  </a:lnTo>
                  <a:lnTo>
                    <a:pt x="261" y="291"/>
                  </a:lnTo>
                  <a:lnTo>
                    <a:pt x="256" y="321"/>
                  </a:lnTo>
                  <a:lnTo>
                    <a:pt x="252" y="348"/>
                  </a:lnTo>
                  <a:lnTo>
                    <a:pt x="249" y="375"/>
                  </a:lnTo>
                  <a:lnTo>
                    <a:pt x="247" y="424"/>
                  </a:lnTo>
                  <a:lnTo>
                    <a:pt x="247" y="424"/>
                  </a:lnTo>
                  <a:lnTo>
                    <a:pt x="249" y="491"/>
                  </a:lnTo>
                  <a:lnTo>
                    <a:pt x="251" y="525"/>
                  </a:lnTo>
                  <a:lnTo>
                    <a:pt x="254" y="561"/>
                  </a:lnTo>
                  <a:lnTo>
                    <a:pt x="257" y="596"/>
                  </a:lnTo>
                  <a:lnTo>
                    <a:pt x="264" y="628"/>
                  </a:lnTo>
                  <a:lnTo>
                    <a:pt x="270" y="661"/>
                  </a:lnTo>
                  <a:lnTo>
                    <a:pt x="280" y="692"/>
                  </a:lnTo>
                  <a:lnTo>
                    <a:pt x="290" y="722"/>
                  </a:lnTo>
                  <a:lnTo>
                    <a:pt x="303" y="748"/>
                  </a:lnTo>
                  <a:lnTo>
                    <a:pt x="320" y="772"/>
                  </a:lnTo>
                  <a:lnTo>
                    <a:pt x="328" y="782"/>
                  </a:lnTo>
                  <a:lnTo>
                    <a:pt x="338" y="792"/>
                  </a:lnTo>
                  <a:lnTo>
                    <a:pt x="347" y="800"/>
                  </a:lnTo>
                  <a:lnTo>
                    <a:pt x="359" y="808"/>
                  </a:lnTo>
                  <a:lnTo>
                    <a:pt x="370" y="815"/>
                  </a:lnTo>
                  <a:lnTo>
                    <a:pt x="383" y="820"/>
                  </a:lnTo>
                  <a:lnTo>
                    <a:pt x="396" y="825"/>
                  </a:lnTo>
                  <a:lnTo>
                    <a:pt x="411" y="828"/>
                  </a:lnTo>
                  <a:lnTo>
                    <a:pt x="426" y="830"/>
                  </a:lnTo>
                  <a:lnTo>
                    <a:pt x="441" y="831"/>
                  </a:lnTo>
                  <a:lnTo>
                    <a:pt x="441" y="831"/>
                  </a:lnTo>
                  <a:lnTo>
                    <a:pt x="464" y="830"/>
                  </a:lnTo>
                  <a:lnTo>
                    <a:pt x="485" y="828"/>
                  </a:lnTo>
                  <a:lnTo>
                    <a:pt x="503" y="823"/>
                  </a:lnTo>
                  <a:lnTo>
                    <a:pt x="521" y="818"/>
                  </a:lnTo>
                  <a:lnTo>
                    <a:pt x="536" y="812"/>
                  </a:lnTo>
                  <a:lnTo>
                    <a:pt x="549" y="803"/>
                  </a:lnTo>
                  <a:lnTo>
                    <a:pt x="562" y="794"/>
                  </a:lnTo>
                  <a:lnTo>
                    <a:pt x="572" y="782"/>
                  </a:lnTo>
                  <a:lnTo>
                    <a:pt x="581" y="771"/>
                  </a:lnTo>
                  <a:lnTo>
                    <a:pt x="590" y="758"/>
                  </a:lnTo>
                  <a:lnTo>
                    <a:pt x="598" y="743"/>
                  </a:lnTo>
                  <a:lnTo>
                    <a:pt x="603" y="728"/>
                  </a:lnTo>
                  <a:lnTo>
                    <a:pt x="609" y="712"/>
                  </a:lnTo>
                  <a:lnTo>
                    <a:pt x="614" y="695"/>
                  </a:lnTo>
                  <a:lnTo>
                    <a:pt x="621" y="658"/>
                  </a:lnTo>
                  <a:lnTo>
                    <a:pt x="621" y="658"/>
                  </a:lnTo>
                  <a:lnTo>
                    <a:pt x="622" y="653"/>
                  </a:lnTo>
                  <a:lnTo>
                    <a:pt x="626" y="648"/>
                  </a:lnTo>
                  <a:lnTo>
                    <a:pt x="631" y="646"/>
                  </a:lnTo>
                  <a:lnTo>
                    <a:pt x="634" y="646"/>
                  </a:lnTo>
                  <a:lnTo>
                    <a:pt x="685" y="646"/>
                  </a:lnTo>
                  <a:lnTo>
                    <a:pt x="685" y="646"/>
                  </a:lnTo>
                  <a:lnTo>
                    <a:pt x="689" y="648"/>
                  </a:lnTo>
                  <a:lnTo>
                    <a:pt x="694" y="650"/>
                  </a:lnTo>
                  <a:lnTo>
                    <a:pt x="696" y="654"/>
                  </a:lnTo>
                  <a:lnTo>
                    <a:pt x="698" y="659"/>
                  </a:lnTo>
                  <a:lnTo>
                    <a:pt x="698" y="887"/>
                  </a:lnTo>
                  <a:lnTo>
                    <a:pt x="698" y="887"/>
                  </a:lnTo>
                  <a:lnTo>
                    <a:pt x="696" y="892"/>
                  </a:lnTo>
                  <a:lnTo>
                    <a:pt x="694" y="897"/>
                  </a:lnTo>
                  <a:lnTo>
                    <a:pt x="689" y="898"/>
                  </a:lnTo>
                  <a:lnTo>
                    <a:pt x="685" y="900"/>
                  </a:lnTo>
                  <a:lnTo>
                    <a:pt x="632" y="900"/>
                  </a:lnTo>
                  <a:lnTo>
                    <a:pt x="632" y="900"/>
                  </a:lnTo>
                  <a:lnTo>
                    <a:pt x="629" y="900"/>
                  </a:lnTo>
                  <a:lnTo>
                    <a:pt x="626" y="898"/>
                  </a:lnTo>
                  <a:lnTo>
                    <a:pt x="622" y="895"/>
                  </a:lnTo>
                  <a:lnTo>
                    <a:pt x="621" y="892"/>
                  </a:lnTo>
                  <a:lnTo>
                    <a:pt x="621" y="892"/>
                  </a:lnTo>
                  <a:lnTo>
                    <a:pt x="617" y="887"/>
                  </a:lnTo>
                  <a:lnTo>
                    <a:pt x="613" y="882"/>
                  </a:lnTo>
                  <a:lnTo>
                    <a:pt x="608" y="877"/>
                  </a:lnTo>
                  <a:lnTo>
                    <a:pt x="599" y="877"/>
                  </a:lnTo>
                  <a:lnTo>
                    <a:pt x="599" y="877"/>
                  </a:lnTo>
                  <a:lnTo>
                    <a:pt x="588" y="877"/>
                  </a:lnTo>
                  <a:lnTo>
                    <a:pt x="573" y="880"/>
                  </a:lnTo>
                  <a:lnTo>
                    <a:pt x="534" y="892"/>
                  </a:lnTo>
                  <a:lnTo>
                    <a:pt x="509" y="897"/>
                  </a:lnTo>
                  <a:lnTo>
                    <a:pt x="478" y="902"/>
                  </a:lnTo>
                  <a:lnTo>
                    <a:pt x="444" y="905"/>
                  </a:lnTo>
                  <a:lnTo>
                    <a:pt x="403" y="907"/>
                  </a:lnTo>
                  <a:lnTo>
                    <a:pt x="403" y="907"/>
                  </a:lnTo>
                  <a:lnTo>
                    <a:pt x="380" y="907"/>
                  </a:lnTo>
                  <a:lnTo>
                    <a:pt x="356" y="903"/>
                  </a:lnTo>
                  <a:lnTo>
                    <a:pt x="334" y="902"/>
                  </a:lnTo>
                  <a:lnTo>
                    <a:pt x="311" y="897"/>
                  </a:lnTo>
                  <a:lnTo>
                    <a:pt x="290" y="892"/>
                  </a:lnTo>
                  <a:lnTo>
                    <a:pt x="270" y="885"/>
                  </a:lnTo>
                  <a:lnTo>
                    <a:pt x="249" y="877"/>
                  </a:lnTo>
                  <a:lnTo>
                    <a:pt x="231" y="869"/>
                  </a:lnTo>
                  <a:lnTo>
                    <a:pt x="213" y="859"/>
                  </a:lnTo>
                  <a:lnTo>
                    <a:pt x="195" y="849"/>
                  </a:lnTo>
                  <a:lnTo>
                    <a:pt x="177" y="838"/>
                  </a:lnTo>
                  <a:lnTo>
                    <a:pt x="162" y="826"/>
                  </a:lnTo>
                  <a:lnTo>
                    <a:pt x="146" y="813"/>
                  </a:lnTo>
                  <a:lnTo>
                    <a:pt x="131" y="799"/>
                  </a:lnTo>
                  <a:lnTo>
                    <a:pt x="118" y="784"/>
                  </a:lnTo>
                  <a:lnTo>
                    <a:pt x="105" y="769"/>
                  </a:lnTo>
                  <a:lnTo>
                    <a:pt x="92" y="753"/>
                  </a:lnTo>
                  <a:lnTo>
                    <a:pt x="81" y="736"/>
                  </a:lnTo>
                  <a:lnTo>
                    <a:pt x="59" y="702"/>
                  </a:lnTo>
                  <a:lnTo>
                    <a:pt x="41" y="664"/>
                  </a:lnTo>
                  <a:lnTo>
                    <a:pt x="26" y="625"/>
                  </a:lnTo>
                  <a:lnTo>
                    <a:pt x="15" y="584"/>
                  </a:lnTo>
                  <a:lnTo>
                    <a:pt x="7" y="542"/>
                  </a:lnTo>
                  <a:lnTo>
                    <a:pt x="2" y="499"/>
                  </a:lnTo>
                  <a:lnTo>
                    <a:pt x="0"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5" name="Freeform 20"/>
            <p:cNvSpPr>
              <a:spLocks noEditPoints="1"/>
            </p:cNvSpPr>
            <p:nvPr/>
          </p:nvSpPr>
          <p:spPr bwMode="auto">
            <a:xfrm>
              <a:off x="8051289" y="5957319"/>
              <a:ext cx="137357" cy="129032"/>
            </a:xfrm>
            <a:custGeom>
              <a:avLst/>
              <a:gdLst>
                <a:gd name="T0" fmla="*/ 345 w 461"/>
                <a:gd name="T1" fmla="*/ 187 h 436"/>
                <a:gd name="T2" fmla="*/ 339 w 461"/>
                <a:gd name="T3" fmla="*/ 194 h 436"/>
                <a:gd name="T4" fmla="*/ 291 w 461"/>
                <a:gd name="T5" fmla="*/ 290 h 436"/>
                <a:gd name="T6" fmla="*/ 263 w 461"/>
                <a:gd name="T7" fmla="*/ 179 h 436"/>
                <a:gd name="T8" fmla="*/ 316 w 461"/>
                <a:gd name="T9" fmla="*/ 128 h 436"/>
                <a:gd name="T10" fmla="*/ 325 w 461"/>
                <a:gd name="T11" fmla="*/ 94 h 436"/>
                <a:gd name="T12" fmla="*/ 321 w 461"/>
                <a:gd name="T13" fmla="*/ 64 h 436"/>
                <a:gd name="T14" fmla="*/ 299 w 461"/>
                <a:gd name="T15" fmla="*/ 32 h 436"/>
                <a:gd name="T16" fmla="*/ 257 w 461"/>
                <a:gd name="T17" fmla="*/ 7 h 436"/>
                <a:gd name="T18" fmla="*/ 186 w 461"/>
                <a:gd name="T19" fmla="*/ 2 h 436"/>
                <a:gd name="T20" fmla="*/ 131 w 461"/>
                <a:gd name="T21" fmla="*/ 22 h 436"/>
                <a:gd name="T22" fmla="*/ 98 w 461"/>
                <a:gd name="T23" fmla="*/ 51 h 436"/>
                <a:gd name="T24" fmla="*/ 83 w 461"/>
                <a:gd name="T25" fmla="*/ 97 h 436"/>
                <a:gd name="T26" fmla="*/ 85 w 461"/>
                <a:gd name="T27" fmla="*/ 133 h 436"/>
                <a:gd name="T28" fmla="*/ 111 w 461"/>
                <a:gd name="T29" fmla="*/ 187 h 436"/>
                <a:gd name="T30" fmla="*/ 54 w 461"/>
                <a:gd name="T31" fmla="*/ 217 h 436"/>
                <a:gd name="T32" fmla="*/ 10 w 461"/>
                <a:gd name="T33" fmla="*/ 269 h 436"/>
                <a:gd name="T34" fmla="*/ 0 w 461"/>
                <a:gd name="T35" fmla="*/ 315 h 436"/>
                <a:gd name="T36" fmla="*/ 8 w 461"/>
                <a:gd name="T37" fmla="*/ 354 h 436"/>
                <a:gd name="T38" fmla="*/ 36 w 461"/>
                <a:gd name="T39" fmla="*/ 395 h 436"/>
                <a:gd name="T40" fmla="*/ 80 w 461"/>
                <a:gd name="T41" fmla="*/ 423 h 436"/>
                <a:gd name="T42" fmla="*/ 137 w 461"/>
                <a:gd name="T43" fmla="*/ 434 h 436"/>
                <a:gd name="T44" fmla="*/ 195 w 461"/>
                <a:gd name="T45" fmla="*/ 431 h 436"/>
                <a:gd name="T46" fmla="*/ 255 w 461"/>
                <a:gd name="T47" fmla="*/ 410 h 436"/>
                <a:gd name="T48" fmla="*/ 294 w 461"/>
                <a:gd name="T49" fmla="*/ 416 h 436"/>
                <a:gd name="T50" fmla="*/ 350 w 461"/>
                <a:gd name="T51" fmla="*/ 426 h 436"/>
                <a:gd name="T52" fmla="*/ 401 w 461"/>
                <a:gd name="T53" fmla="*/ 424 h 436"/>
                <a:gd name="T54" fmla="*/ 416 w 461"/>
                <a:gd name="T55" fmla="*/ 388 h 436"/>
                <a:gd name="T56" fmla="*/ 416 w 461"/>
                <a:gd name="T57" fmla="*/ 380 h 436"/>
                <a:gd name="T58" fmla="*/ 389 w 461"/>
                <a:gd name="T59" fmla="*/ 379 h 436"/>
                <a:gd name="T60" fmla="*/ 343 w 461"/>
                <a:gd name="T61" fmla="*/ 362 h 436"/>
                <a:gd name="T62" fmla="*/ 327 w 461"/>
                <a:gd name="T63" fmla="*/ 344 h 436"/>
                <a:gd name="T64" fmla="*/ 375 w 461"/>
                <a:gd name="T65" fmla="*/ 289 h 436"/>
                <a:gd name="T66" fmla="*/ 404 w 461"/>
                <a:gd name="T67" fmla="*/ 243 h 436"/>
                <a:gd name="T68" fmla="*/ 435 w 461"/>
                <a:gd name="T69" fmla="*/ 233 h 436"/>
                <a:gd name="T70" fmla="*/ 445 w 461"/>
                <a:gd name="T71" fmla="*/ 228 h 436"/>
                <a:gd name="T72" fmla="*/ 461 w 461"/>
                <a:gd name="T73" fmla="*/ 190 h 436"/>
                <a:gd name="T74" fmla="*/ 452 w 461"/>
                <a:gd name="T75" fmla="*/ 187 h 436"/>
                <a:gd name="T76" fmla="*/ 226 w 461"/>
                <a:gd name="T77" fmla="*/ 43 h 436"/>
                <a:gd name="T78" fmla="*/ 244 w 461"/>
                <a:gd name="T79" fmla="*/ 68 h 436"/>
                <a:gd name="T80" fmla="*/ 244 w 461"/>
                <a:gd name="T81" fmla="*/ 95 h 436"/>
                <a:gd name="T82" fmla="*/ 226 w 461"/>
                <a:gd name="T83" fmla="*/ 135 h 436"/>
                <a:gd name="T84" fmla="*/ 196 w 461"/>
                <a:gd name="T85" fmla="*/ 158 h 436"/>
                <a:gd name="T86" fmla="*/ 170 w 461"/>
                <a:gd name="T87" fmla="*/ 84 h 436"/>
                <a:gd name="T88" fmla="*/ 175 w 461"/>
                <a:gd name="T89" fmla="*/ 59 h 436"/>
                <a:gd name="T90" fmla="*/ 201 w 461"/>
                <a:gd name="T91" fmla="*/ 40 h 436"/>
                <a:gd name="T92" fmla="*/ 167 w 461"/>
                <a:gd name="T93" fmla="*/ 388 h 436"/>
                <a:gd name="T94" fmla="*/ 113 w 461"/>
                <a:gd name="T95" fmla="*/ 367 h 436"/>
                <a:gd name="T96" fmla="*/ 91 w 461"/>
                <a:gd name="T97" fmla="*/ 310 h 436"/>
                <a:gd name="T98" fmla="*/ 100 w 461"/>
                <a:gd name="T99" fmla="*/ 275 h 436"/>
                <a:gd name="T100" fmla="*/ 127 w 461"/>
                <a:gd name="T101" fmla="*/ 235 h 436"/>
                <a:gd name="T102" fmla="*/ 217 w 461"/>
                <a:gd name="T103" fmla="*/ 369 h 436"/>
                <a:gd name="T104" fmla="*/ 177 w 461"/>
                <a:gd name="T105" fmla="*/ 38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1" h="436">
                  <a:moveTo>
                    <a:pt x="452" y="187"/>
                  </a:moveTo>
                  <a:lnTo>
                    <a:pt x="350" y="187"/>
                  </a:lnTo>
                  <a:lnTo>
                    <a:pt x="350" y="187"/>
                  </a:lnTo>
                  <a:lnTo>
                    <a:pt x="345" y="187"/>
                  </a:lnTo>
                  <a:lnTo>
                    <a:pt x="340" y="189"/>
                  </a:lnTo>
                  <a:lnTo>
                    <a:pt x="339" y="190"/>
                  </a:lnTo>
                  <a:lnTo>
                    <a:pt x="339" y="194"/>
                  </a:lnTo>
                  <a:lnTo>
                    <a:pt x="339" y="194"/>
                  </a:lnTo>
                  <a:lnTo>
                    <a:pt x="330" y="218"/>
                  </a:lnTo>
                  <a:lnTo>
                    <a:pt x="321" y="241"/>
                  </a:lnTo>
                  <a:lnTo>
                    <a:pt x="307" y="266"/>
                  </a:lnTo>
                  <a:lnTo>
                    <a:pt x="291" y="290"/>
                  </a:lnTo>
                  <a:lnTo>
                    <a:pt x="229" y="197"/>
                  </a:lnTo>
                  <a:lnTo>
                    <a:pt x="229" y="197"/>
                  </a:lnTo>
                  <a:lnTo>
                    <a:pt x="245" y="189"/>
                  </a:lnTo>
                  <a:lnTo>
                    <a:pt x="263" y="179"/>
                  </a:lnTo>
                  <a:lnTo>
                    <a:pt x="280" y="169"/>
                  </a:lnTo>
                  <a:lnTo>
                    <a:pt x="294" y="156"/>
                  </a:lnTo>
                  <a:lnTo>
                    <a:pt x="306" y="143"/>
                  </a:lnTo>
                  <a:lnTo>
                    <a:pt x="316" y="128"/>
                  </a:lnTo>
                  <a:lnTo>
                    <a:pt x="321" y="122"/>
                  </a:lnTo>
                  <a:lnTo>
                    <a:pt x="322" y="112"/>
                  </a:lnTo>
                  <a:lnTo>
                    <a:pt x="324" y="104"/>
                  </a:lnTo>
                  <a:lnTo>
                    <a:pt x="325" y="94"/>
                  </a:lnTo>
                  <a:lnTo>
                    <a:pt x="325" y="94"/>
                  </a:lnTo>
                  <a:lnTo>
                    <a:pt x="324" y="84"/>
                  </a:lnTo>
                  <a:lnTo>
                    <a:pt x="322" y="74"/>
                  </a:lnTo>
                  <a:lnTo>
                    <a:pt x="321" y="64"/>
                  </a:lnTo>
                  <a:lnTo>
                    <a:pt x="317" y="56"/>
                  </a:lnTo>
                  <a:lnTo>
                    <a:pt x="312" y="46"/>
                  </a:lnTo>
                  <a:lnTo>
                    <a:pt x="306" y="40"/>
                  </a:lnTo>
                  <a:lnTo>
                    <a:pt x="299" y="32"/>
                  </a:lnTo>
                  <a:lnTo>
                    <a:pt x="293" y="25"/>
                  </a:lnTo>
                  <a:lnTo>
                    <a:pt x="285" y="20"/>
                  </a:lnTo>
                  <a:lnTo>
                    <a:pt x="276" y="15"/>
                  </a:lnTo>
                  <a:lnTo>
                    <a:pt x="257" y="7"/>
                  </a:lnTo>
                  <a:lnTo>
                    <a:pt x="235" y="2"/>
                  </a:lnTo>
                  <a:lnTo>
                    <a:pt x="211" y="0"/>
                  </a:lnTo>
                  <a:lnTo>
                    <a:pt x="211" y="0"/>
                  </a:lnTo>
                  <a:lnTo>
                    <a:pt x="186" y="2"/>
                  </a:lnTo>
                  <a:lnTo>
                    <a:pt x="163" y="7"/>
                  </a:lnTo>
                  <a:lnTo>
                    <a:pt x="152" y="10"/>
                  </a:lnTo>
                  <a:lnTo>
                    <a:pt x="141" y="15"/>
                  </a:lnTo>
                  <a:lnTo>
                    <a:pt x="131" y="22"/>
                  </a:lnTo>
                  <a:lnTo>
                    <a:pt x="123" y="28"/>
                  </a:lnTo>
                  <a:lnTo>
                    <a:pt x="113" y="35"/>
                  </a:lnTo>
                  <a:lnTo>
                    <a:pt x="106" y="43"/>
                  </a:lnTo>
                  <a:lnTo>
                    <a:pt x="98" y="51"/>
                  </a:lnTo>
                  <a:lnTo>
                    <a:pt x="93" y="61"/>
                  </a:lnTo>
                  <a:lnTo>
                    <a:pt x="88" y="72"/>
                  </a:lnTo>
                  <a:lnTo>
                    <a:pt x="85" y="84"/>
                  </a:lnTo>
                  <a:lnTo>
                    <a:pt x="83" y="97"/>
                  </a:lnTo>
                  <a:lnTo>
                    <a:pt x="82" y="110"/>
                  </a:lnTo>
                  <a:lnTo>
                    <a:pt x="82" y="110"/>
                  </a:lnTo>
                  <a:lnTo>
                    <a:pt x="83" y="122"/>
                  </a:lnTo>
                  <a:lnTo>
                    <a:pt x="85" y="133"/>
                  </a:lnTo>
                  <a:lnTo>
                    <a:pt x="86" y="143"/>
                  </a:lnTo>
                  <a:lnTo>
                    <a:pt x="91" y="153"/>
                  </a:lnTo>
                  <a:lnTo>
                    <a:pt x="100" y="171"/>
                  </a:lnTo>
                  <a:lnTo>
                    <a:pt x="111" y="187"/>
                  </a:lnTo>
                  <a:lnTo>
                    <a:pt x="111" y="187"/>
                  </a:lnTo>
                  <a:lnTo>
                    <a:pt x="91" y="194"/>
                  </a:lnTo>
                  <a:lnTo>
                    <a:pt x="72" y="203"/>
                  </a:lnTo>
                  <a:lnTo>
                    <a:pt x="54" y="217"/>
                  </a:lnTo>
                  <a:lnTo>
                    <a:pt x="36" y="231"/>
                  </a:lnTo>
                  <a:lnTo>
                    <a:pt x="21" y="249"/>
                  </a:lnTo>
                  <a:lnTo>
                    <a:pt x="14" y="259"/>
                  </a:lnTo>
                  <a:lnTo>
                    <a:pt x="10" y="269"/>
                  </a:lnTo>
                  <a:lnTo>
                    <a:pt x="5" y="279"/>
                  </a:lnTo>
                  <a:lnTo>
                    <a:pt x="1" y="290"/>
                  </a:lnTo>
                  <a:lnTo>
                    <a:pt x="0" y="302"/>
                  </a:lnTo>
                  <a:lnTo>
                    <a:pt x="0" y="315"/>
                  </a:lnTo>
                  <a:lnTo>
                    <a:pt x="0" y="315"/>
                  </a:lnTo>
                  <a:lnTo>
                    <a:pt x="1" y="328"/>
                  </a:lnTo>
                  <a:lnTo>
                    <a:pt x="3" y="341"/>
                  </a:lnTo>
                  <a:lnTo>
                    <a:pt x="8" y="354"/>
                  </a:lnTo>
                  <a:lnTo>
                    <a:pt x="13" y="365"/>
                  </a:lnTo>
                  <a:lnTo>
                    <a:pt x="19" y="377"/>
                  </a:lnTo>
                  <a:lnTo>
                    <a:pt x="28" y="387"/>
                  </a:lnTo>
                  <a:lnTo>
                    <a:pt x="36" y="395"/>
                  </a:lnTo>
                  <a:lnTo>
                    <a:pt x="46" y="403"/>
                  </a:lnTo>
                  <a:lnTo>
                    <a:pt x="57" y="411"/>
                  </a:lnTo>
                  <a:lnTo>
                    <a:pt x="68" y="418"/>
                  </a:lnTo>
                  <a:lnTo>
                    <a:pt x="80" y="423"/>
                  </a:lnTo>
                  <a:lnTo>
                    <a:pt x="95" y="428"/>
                  </a:lnTo>
                  <a:lnTo>
                    <a:pt x="108" y="431"/>
                  </a:lnTo>
                  <a:lnTo>
                    <a:pt x="123" y="433"/>
                  </a:lnTo>
                  <a:lnTo>
                    <a:pt x="137" y="434"/>
                  </a:lnTo>
                  <a:lnTo>
                    <a:pt x="154" y="436"/>
                  </a:lnTo>
                  <a:lnTo>
                    <a:pt x="154" y="436"/>
                  </a:lnTo>
                  <a:lnTo>
                    <a:pt x="180" y="434"/>
                  </a:lnTo>
                  <a:lnTo>
                    <a:pt x="195" y="431"/>
                  </a:lnTo>
                  <a:lnTo>
                    <a:pt x="209" y="428"/>
                  </a:lnTo>
                  <a:lnTo>
                    <a:pt x="226" y="423"/>
                  </a:lnTo>
                  <a:lnTo>
                    <a:pt x="240" y="418"/>
                  </a:lnTo>
                  <a:lnTo>
                    <a:pt x="255" y="410"/>
                  </a:lnTo>
                  <a:lnTo>
                    <a:pt x="270" y="400"/>
                  </a:lnTo>
                  <a:lnTo>
                    <a:pt x="270" y="400"/>
                  </a:lnTo>
                  <a:lnTo>
                    <a:pt x="281" y="410"/>
                  </a:lnTo>
                  <a:lnTo>
                    <a:pt x="294" y="416"/>
                  </a:lnTo>
                  <a:lnTo>
                    <a:pt x="309" y="421"/>
                  </a:lnTo>
                  <a:lnTo>
                    <a:pt x="321" y="424"/>
                  </a:lnTo>
                  <a:lnTo>
                    <a:pt x="342" y="426"/>
                  </a:lnTo>
                  <a:lnTo>
                    <a:pt x="350" y="426"/>
                  </a:lnTo>
                  <a:lnTo>
                    <a:pt x="391" y="426"/>
                  </a:lnTo>
                  <a:lnTo>
                    <a:pt x="391" y="426"/>
                  </a:lnTo>
                  <a:lnTo>
                    <a:pt x="396" y="426"/>
                  </a:lnTo>
                  <a:lnTo>
                    <a:pt x="401" y="424"/>
                  </a:lnTo>
                  <a:lnTo>
                    <a:pt x="402" y="421"/>
                  </a:lnTo>
                  <a:lnTo>
                    <a:pt x="404" y="418"/>
                  </a:lnTo>
                  <a:lnTo>
                    <a:pt x="416" y="388"/>
                  </a:lnTo>
                  <a:lnTo>
                    <a:pt x="416" y="388"/>
                  </a:lnTo>
                  <a:lnTo>
                    <a:pt x="417" y="385"/>
                  </a:lnTo>
                  <a:lnTo>
                    <a:pt x="417" y="382"/>
                  </a:lnTo>
                  <a:lnTo>
                    <a:pt x="416" y="380"/>
                  </a:lnTo>
                  <a:lnTo>
                    <a:pt x="416" y="380"/>
                  </a:lnTo>
                  <a:lnTo>
                    <a:pt x="411" y="379"/>
                  </a:lnTo>
                  <a:lnTo>
                    <a:pt x="407" y="379"/>
                  </a:lnTo>
                  <a:lnTo>
                    <a:pt x="389" y="379"/>
                  </a:lnTo>
                  <a:lnTo>
                    <a:pt x="389" y="379"/>
                  </a:lnTo>
                  <a:lnTo>
                    <a:pt x="375" y="377"/>
                  </a:lnTo>
                  <a:lnTo>
                    <a:pt x="361" y="374"/>
                  </a:lnTo>
                  <a:lnTo>
                    <a:pt x="352" y="367"/>
                  </a:lnTo>
                  <a:lnTo>
                    <a:pt x="343" y="362"/>
                  </a:lnTo>
                  <a:lnTo>
                    <a:pt x="337" y="356"/>
                  </a:lnTo>
                  <a:lnTo>
                    <a:pt x="332" y="351"/>
                  </a:lnTo>
                  <a:lnTo>
                    <a:pt x="327" y="344"/>
                  </a:lnTo>
                  <a:lnTo>
                    <a:pt x="327" y="344"/>
                  </a:lnTo>
                  <a:lnTo>
                    <a:pt x="343" y="328"/>
                  </a:lnTo>
                  <a:lnTo>
                    <a:pt x="355" y="316"/>
                  </a:lnTo>
                  <a:lnTo>
                    <a:pt x="375" y="289"/>
                  </a:lnTo>
                  <a:lnTo>
                    <a:pt x="375" y="289"/>
                  </a:lnTo>
                  <a:lnTo>
                    <a:pt x="391" y="264"/>
                  </a:lnTo>
                  <a:lnTo>
                    <a:pt x="399" y="249"/>
                  </a:lnTo>
                  <a:lnTo>
                    <a:pt x="399" y="249"/>
                  </a:lnTo>
                  <a:lnTo>
                    <a:pt x="404" y="243"/>
                  </a:lnTo>
                  <a:lnTo>
                    <a:pt x="409" y="238"/>
                  </a:lnTo>
                  <a:lnTo>
                    <a:pt x="414" y="235"/>
                  </a:lnTo>
                  <a:lnTo>
                    <a:pt x="420" y="233"/>
                  </a:lnTo>
                  <a:lnTo>
                    <a:pt x="435" y="233"/>
                  </a:lnTo>
                  <a:lnTo>
                    <a:pt x="435" y="233"/>
                  </a:lnTo>
                  <a:lnTo>
                    <a:pt x="438" y="233"/>
                  </a:lnTo>
                  <a:lnTo>
                    <a:pt x="442" y="231"/>
                  </a:lnTo>
                  <a:lnTo>
                    <a:pt x="445" y="228"/>
                  </a:lnTo>
                  <a:lnTo>
                    <a:pt x="447" y="225"/>
                  </a:lnTo>
                  <a:lnTo>
                    <a:pt x="460" y="197"/>
                  </a:lnTo>
                  <a:lnTo>
                    <a:pt x="460" y="197"/>
                  </a:lnTo>
                  <a:lnTo>
                    <a:pt x="461" y="190"/>
                  </a:lnTo>
                  <a:lnTo>
                    <a:pt x="460" y="187"/>
                  </a:lnTo>
                  <a:lnTo>
                    <a:pt x="455" y="187"/>
                  </a:lnTo>
                  <a:lnTo>
                    <a:pt x="452" y="187"/>
                  </a:lnTo>
                  <a:lnTo>
                    <a:pt x="452" y="187"/>
                  </a:lnTo>
                  <a:close/>
                  <a:moveTo>
                    <a:pt x="209" y="40"/>
                  </a:moveTo>
                  <a:lnTo>
                    <a:pt x="209" y="40"/>
                  </a:lnTo>
                  <a:lnTo>
                    <a:pt x="217" y="40"/>
                  </a:lnTo>
                  <a:lnTo>
                    <a:pt x="226" y="43"/>
                  </a:lnTo>
                  <a:lnTo>
                    <a:pt x="232" y="48"/>
                  </a:lnTo>
                  <a:lnTo>
                    <a:pt x="237" y="53"/>
                  </a:lnTo>
                  <a:lnTo>
                    <a:pt x="240" y="59"/>
                  </a:lnTo>
                  <a:lnTo>
                    <a:pt x="244" y="68"/>
                  </a:lnTo>
                  <a:lnTo>
                    <a:pt x="244" y="76"/>
                  </a:lnTo>
                  <a:lnTo>
                    <a:pt x="245" y="84"/>
                  </a:lnTo>
                  <a:lnTo>
                    <a:pt x="245" y="84"/>
                  </a:lnTo>
                  <a:lnTo>
                    <a:pt x="244" y="95"/>
                  </a:lnTo>
                  <a:lnTo>
                    <a:pt x="242" y="107"/>
                  </a:lnTo>
                  <a:lnTo>
                    <a:pt x="239" y="117"/>
                  </a:lnTo>
                  <a:lnTo>
                    <a:pt x="234" y="127"/>
                  </a:lnTo>
                  <a:lnTo>
                    <a:pt x="226" y="135"/>
                  </a:lnTo>
                  <a:lnTo>
                    <a:pt x="217" y="143"/>
                  </a:lnTo>
                  <a:lnTo>
                    <a:pt x="208" y="151"/>
                  </a:lnTo>
                  <a:lnTo>
                    <a:pt x="196" y="158"/>
                  </a:lnTo>
                  <a:lnTo>
                    <a:pt x="196" y="158"/>
                  </a:lnTo>
                  <a:lnTo>
                    <a:pt x="185" y="138"/>
                  </a:lnTo>
                  <a:lnTo>
                    <a:pt x="177" y="122"/>
                  </a:lnTo>
                  <a:lnTo>
                    <a:pt x="172" y="104"/>
                  </a:lnTo>
                  <a:lnTo>
                    <a:pt x="170" y="84"/>
                  </a:lnTo>
                  <a:lnTo>
                    <a:pt x="170" y="84"/>
                  </a:lnTo>
                  <a:lnTo>
                    <a:pt x="170" y="76"/>
                  </a:lnTo>
                  <a:lnTo>
                    <a:pt x="172" y="68"/>
                  </a:lnTo>
                  <a:lnTo>
                    <a:pt x="175" y="59"/>
                  </a:lnTo>
                  <a:lnTo>
                    <a:pt x="180" y="53"/>
                  </a:lnTo>
                  <a:lnTo>
                    <a:pt x="186" y="48"/>
                  </a:lnTo>
                  <a:lnTo>
                    <a:pt x="193" y="43"/>
                  </a:lnTo>
                  <a:lnTo>
                    <a:pt x="201" y="40"/>
                  </a:lnTo>
                  <a:lnTo>
                    <a:pt x="209" y="40"/>
                  </a:lnTo>
                  <a:lnTo>
                    <a:pt x="209" y="40"/>
                  </a:lnTo>
                  <a:close/>
                  <a:moveTo>
                    <a:pt x="167" y="388"/>
                  </a:moveTo>
                  <a:lnTo>
                    <a:pt x="167" y="388"/>
                  </a:lnTo>
                  <a:lnTo>
                    <a:pt x="150" y="387"/>
                  </a:lnTo>
                  <a:lnTo>
                    <a:pt x="136" y="383"/>
                  </a:lnTo>
                  <a:lnTo>
                    <a:pt x="123" y="377"/>
                  </a:lnTo>
                  <a:lnTo>
                    <a:pt x="113" y="367"/>
                  </a:lnTo>
                  <a:lnTo>
                    <a:pt x="103" y="357"/>
                  </a:lnTo>
                  <a:lnTo>
                    <a:pt x="96" y="343"/>
                  </a:lnTo>
                  <a:lnTo>
                    <a:pt x="93" y="328"/>
                  </a:lnTo>
                  <a:lnTo>
                    <a:pt x="91" y="310"/>
                  </a:lnTo>
                  <a:lnTo>
                    <a:pt x="91" y="310"/>
                  </a:lnTo>
                  <a:lnTo>
                    <a:pt x="93" y="298"/>
                  </a:lnTo>
                  <a:lnTo>
                    <a:pt x="95" y="287"/>
                  </a:lnTo>
                  <a:lnTo>
                    <a:pt x="100" y="275"/>
                  </a:lnTo>
                  <a:lnTo>
                    <a:pt x="104" y="264"/>
                  </a:lnTo>
                  <a:lnTo>
                    <a:pt x="111" y="253"/>
                  </a:lnTo>
                  <a:lnTo>
                    <a:pt x="119" y="244"/>
                  </a:lnTo>
                  <a:lnTo>
                    <a:pt x="127" y="235"/>
                  </a:lnTo>
                  <a:lnTo>
                    <a:pt x="137" y="228"/>
                  </a:lnTo>
                  <a:lnTo>
                    <a:pt x="231" y="357"/>
                  </a:lnTo>
                  <a:lnTo>
                    <a:pt x="231" y="357"/>
                  </a:lnTo>
                  <a:lnTo>
                    <a:pt x="217" y="369"/>
                  </a:lnTo>
                  <a:lnTo>
                    <a:pt x="203" y="380"/>
                  </a:lnTo>
                  <a:lnTo>
                    <a:pt x="195" y="383"/>
                  </a:lnTo>
                  <a:lnTo>
                    <a:pt x="186" y="387"/>
                  </a:lnTo>
                  <a:lnTo>
                    <a:pt x="177" y="388"/>
                  </a:lnTo>
                  <a:lnTo>
                    <a:pt x="167" y="388"/>
                  </a:lnTo>
                  <a:lnTo>
                    <a:pt x="167"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6" name="Freeform 21"/>
            <p:cNvSpPr>
              <a:spLocks noEditPoints="1"/>
            </p:cNvSpPr>
            <p:nvPr/>
          </p:nvSpPr>
          <p:spPr bwMode="auto">
            <a:xfrm>
              <a:off x="8136319" y="5909749"/>
              <a:ext cx="269362" cy="266388"/>
            </a:xfrm>
            <a:custGeom>
              <a:avLst/>
              <a:gdLst>
                <a:gd name="T0" fmla="*/ 878 w 905"/>
                <a:gd name="T1" fmla="*/ 818 h 895"/>
                <a:gd name="T2" fmla="*/ 865 w 905"/>
                <a:gd name="T3" fmla="*/ 818 h 895"/>
                <a:gd name="T4" fmla="*/ 845 w 905"/>
                <a:gd name="T5" fmla="*/ 813 h 895"/>
                <a:gd name="T6" fmla="*/ 830 w 905"/>
                <a:gd name="T7" fmla="*/ 803 h 895"/>
                <a:gd name="T8" fmla="*/ 820 w 905"/>
                <a:gd name="T9" fmla="*/ 787 h 895"/>
                <a:gd name="T10" fmla="*/ 817 w 905"/>
                <a:gd name="T11" fmla="*/ 776 h 895"/>
                <a:gd name="T12" fmla="*/ 549 w 905"/>
                <a:gd name="T13" fmla="*/ 11 h 895"/>
                <a:gd name="T14" fmla="*/ 542 w 905"/>
                <a:gd name="T15" fmla="*/ 3 h 895"/>
                <a:gd name="T16" fmla="*/ 532 w 905"/>
                <a:gd name="T17" fmla="*/ 0 h 895"/>
                <a:gd name="T18" fmla="*/ 429 w 905"/>
                <a:gd name="T19" fmla="*/ 0 h 895"/>
                <a:gd name="T20" fmla="*/ 419 w 905"/>
                <a:gd name="T21" fmla="*/ 3 h 895"/>
                <a:gd name="T22" fmla="*/ 413 w 905"/>
                <a:gd name="T23" fmla="*/ 11 h 895"/>
                <a:gd name="T24" fmla="*/ 92 w 905"/>
                <a:gd name="T25" fmla="*/ 779 h 895"/>
                <a:gd name="T26" fmla="*/ 80 w 905"/>
                <a:gd name="T27" fmla="*/ 798 h 895"/>
                <a:gd name="T28" fmla="*/ 64 w 905"/>
                <a:gd name="T29" fmla="*/ 812 h 895"/>
                <a:gd name="T30" fmla="*/ 51 w 905"/>
                <a:gd name="T31" fmla="*/ 816 h 895"/>
                <a:gd name="T32" fmla="*/ 21 w 905"/>
                <a:gd name="T33" fmla="*/ 818 h 895"/>
                <a:gd name="T34" fmla="*/ 13 w 905"/>
                <a:gd name="T35" fmla="*/ 818 h 895"/>
                <a:gd name="T36" fmla="*/ 3 w 905"/>
                <a:gd name="T37" fmla="*/ 823 h 895"/>
                <a:gd name="T38" fmla="*/ 0 w 905"/>
                <a:gd name="T39" fmla="*/ 831 h 895"/>
                <a:gd name="T40" fmla="*/ 0 w 905"/>
                <a:gd name="T41" fmla="*/ 882 h 895"/>
                <a:gd name="T42" fmla="*/ 3 w 905"/>
                <a:gd name="T43" fmla="*/ 892 h 895"/>
                <a:gd name="T44" fmla="*/ 13 w 905"/>
                <a:gd name="T45" fmla="*/ 895 h 895"/>
                <a:gd name="T46" fmla="*/ 264 w 905"/>
                <a:gd name="T47" fmla="*/ 895 h 895"/>
                <a:gd name="T48" fmla="*/ 274 w 905"/>
                <a:gd name="T49" fmla="*/ 890 h 895"/>
                <a:gd name="T50" fmla="*/ 277 w 905"/>
                <a:gd name="T51" fmla="*/ 882 h 895"/>
                <a:gd name="T52" fmla="*/ 277 w 905"/>
                <a:gd name="T53" fmla="*/ 831 h 895"/>
                <a:gd name="T54" fmla="*/ 274 w 905"/>
                <a:gd name="T55" fmla="*/ 821 h 895"/>
                <a:gd name="T56" fmla="*/ 264 w 905"/>
                <a:gd name="T57" fmla="*/ 818 h 895"/>
                <a:gd name="T58" fmla="*/ 236 w 905"/>
                <a:gd name="T59" fmla="*/ 818 h 895"/>
                <a:gd name="T60" fmla="*/ 211 w 905"/>
                <a:gd name="T61" fmla="*/ 816 h 895"/>
                <a:gd name="T62" fmla="*/ 198 w 905"/>
                <a:gd name="T63" fmla="*/ 812 h 895"/>
                <a:gd name="T64" fmla="*/ 190 w 905"/>
                <a:gd name="T65" fmla="*/ 800 h 895"/>
                <a:gd name="T66" fmla="*/ 188 w 905"/>
                <a:gd name="T67" fmla="*/ 792 h 895"/>
                <a:gd name="T68" fmla="*/ 197 w 905"/>
                <a:gd name="T69" fmla="*/ 762 h 895"/>
                <a:gd name="T70" fmla="*/ 537 w 905"/>
                <a:gd name="T71" fmla="*/ 641 h 895"/>
                <a:gd name="T72" fmla="*/ 560 w 905"/>
                <a:gd name="T73" fmla="*/ 710 h 895"/>
                <a:gd name="T74" fmla="*/ 573 w 905"/>
                <a:gd name="T75" fmla="*/ 749 h 895"/>
                <a:gd name="T76" fmla="*/ 583 w 905"/>
                <a:gd name="T77" fmla="*/ 782 h 895"/>
                <a:gd name="T78" fmla="*/ 585 w 905"/>
                <a:gd name="T79" fmla="*/ 795 h 895"/>
                <a:gd name="T80" fmla="*/ 583 w 905"/>
                <a:gd name="T81" fmla="*/ 803 h 895"/>
                <a:gd name="T82" fmla="*/ 578 w 905"/>
                <a:gd name="T83" fmla="*/ 810 h 895"/>
                <a:gd name="T84" fmla="*/ 568 w 905"/>
                <a:gd name="T85" fmla="*/ 816 h 895"/>
                <a:gd name="T86" fmla="*/ 553 w 905"/>
                <a:gd name="T87" fmla="*/ 818 h 895"/>
                <a:gd name="T88" fmla="*/ 524 w 905"/>
                <a:gd name="T89" fmla="*/ 818 h 895"/>
                <a:gd name="T90" fmla="*/ 514 w 905"/>
                <a:gd name="T91" fmla="*/ 823 h 895"/>
                <a:gd name="T92" fmla="*/ 511 w 905"/>
                <a:gd name="T93" fmla="*/ 831 h 895"/>
                <a:gd name="T94" fmla="*/ 511 w 905"/>
                <a:gd name="T95" fmla="*/ 882 h 895"/>
                <a:gd name="T96" fmla="*/ 514 w 905"/>
                <a:gd name="T97" fmla="*/ 890 h 895"/>
                <a:gd name="T98" fmla="*/ 524 w 905"/>
                <a:gd name="T99" fmla="*/ 895 h 895"/>
                <a:gd name="T100" fmla="*/ 892 w 905"/>
                <a:gd name="T101" fmla="*/ 895 h 895"/>
                <a:gd name="T102" fmla="*/ 902 w 905"/>
                <a:gd name="T103" fmla="*/ 892 h 895"/>
                <a:gd name="T104" fmla="*/ 905 w 905"/>
                <a:gd name="T105" fmla="*/ 882 h 895"/>
                <a:gd name="T106" fmla="*/ 905 w 905"/>
                <a:gd name="T107" fmla="*/ 831 h 895"/>
                <a:gd name="T108" fmla="*/ 902 w 905"/>
                <a:gd name="T109" fmla="*/ 823 h 895"/>
                <a:gd name="T110" fmla="*/ 892 w 905"/>
                <a:gd name="T111" fmla="*/ 818 h 895"/>
                <a:gd name="T112" fmla="*/ 272 w 905"/>
                <a:gd name="T113" fmla="*/ 573 h 895"/>
                <a:gd name="T114" fmla="*/ 517 w 905"/>
                <a:gd name="T115" fmla="*/ 573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95">
                  <a:moveTo>
                    <a:pt x="892" y="818"/>
                  </a:moveTo>
                  <a:lnTo>
                    <a:pt x="878" y="818"/>
                  </a:lnTo>
                  <a:lnTo>
                    <a:pt x="878" y="818"/>
                  </a:lnTo>
                  <a:lnTo>
                    <a:pt x="865" y="818"/>
                  </a:lnTo>
                  <a:lnTo>
                    <a:pt x="853" y="816"/>
                  </a:lnTo>
                  <a:lnTo>
                    <a:pt x="845" y="813"/>
                  </a:lnTo>
                  <a:lnTo>
                    <a:pt x="837" y="810"/>
                  </a:lnTo>
                  <a:lnTo>
                    <a:pt x="830" y="803"/>
                  </a:lnTo>
                  <a:lnTo>
                    <a:pt x="825" y="795"/>
                  </a:lnTo>
                  <a:lnTo>
                    <a:pt x="820" y="787"/>
                  </a:lnTo>
                  <a:lnTo>
                    <a:pt x="817" y="776"/>
                  </a:lnTo>
                  <a:lnTo>
                    <a:pt x="817" y="776"/>
                  </a:lnTo>
                  <a:lnTo>
                    <a:pt x="549" y="11"/>
                  </a:lnTo>
                  <a:lnTo>
                    <a:pt x="549" y="11"/>
                  </a:lnTo>
                  <a:lnTo>
                    <a:pt x="547" y="6"/>
                  </a:lnTo>
                  <a:lnTo>
                    <a:pt x="542" y="3"/>
                  </a:lnTo>
                  <a:lnTo>
                    <a:pt x="537" y="1"/>
                  </a:lnTo>
                  <a:lnTo>
                    <a:pt x="532" y="0"/>
                  </a:lnTo>
                  <a:lnTo>
                    <a:pt x="429" y="0"/>
                  </a:lnTo>
                  <a:lnTo>
                    <a:pt x="429" y="0"/>
                  </a:lnTo>
                  <a:lnTo>
                    <a:pt x="424" y="1"/>
                  </a:lnTo>
                  <a:lnTo>
                    <a:pt x="419" y="3"/>
                  </a:lnTo>
                  <a:lnTo>
                    <a:pt x="416" y="6"/>
                  </a:lnTo>
                  <a:lnTo>
                    <a:pt x="413" y="11"/>
                  </a:lnTo>
                  <a:lnTo>
                    <a:pt x="92" y="779"/>
                  </a:lnTo>
                  <a:lnTo>
                    <a:pt x="92" y="779"/>
                  </a:lnTo>
                  <a:lnTo>
                    <a:pt x="87" y="790"/>
                  </a:lnTo>
                  <a:lnTo>
                    <a:pt x="80" y="798"/>
                  </a:lnTo>
                  <a:lnTo>
                    <a:pt x="74" y="805"/>
                  </a:lnTo>
                  <a:lnTo>
                    <a:pt x="64" y="812"/>
                  </a:lnTo>
                  <a:lnTo>
                    <a:pt x="64" y="812"/>
                  </a:lnTo>
                  <a:lnTo>
                    <a:pt x="51" y="816"/>
                  </a:lnTo>
                  <a:lnTo>
                    <a:pt x="38" y="818"/>
                  </a:lnTo>
                  <a:lnTo>
                    <a:pt x="21" y="818"/>
                  </a:lnTo>
                  <a:lnTo>
                    <a:pt x="13" y="818"/>
                  </a:lnTo>
                  <a:lnTo>
                    <a:pt x="13" y="818"/>
                  </a:lnTo>
                  <a:lnTo>
                    <a:pt x="8" y="820"/>
                  </a:lnTo>
                  <a:lnTo>
                    <a:pt x="3" y="823"/>
                  </a:lnTo>
                  <a:lnTo>
                    <a:pt x="2" y="826"/>
                  </a:lnTo>
                  <a:lnTo>
                    <a:pt x="0" y="831"/>
                  </a:lnTo>
                  <a:lnTo>
                    <a:pt x="0" y="882"/>
                  </a:lnTo>
                  <a:lnTo>
                    <a:pt x="0" y="882"/>
                  </a:lnTo>
                  <a:lnTo>
                    <a:pt x="2" y="887"/>
                  </a:lnTo>
                  <a:lnTo>
                    <a:pt x="3" y="892"/>
                  </a:lnTo>
                  <a:lnTo>
                    <a:pt x="8" y="893"/>
                  </a:lnTo>
                  <a:lnTo>
                    <a:pt x="13" y="895"/>
                  </a:lnTo>
                  <a:lnTo>
                    <a:pt x="264" y="895"/>
                  </a:lnTo>
                  <a:lnTo>
                    <a:pt x="264" y="895"/>
                  </a:lnTo>
                  <a:lnTo>
                    <a:pt x="269" y="893"/>
                  </a:lnTo>
                  <a:lnTo>
                    <a:pt x="274" y="890"/>
                  </a:lnTo>
                  <a:lnTo>
                    <a:pt x="275" y="887"/>
                  </a:lnTo>
                  <a:lnTo>
                    <a:pt x="277" y="882"/>
                  </a:lnTo>
                  <a:lnTo>
                    <a:pt x="277" y="831"/>
                  </a:lnTo>
                  <a:lnTo>
                    <a:pt x="277" y="831"/>
                  </a:lnTo>
                  <a:lnTo>
                    <a:pt x="275" y="826"/>
                  </a:lnTo>
                  <a:lnTo>
                    <a:pt x="274" y="821"/>
                  </a:lnTo>
                  <a:lnTo>
                    <a:pt x="269" y="820"/>
                  </a:lnTo>
                  <a:lnTo>
                    <a:pt x="264" y="818"/>
                  </a:lnTo>
                  <a:lnTo>
                    <a:pt x="236" y="818"/>
                  </a:lnTo>
                  <a:lnTo>
                    <a:pt x="236" y="818"/>
                  </a:lnTo>
                  <a:lnTo>
                    <a:pt x="218" y="818"/>
                  </a:lnTo>
                  <a:lnTo>
                    <a:pt x="211" y="816"/>
                  </a:lnTo>
                  <a:lnTo>
                    <a:pt x="203" y="815"/>
                  </a:lnTo>
                  <a:lnTo>
                    <a:pt x="198" y="812"/>
                  </a:lnTo>
                  <a:lnTo>
                    <a:pt x="193" y="807"/>
                  </a:lnTo>
                  <a:lnTo>
                    <a:pt x="190" y="800"/>
                  </a:lnTo>
                  <a:lnTo>
                    <a:pt x="188" y="792"/>
                  </a:lnTo>
                  <a:lnTo>
                    <a:pt x="188" y="792"/>
                  </a:lnTo>
                  <a:lnTo>
                    <a:pt x="190" y="779"/>
                  </a:lnTo>
                  <a:lnTo>
                    <a:pt x="197" y="762"/>
                  </a:lnTo>
                  <a:lnTo>
                    <a:pt x="246" y="641"/>
                  </a:lnTo>
                  <a:lnTo>
                    <a:pt x="537" y="641"/>
                  </a:lnTo>
                  <a:lnTo>
                    <a:pt x="537" y="641"/>
                  </a:lnTo>
                  <a:lnTo>
                    <a:pt x="560" y="710"/>
                  </a:lnTo>
                  <a:lnTo>
                    <a:pt x="573" y="749"/>
                  </a:lnTo>
                  <a:lnTo>
                    <a:pt x="573" y="749"/>
                  </a:lnTo>
                  <a:lnTo>
                    <a:pt x="583" y="782"/>
                  </a:lnTo>
                  <a:lnTo>
                    <a:pt x="583" y="782"/>
                  </a:lnTo>
                  <a:lnTo>
                    <a:pt x="583" y="789"/>
                  </a:lnTo>
                  <a:lnTo>
                    <a:pt x="585" y="795"/>
                  </a:lnTo>
                  <a:lnTo>
                    <a:pt x="585" y="795"/>
                  </a:lnTo>
                  <a:lnTo>
                    <a:pt x="583" y="803"/>
                  </a:lnTo>
                  <a:lnTo>
                    <a:pt x="581" y="807"/>
                  </a:lnTo>
                  <a:lnTo>
                    <a:pt x="578" y="810"/>
                  </a:lnTo>
                  <a:lnTo>
                    <a:pt x="575" y="813"/>
                  </a:lnTo>
                  <a:lnTo>
                    <a:pt x="568" y="816"/>
                  </a:lnTo>
                  <a:lnTo>
                    <a:pt x="562" y="818"/>
                  </a:lnTo>
                  <a:lnTo>
                    <a:pt x="553" y="818"/>
                  </a:lnTo>
                  <a:lnTo>
                    <a:pt x="524" y="818"/>
                  </a:lnTo>
                  <a:lnTo>
                    <a:pt x="524" y="818"/>
                  </a:lnTo>
                  <a:lnTo>
                    <a:pt x="517" y="820"/>
                  </a:lnTo>
                  <a:lnTo>
                    <a:pt x="514" y="823"/>
                  </a:lnTo>
                  <a:lnTo>
                    <a:pt x="511" y="826"/>
                  </a:lnTo>
                  <a:lnTo>
                    <a:pt x="511" y="831"/>
                  </a:lnTo>
                  <a:lnTo>
                    <a:pt x="511" y="882"/>
                  </a:lnTo>
                  <a:lnTo>
                    <a:pt x="511" y="882"/>
                  </a:lnTo>
                  <a:lnTo>
                    <a:pt x="511" y="887"/>
                  </a:lnTo>
                  <a:lnTo>
                    <a:pt x="514" y="890"/>
                  </a:lnTo>
                  <a:lnTo>
                    <a:pt x="517" y="893"/>
                  </a:lnTo>
                  <a:lnTo>
                    <a:pt x="524" y="895"/>
                  </a:lnTo>
                  <a:lnTo>
                    <a:pt x="892" y="895"/>
                  </a:lnTo>
                  <a:lnTo>
                    <a:pt x="892" y="895"/>
                  </a:lnTo>
                  <a:lnTo>
                    <a:pt x="897" y="893"/>
                  </a:lnTo>
                  <a:lnTo>
                    <a:pt x="902" y="892"/>
                  </a:lnTo>
                  <a:lnTo>
                    <a:pt x="905" y="887"/>
                  </a:lnTo>
                  <a:lnTo>
                    <a:pt x="905" y="882"/>
                  </a:lnTo>
                  <a:lnTo>
                    <a:pt x="905" y="831"/>
                  </a:lnTo>
                  <a:lnTo>
                    <a:pt x="905" y="831"/>
                  </a:lnTo>
                  <a:lnTo>
                    <a:pt x="905" y="826"/>
                  </a:lnTo>
                  <a:lnTo>
                    <a:pt x="902" y="823"/>
                  </a:lnTo>
                  <a:lnTo>
                    <a:pt x="897" y="820"/>
                  </a:lnTo>
                  <a:lnTo>
                    <a:pt x="892" y="818"/>
                  </a:lnTo>
                  <a:lnTo>
                    <a:pt x="892" y="818"/>
                  </a:lnTo>
                  <a:close/>
                  <a:moveTo>
                    <a:pt x="272" y="573"/>
                  </a:moveTo>
                  <a:lnTo>
                    <a:pt x="413" y="226"/>
                  </a:lnTo>
                  <a:lnTo>
                    <a:pt x="517" y="573"/>
                  </a:lnTo>
                  <a:lnTo>
                    <a:pt x="272" y="5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grpSp>
      <p:sp>
        <p:nvSpPr>
          <p:cNvPr id="2" name="Titel 1"/>
          <p:cNvSpPr>
            <a:spLocks noGrp="1"/>
          </p:cNvSpPr>
          <p:nvPr>
            <p:ph type="ctrTitle" hasCustomPrompt="1"/>
          </p:nvPr>
        </p:nvSpPr>
        <p:spPr>
          <a:xfrm>
            <a:off x="266069" y="1777741"/>
            <a:ext cx="11659866" cy="889793"/>
          </a:xfrm>
        </p:spPr>
        <p:txBody>
          <a:bodyPr anchor="b"/>
          <a:lstStyle>
            <a:lvl1pPr algn="ctr">
              <a:lnSpc>
                <a:spcPts val="6802"/>
              </a:lnSpc>
              <a:defRPr sz="6802">
                <a:solidFill>
                  <a:schemeClr val="bg1"/>
                </a:solidFill>
              </a:defRPr>
            </a:lvl1pPr>
          </a:lstStyle>
          <a:p>
            <a:r>
              <a:rPr lang="en-GB"/>
              <a:t>Presentation title</a:t>
            </a:r>
          </a:p>
        </p:txBody>
      </p:sp>
      <p:sp>
        <p:nvSpPr>
          <p:cNvPr id="3" name="Untertitel 2"/>
          <p:cNvSpPr>
            <a:spLocks noGrp="1"/>
          </p:cNvSpPr>
          <p:nvPr>
            <p:ph type="subTitle" idx="1" hasCustomPrompt="1"/>
          </p:nvPr>
        </p:nvSpPr>
        <p:spPr>
          <a:xfrm>
            <a:off x="266069" y="2598975"/>
            <a:ext cx="11659866" cy="767665"/>
          </a:xfrm>
        </p:spPr>
        <p:txBody>
          <a:bodyPr/>
          <a:lstStyle>
            <a:lvl1pPr marL="0" indent="0" algn="ctr">
              <a:lnSpc>
                <a:spcPts val="5895"/>
              </a:lnSpc>
              <a:buNone/>
              <a:defRPr sz="4988">
                <a:solidFill>
                  <a:schemeClr val="bg1"/>
                </a:solidFill>
                <a:latin typeface="CA Sans Light" pitchFamily="50" charset="0"/>
              </a:defRPr>
            </a:lvl1pPr>
            <a:lvl2pPr marL="472974" indent="0" algn="ctr">
              <a:buNone/>
              <a:defRPr>
                <a:solidFill>
                  <a:schemeClr val="tx1">
                    <a:tint val="75000"/>
                  </a:schemeClr>
                </a:solidFill>
              </a:defRPr>
            </a:lvl2pPr>
            <a:lvl3pPr marL="945947" indent="0" algn="ctr">
              <a:buNone/>
              <a:defRPr>
                <a:solidFill>
                  <a:schemeClr val="tx1">
                    <a:tint val="75000"/>
                  </a:schemeClr>
                </a:solidFill>
              </a:defRPr>
            </a:lvl3pPr>
            <a:lvl4pPr marL="1418921" indent="0" algn="ctr">
              <a:buNone/>
              <a:defRPr>
                <a:solidFill>
                  <a:schemeClr val="tx1">
                    <a:tint val="75000"/>
                  </a:schemeClr>
                </a:solidFill>
              </a:defRPr>
            </a:lvl4pPr>
            <a:lvl5pPr marL="1891895" indent="0" algn="ctr">
              <a:buNone/>
              <a:defRPr>
                <a:solidFill>
                  <a:schemeClr val="tx1">
                    <a:tint val="75000"/>
                  </a:schemeClr>
                </a:solidFill>
              </a:defRPr>
            </a:lvl5pPr>
            <a:lvl6pPr marL="2364869" indent="0" algn="ctr">
              <a:buNone/>
              <a:defRPr>
                <a:solidFill>
                  <a:schemeClr val="tx1">
                    <a:tint val="75000"/>
                  </a:schemeClr>
                </a:solidFill>
              </a:defRPr>
            </a:lvl6pPr>
            <a:lvl7pPr marL="2837842" indent="0" algn="ctr">
              <a:buNone/>
              <a:defRPr>
                <a:solidFill>
                  <a:schemeClr val="tx1">
                    <a:tint val="75000"/>
                  </a:schemeClr>
                </a:solidFill>
              </a:defRPr>
            </a:lvl7pPr>
            <a:lvl8pPr marL="3310816" indent="0" algn="ctr">
              <a:buNone/>
              <a:defRPr>
                <a:solidFill>
                  <a:schemeClr val="tx1">
                    <a:tint val="75000"/>
                  </a:schemeClr>
                </a:solidFill>
              </a:defRPr>
            </a:lvl8pPr>
            <a:lvl9pPr marL="3783790" indent="0" algn="ctr">
              <a:buNone/>
              <a:defRPr>
                <a:solidFill>
                  <a:schemeClr val="tx1">
                    <a:tint val="75000"/>
                  </a:schemeClr>
                </a:solidFill>
              </a:defRPr>
            </a:lvl9pPr>
          </a:lstStyle>
          <a:p>
            <a:r>
              <a:rPr lang="en-GB"/>
              <a:t>Presentation sub-title</a:t>
            </a:r>
          </a:p>
        </p:txBody>
      </p:sp>
      <p:sp>
        <p:nvSpPr>
          <p:cNvPr id="9" name="Textplatzhalter 8"/>
          <p:cNvSpPr>
            <a:spLocks noGrp="1"/>
          </p:cNvSpPr>
          <p:nvPr>
            <p:ph type="body" sz="quarter" idx="10" hasCustomPrompt="1"/>
          </p:nvPr>
        </p:nvSpPr>
        <p:spPr>
          <a:xfrm>
            <a:off x="266069" y="3827118"/>
            <a:ext cx="11659866" cy="192360"/>
          </a:xfrm>
        </p:spPr>
        <p:txBody>
          <a:bodyPr/>
          <a:lstStyle>
            <a:lvl1pPr marL="0" indent="0" algn="ctr">
              <a:lnSpc>
                <a:spcPts val="1542"/>
              </a:lnSpc>
              <a:buNone/>
              <a:defRPr sz="1270" cap="all" spc="290" baseline="0">
                <a:solidFill>
                  <a:schemeClr val="bg1"/>
                </a:solidFill>
                <a:latin typeface="+mn-lt"/>
              </a:defRPr>
            </a:lvl1pPr>
            <a:lvl2pPr>
              <a:defRPr sz="1360" cap="all">
                <a:latin typeface="+mn-lt"/>
              </a:defRPr>
            </a:lvl2pPr>
            <a:lvl3pPr>
              <a:defRPr sz="1360" cap="all">
                <a:latin typeface="+mn-lt"/>
              </a:defRPr>
            </a:lvl3pPr>
            <a:lvl4pPr>
              <a:defRPr sz="1360" cap="all">
                <a:latin typeface="+mn-lt"/>
              </a:defRPr>
            </a:lvl4pPr>
            <a:lvl5pPr>
              <a:defRPr sz="1360" cap="all">
                <a:latin typeface="+mn-lt"/>
              </a:defRPr>
            </a:lvl5pPr>
          </a:lstStyle>
          <a:p>
            <a:r>
              <a:rPr lang="en-GB"/>
              <a:t>DD Month </a:t>
            </a:r>
            <a:r>
              <a:rPr lang="en-GB" err="1"/>
              <a:t>yyyy</a:t>
            </a:r>
            <a:r>
              <a:rPr lang="en-GB"/>
              <a:t> location</a:t>
            </a:r>
          </a:p>
        </p:txBody>
      </p:sp>
      <p:sp>
        <p:nvSpPr>
          <p:cNvPr id="12" name="Textplatzhalter 8"/>
          <p:cNvSpPr>
            <a:spLocks noGrp="1"/>
          </p:cNvSpPr>
          <p:nvPr>
            <p:ph type="body" sz="quarter" idx="11" hasCustomPrompt="1"/>
          </p:nvPr>
        </p:nvSpPr>
        <p:spPr>
          <a:xfrm>
            <a:off x="266069" y="4024849"/>
            <a:ext cx="11659866" cy="192360"/>
          </a:xfrm>
        </p:spPr>
        <p:txBody>
          <a:bodyPr/>
          <a:lstStyle>
            <a:lvl1pPr marL="0" indent="0" algn="ctr">
              <a:lnSpc>
                <a:spcPts val="1542"/>
              </a:lnSpc>
              <a:buNone/>
              <a:defRPr sz="1270" cap="all" spc="290" baseline="0">
                <a:solidFill>
                  <a:schemeClr val="bg1"/>
                </a:solidFill>
                <a:latin typeface="+mn-lt"/>
              </a:defRPr>
            </a:lvl1pPr>
            <a:lvl2pPr>
              <a:defRPr sz="1360" cap="all">
                <a:latin typeface="+mn-lt"/>
              </a:defRPr>
            </a:lvl2pPr>
            <a:lvl3pPr>
              <a:defRPr sz="1360" cap="all">
                <a:latin typeface="+mn-lt"/>
              </a:defRPr>
            </a:lvl3pPr>
            <a:lvl4pPr>
              <a:defRPr sz="1360" cap="all">
                <a:latin typeface="+mn-lt"/>
              </a:defRPr>
            </a:lvl4pPr>
            <a:lvl5pPr>
              <a:defRPr sz="1360" cap="all">
                <a:latin typeface="+mn-lt"/>
              </a:defRPr>
            </a:lvl5pPr>
          </a:lstStyle>
          <a:p>
            <a:r>
              <a:rPr lang="en-GB"/>
              <a:t>lecturer</a:t>
            </a:r>
          </a:p>
        </p:txBody>
      </p:sp>
    </p:spTree>
    <p:extLst>
      <p:ext uri="{BB962C8B-B14F-4D97-AF65-F5344CB8AC3E}">
        <p14:creationId xmlns:p14="http://schemas.microsoft.com/office/powerpoint/2010/main" val="1709024101"/>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231378053"/>
              </p:ext>
            </p:extLst>
          </p:nvPr>
        </p:nvGraphicFramePr>
        <p:xfrm>
          <a:off x="1812" y="1443"/>
          <a:ext cx="1809" cy="143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kt 7" hidden="1"/>
                      <p:cNvPicPr/>
                      <p:nvPr/>
                    </p:nvPicPr>
                    <p:blipFill>
                      <a:blip r:embed="rId4"/>
                      <a:stretch>
                        <a:fillRect/>
                      </a:stretch>
                    </p:blipFill>
                    <p:spPr>
                      <a:xfrm>
                        <a:off x="1812" y="1443"/>
                        <a:ext cx="1809" cy="1439"/>
                      </a:xfrm>
                      <a:prstGeom prst="rect">
                        <a:avLst/>
                      </a:prstGeom>
                    </p:spPr>
                  </p:pic>
                </p:oleObj>
              </mc:Fallback>
            </mc:AlternateContent>
          </a:graphicData>
        </a:graphic>
      </p:graphicFrame>
      <p:sp>
        <p:nvSpPr>
          <p:cNvPr id="7" name="Rechteck 6"/>
          <p:cNvSpPr/>
          <p:nvPr userDrawn="1"/>
        </p:nvSpPr>
        <p:spPr>
          <a:xfrm>
            <a:off x="1" y="6470680"/>
            <a:ext cx="12192000" cy="387320"/>
          </a:xfrm>
          <a:prstGeom prst="rect">
            <a:avLst/>
          </a:prstGeom>
          <a:solidFill>
            <a:srgbClr val="D5D4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904"/>
          </a:p>
        </p:txBody>
      </p:sp>
      <p:sp>
        <p:nvSpPr>
          <p:cNvPr id="2" name="Titel 1"/>
          <p:cNvSpPr>
            <a:spLocks noGrp="1"/>
          </p:cNvSpPr>
          <p:nvPr>
            <p:ph type="title" hasCustomPrompt="1"/>
          </p:nvPr>
        </p:nvSpPr>
        <p:spPr>
          <a:xfrm>
            <a:off x="259913" y="143890"/>
            <a:ext cx="11666020" cy="418726"/>
          </a:xfrm>
        </p:spPr>
        <p:txBody>
          <a:bodyPr/>
          <a:lstStyle>
            <a:lvl1pPr>
              <a:lnSpc>
                <a:spcPts val="3265"/>
              </a:lnSpc>
              <a:defRPr/>
            </a:lvl1pPr>
          </a:lstStyle>
          <a:p>
            <a:r>
              <a:rPr lang="en-GB"/>
              <a:t>Content</a:t>
            </a:r>
          </a:p>
        </p:txBody>
      </p:sp>
      <p:grpSp>
        <p:nvGrpSpPr>
          <p:cNvPr id="11" name="Gruppieren 10"/>
          <p:cNvGrpSpPr>
            <a:grpSpLocks noChangeAspect="1"/>
          </p:cNvGrpSpPr>
          <p:nvPr userDrawn="1"/>
        </p:nvGrpSpPr>
        <p:grpSpPr>
          <a:xfrm>
            <a:off x="11522251" y="6541937"/>
            <a:ext cx="401810" cy="244888"/>
            <a:chOff x="7680842" y="5709958"/>
            <a:chExt cx="884790" cy="677863"/>
          </a:xfrm>
          <a:solidFill>
            <a:schemeClr val="bg1"/>
          </a:solidFill>
        </p:grpSpPr>
        <p:sp>
          <p:nvSpPr>
            <p:cNvPr id="12" name="Freeform 17"/>
            <p:cNvSpPr>
              <a:spLocks noEditPoints="1"/>
            </p:cNvSpPr>
            <p:nvPr/>
          </p:nvSpPr>
          <p:spPr bwMode="auto">
            <a:xfrm>
              <a:off x="7680842" y="5709958"/>
              <a:ext cx="884790" cy="677863"/>
            </a:xfrm>
            <a:custGeom>
              <a:avLst/>
              <a:gdLst>
                <a:gd name="T0" fmla="*/ 2771 w 2976"/>
                <a:gd name="T1" fmla="*/ 570 h 2280"/>
                <a:gd name="T2" fmla="*/ 2686 w 2976"/>
                <a:gd name="T3" fmla="*/ 444 h 2280"/>
                <a:gd name="T4" fmla="*/ 2469 w 2976"/>
                <a:gd name="T5" fmla="*/ 363 h 2280"/>
                <a:gd name="T6" fmla="*/ 2333 w 2976"/>
                <a:gd name="T7" fmla="*/ 272 h 2280"/>
                <a:gd name="T8" fmla="*/ 2172 w 2976"/>
                <a:gd name="T9" fmla="*/ 119 h 2280"/>
                <a:gd name="T10" fmla="*/ 2025 w 2976"/>
                <a:gd name="T11" fmla="*/ 100 h 2280"/>
                <a:gd name="T12" fmla="*/ 1804 w 2976"/>
                <a:gd name="T13" fmla="*/ 118 h 2280"/>
                <a:gd name="T14" fmla="*/ 1591 w 2976"/>
                <a:gd name="T15" fmla="*/ 23 h 2280"/>
                <a:gd name="T16" fmla="*/ 1488 w 2976"/>
                <a:gd name="T17" fmla="*/ 0 h 2280"/>
                <a:gd name="T18" fmla="*/ 1305 w 2976"/>
                <a:gd name="T19" fmla="*/ 69 h 2280"/>
                <a:gd name="T20" fmla="*/ 1120 w 2976"/>
                <a:gd name="T21" fmla="*/ 121 h 2280"/>
                <a:gd name="T22" fmla="*/ 891 w 2976"/>
                <a:gd name="T23" fmla="*/ 98 h 2280"/>
                <a:gd name="T24" fmla="*/ 753 w 2976"/>
                <a:gd name="T25" fmla="*/ 152 h 2280"/>
                <a:gd name="T26" fmla="*/ 593 w 2976"/>
                <a:gd name="T27" fmla="*/ 318 h 2280"/>
                <a:gd name="T28" fmla="*/ 404 w 2976"/>
                <a:gd name="T29" fmla="*/ 396 h 2280"/>
                <a:gd name="T30" fmla="*/ 254 w 2976"/>
                <a:gd name="T31" fmla="*/ 473 h 2280"/>
                <a:gd name="T32" fmla="*/ 178 w 2976"/>
                <a:gd name="T33" fmla="*/ 719 h 2280"/>
                <a:gd name="T34" fmla="*/ 106 w 2976"/>
                <a:gd name="T35" fmla="*/ 907 h 2280"/>
                <a:gd name="T36" fmla="*/ 2 w 2976"/>
                <a:gd name="T37" fmla="*/ 1115 h 2280"/>
                <a:gd name="T38" fmla="*/ 34 w 2976"/>
                <a:gd name="T39" fmla="*/ 1265 h 2280"/>
                <a:gd name="T40" fmla="*/ 154 w 2976"/>
                <a:gd name="T41" fmla="*/ 1462 h 2280"/>
                <a:gd name="T42" fmla="*/ 219 w 2976"/>
                <a:gd name="T43" fmla="*/ 1750 h 2280"/>
                <a:gd name="T44" fmla="*/ 326 w 2976"/>
                <a:gd name="T45" fmla="*/ 1856 h 2280"/>
                <a:gd name="T46" fmla="*/ 550 w 2976"/>
                <a:gd name="T47" fmla="*/ 1935 h 2280"/>
                <a:gd name="T48" fmla="*/ 699 w 2976"/>
                <a:gd name="T49" fmla="*/ 2070 h 2280"/>
                <a:gd name="T50" fmla="*/ 823 w 2976"/>
                <a:gd name="T51" fmla="*/ 2169 h 2280"/>
                <a:gd name="T52" fmla="*/ 1031 w 2976"/>
                <a:gd name="T53" fmla="*/ 2167 h 2280"/>
                <a:gd name="T54" fmla="*/ 1224 w 2976"/>
                <a:gd name="T55" fmla="*/ 2175 h 2280"/>
                <a:gd name="T56" fmla="*/ 1421 w 2976"/>
                <a:gd name="T57" fmla="*/ 2270 h 2280"/>
                <a:gd name="T58" fmla="*/ 1555 w 2976"/>
                <a:gd name="T59" fmla="*/ 2270 h 2280"/>
                <a:gd name="T60" fmla="*/ 1752 w 2976"/>
                <a:gd name="T61" fmla="*/ 2175 h 2280"/>
                <a:gd name="T62" fmla="*/ 1945 w 2976"/>
                <a:gd name="T63" fmla="*/ 2167 h 2280"/>
                <a:gd name="T64" fmla="*/ 2153 w 2976"/>
                <a:gd name="T65" fmla="*/ 2169 h 2280"/>
                <a:gd name="T66" fmla="*/ 2277 w 2976"/>
                <a:gd name="T67" fmla="*/ 2070 h 2280"/>
                <a:gd name="T68" fmla="*/ 2424 w 2976"/>
                <a:gd name="T69" fmla="*/ 1935 h 2280"/>
                <a:gd name="T70" fmla="*/ 2649 w 2976"/>
                <a:gd name="T71" fmla="*/ 1856 h 2280"/>
                <a:gd name="T72" fmla="*/ 2757 w 2976"/>
                <a:gd name="T73" fmla="*/ 1750 h 2280"/>
                <a:gd name="T74" fmla="*/ 2820 w 2976"/>
                <a:gd name="T75" fmla="*/ 1462 h 2280"/>
                <a:gd name="T76" fmla="*/ 2942 w 2976"/>
                <a:gd name="T77" fmla="*/ 1264 h 2280"/>
                <a:gd name="T78" fmla="*/ 2974 w 2976"/>
                <a:gd name="T79" fmla="*/ 1115 h 2280"/>
                <a:gd name="T80" fmla="*/ 2868 w 2976"/>
                <a:gd name="T81" fmla="*/ 907 h 2280"/>
                <a:gd name="T82" fmla="*/ 1419 w 2976"/>
                <a:gd name="T83" fmla="*/ 2028 h 2280"/>
                <a:gd name="T84" fmla="*/ 923 w 2976"/>
                <a:gd name="T85" fmla="*/ 1943 h 2280"/>
                <a:gd name="T86" fmla="*/ 547 w 2976"/>
                <a:gd name="T87" fmla="*/ 1742 h 2280"/>
                <a:gd name="T88" fmla="*/ 314 w 2976"/>
                <a:gd name="T89" fmla="*/ 1449 h 2280"/>
                <a:gd name="T90" fmla="*/ 246 w 2976"/>
                <a:gd name="T91" fmla="*/ 1139 h 2280"/>
                <a:gd name="T92" fmla="*/ 334 w 2976"/>
                <a:gd name="T93" fmla="*/ 791 h 2280"/>
                <a:gd name="T94" fmla="*/ 588 w 2976"/>
                <a:gd name="T95" fmla="*/ 507 h 2280"/>
                <a:gd name="T96" fmla="*/ 979 w 2976"/>
                <a:gd name="T97" fmla="*/ 319 h 2280"/>
                <a:gd name="T98" fmla="*/ 1488 w 2976"/>
                <a:gd name="T99" fmla="*/ 250 h 2280"/>
                <a:gd name="T100" fmla="*/ 1940 w 2976"/>
                <a:gd name="T101" fmla="*/ 303 h 2280"/>
                <a:gd name="T102" fmla="*/ 2347 w 2976"/>
                <a:gd name="T103" fmla="*/ 480 h 2280"/>
                <a:gd name="T104" fmla="*/ 2619 w 2976"/>
                <a:gd name="T105" fmla="*/ 751 h 2280"/>
                <a:gd name="T106" fmla="*/ 2729 w 2976"/>
                <a:gd name="T107" fmla="*/ 1093 h 2280"/>
                <a:gd name="T108" fmla="*/ 2680 w 2976"/>
                <a:gd name="T109" fmla="*/ 1408 h 2280"/>
                <a:gd name="T110" fmla="*/ 2465 w 2976"/>
                <a:gd name="T111" fmla="*/ 1709 h 2280"/>
                <a:gd name="T112" fmla="*/ 2107 w 2976"/>
                <a:gd name="T113" fmla="*/ 1923 h 2280"/>
                <a:gd name="T114" fmla="*/ 1624 w 2976"/>
                <a:gd name="T115" fmla="*/ 2025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76" h="2280">
                  <a:moveTo>
                    <a:pt x="2820" y="818"/>
                  </a:moveTo>
                  <a:lnTo>
                    <a:pt x="2820" y="818"/>
                  </a:lnTo>
                  <a:lnTo>
                    <a:pt x="2812" y="792"/>
                  </a:lnTo>
                  <a:lnTo>
                    <a:pt x="2806" y="768"/>
                  </a:lnTo>
                  <a:lnTo>
                    <a:pt x="2798" y="719"/>
                  </a:lnTo>
                  <a:lnTo>
                    <a:pt x="2784" y="630"/>
                  </a:lnTo>
                  <a:lnTo>
                    <a:pt x="2776" y="589"/>
                  </a:lnTo>
                  <a:lnTo>
                    <a:pt x="2771" y="570"/>
                  </a:lnTo>
                  <a:lnTo>
                    <a:pt x="2765" y="550"/>
                  </a:lnTo>
                  <a:lnTo>
                    <a:pt x="2757" y="530"/>
                  </a:lnTo>
                  <a:lnTo>
                    <a:pt x="2747" y="511"/>
                  </a:lnTo>
                  <a:lnTo>
                    <a:pt x="2735" y="493"/>
                  </a:lnTo>
                  <a:lnTo>
                    <a:pt x="2722" y="473"/>
                  </a:lnTo>
                  <a:lnTo>
                    <a:pt x="2722" y="473"/>
                  </a:lnTo>
                  <a:lnTo>
                    <a:pt x="2704" y="458"/>
                  </a:lnTo>
                  <a:lnTo>
                    <a:pt x="2686" y="444"/>
                  </a:lnTo>
                  <a:lnTo>
                    <a:pt x="2668" y="434"/>
                  </a:lnTo>
                  <a:lnTo>
                    <a:pt x="2649" y="424"/>
                  </a:lnTo>
                  <a:lnTo>
                    <a:pt x="2631" y="416"/>
                  </a:lnTo>
                  <a:lnTo>
                    <a:pt x="2611" y="408"/>
                  </a:lnTo>
                  <a:lnTo>
                    <a:pt x="2572" y="396"/>
                  </a:lnTo>
                  <a:lnTo>
                    <a:pt x="2531" y="385"/>
                  </a:lnTo>
                  <a:lnTo>
                    <a:pt x="2490" y="372"/>
                  </a:lnTo>
                  <a:lnTo>
                    <a:pt x="2469" y="363"/>
                  </a:lnTo>
                  <a:lnTo>
                    <a:pt x="2447" y="355"/>
                  </a:lnTo>
                  <a:lnTo>
                    <a:pt x="2424" y="345"/>
                  </a:lnTo>
                  <a:lnTo>
                    <a:pt x="2403" y="332"/>
                  </a:lnTo>
                  <a:lnTo>
                    <a:pt x="2403" y="332"/>
                  </a:lnTo>
                  <a:lnTo>
                    <a:pt x="2383" y="318"/>
                  </a:lnTo>
                  <a:lnTo>
                    <a:pt x="2364" y="303"/>
                  </a:lnTo>
                  <a:lnTo>
                    <a:pt x="2347" y="286"/>
                  </a:lnTo>
                  <a:lnTo>
                    <a:pt x="2333" y="272"/>
                  </a:lnTo>
                  <a:lnTo>
                    <a:pt x="2303" y="239"/>
                  </a:lnTo>
                  <a:lnTo>
                    <a:pt x="2277" y="208"/>
                  </a:lnTo>
                  <a:lnTo>
                    <a:pt x="2251" y="178"/>
                  </a:lnTo>
                  <a:lnTo>
                    <a:pt x="2238" y="165"/>
                  </a:lnTo>
                  <a:lnTo>
                    <a:pt x="2223" y="152"/>
                  </a:lnTo>
                  <a:lnTo>
                    <a:pt x="2207" y="139"/>
                  </a:lnTo>
                  <a:lnTo>
                    <a:pt x="2190" y="129"/>
                  </a:lnTo>
                  <a:lnTo>
                    <a:pt x="2172" y="119"/>
                  </a:lnTo>
                  <a:lnTo>
                    <a:pt x="2153" y="110"/>
                  </a:lnTo>
                  <a:lnTo>
                    <a:pt x="2153" y="110"/>
                  </a:lnTo>
                  <a:lnTo>
                    <a:pt x="2130" y="105"/>
                  </a:lnTo>
                  <a:lnTo>
                    <a:pt x="2107" y="100"/>
                  </a:lnTo>
                  <a:lnTo>
                    <a:pt x="2085" y="98"/>
                  </a:lnTo>
                  <a:lnTo>
                    <a:pt x="2064" y="98"/>
                  </a:lnTo>
                  <a:lnTo>
                    <a:pt x="2045" y="98"/>
                  </a:lnTo>
                  <a:lnTo>
                    <a:pt x="2025" y="100"/>
                  </a:lnTo>
                  <a:lnTo>
                    <a:pt x="1984" y="106"/>
                  </a:lnTo>
                  <a:lnTo>
                    <a:pt x="1945" y="113"/>
                  </a:lnTo>
                  <a:lnTo>
                    <a:pt x="1901" y="119"/>
                  </a:lnTo>
                  <a:lnTo>
                    <a:pt x="1879" y="121"/>
                  </a:lnTo>
                  <a:lnTo>
                    <a:pt x="1855" y="121"/>
                  </a:lnTo>
                  <a:lnTo>
                    <a:pt x="1830" y="119"/>
                  </a:lnTo>
                  <a:lnTo>
                    <a:pt x="1804" y="118"/>
                  </a:lnTo>
                  <a:lnTo>
                    <a:pt x="1804" y="118"/>
                  </a:lnTo>
                  <a:lnTo>
                    <a:pt x="1776" y="111"/>
                  </a:lnTo>
                  <a:lnTo>
                    <a:pt x="1752" y="105"/>
                  </a:lnTo>
                  <a:lnTo>
                    <a:pt x="1729" y="97"/>
                  </a:lnTo>
                  <a:lnTo>
                    <a:pt x="1707" y="87"/>
                  </a:lnTo>
                  <a:lnTo>
                    <a:pt x="1671" y="69"/>
                  </a:lnTo>
                  <a:lnTo>
                    <a:pt x="1639" y="49"/>
                  </a:lnTo>
                  <a:lnTo>
                    <a:pt x="1607" y="31"/>
                  </a:lnTo>
                  <a:lnTo>
                    <a:pt x="1591" y="23"/>
                  </a:lnTo>
                  <a:lnTo>
                    <a:pt x="1573" y="16"/>
                  </a:lnTo>
                  <a:lnTo>
                    <a:pt x="1555" y="10"/>
                  </a:lnTo>
                  <a:lnTo>
                    <a:pt x="1534" y="5"/>
                  </a:lnTo>
                  <a:lnTo>
                    <a:pt x="1513" y="2"/>
                  </a:lnTo>
                  <a:lnTo>
                    <a:pt x="1488" y="0"/>
                  </a:lnTo>
                  <a:lnTo>
                    <a:pt x="1488" y="0"/>
                  </a:lnTo>
                  <a:lnTo>
                    <a:pt x="1488" y="0"/>
                  </a:lnTo>
                  <a:lnTo>
                    <a:pt x="1488" y="0"/>
                  </a:lnTo>
                  <a:lnTo>
                    <a:pt x="1463" y="2"/>
                  </a:lnTo>
                  <a:lnTo>
                    <a:pt x="1441" y="5"/>
                  </a:lnTo>
                  <a:lnTo>
                    <a:pt x="1421" y="10"/>
                  </a:lnTo>
                  <a:lnTo>
                    <a:pt x="1403" y="16"/>
                  </a:lnTo>
                  <a:lnTo>
                    <a:pt x="1385" y="23"/>
                  </a:lnTo>
                  <a:lnTo>
                    <a:pt x="1369" y="31"/>
                  </a:lnTo>
                  <a:lnTo>
                    <a:pt x="1337" y="49"/>
                  </a:lnTo>
                  <a:lnTo>
                    <a:pt x="1305" y="69"/>
                  </a:lnTo>
                  <a:lnTo>
                    <a:pt x="1269" y="87"/>
                  </a:lnTo>
                  <a:lnTo>
                    <a:pt x="1247" y="97"/>
                  </a:lnTo>
                  <a:lnTo>
                    <a:pt x="1224" y="105"/>
                  </a:lnTo>
                  <a:lnTo>
                    <a:pt x="1200" y="111"/>
                  </a:lnTo>
                  <a:lnTo>
                    <a:pt x="1172" y="118"/>
                  </a:lnTo>
                  <a:lnTo>
                    <a:pt x="1172" y="118"/>
                  </a:lnTo>
                  <a:lnTo>
                    <a:pt x="1146" y="119"/>
                  </a:lnTo>
                  <a:lnTo>
                    <a:pt x="1120" y="121"/>
                  </a:lnTo>
                  <a:lnTo>
                    <a:pt x="1097" y="121"/>
                  </a:lnTo>
                  <a:lnTo>
                    <a:pt x="1074" y="119"/>
                  </a:lnTo>
                  <a:lnTo>
                    <a:pt x="1031" y="113"/>
                  </a:lnTo>
                  <a:lnTo>
                    <a:pt x="990" y="106"/>
                  </a:lnTo>
                  <a:lnTo>
                    <a:pt x="951" y="100"/>
                  </a:lnTo>
                  <a:lnTo>
                    <a:pt x="931" y="98"/>
                  </a:lnTo>
                  <a:lnTo>
                    <a:pt x="910" y="98"/>
                  </a:lnTo>
                  <a:lnTo>
                    <a:pt x="891" y="98"/>
                  </a:lnTo>
                  <a:lnTo>
                    <a:pt x="869" y="100"/>
                  </a:lnTo>
                  <a:lnTo>
                    <a:pt x="846" y="105"/>
                  </a:lnTo>
                  <a:lnTo>
                    <a:pt x="823" y="110"/>
                  </a:lnTo>
                  <a:lnTo>
                    <a:pt x="823" y="110"/>
                  </a:lnTo>
                  <a:lnTo>
                    <a:pt x="804" y="119"/>
                  </a:lnTo>
                  <a:lnTo>
                    <a:pt x="786" y="129"/>
                  </a:lnTo>
                  <a:lnTo>
                    <a:pt x="768" y="139"/>
                  </a:lnTo>
                  <a:lnTo>
                    <a:pt x="753" y="152"/>
                  </a:lnTo>
                  <a:lnTo>
                    <a:pt x="738" y="165"/>
                  </a:lnTo>
                  <a:lnTo>
                    <a:pt x="725" y="178"/>
                  </a:lnTo>
                  <a:lnTo>
                    <a:pt x="699" y="208"/>
                  </a:lnTo>
                  <a:lnTo>
                    <a:pt x="671" y="239"/>
                  </a:lnTo>
                  <a:lnTo>
                    <a:pt x="643" y="272"/>
                  </a:lnTo>
                  <a:lnTo>
                    <a:pt x="629" y="286"/>
                  </a:lnTo>
                  <a:lnTo>
                    <a:pt x="611" y="303"/>
                  </a:lnTo>
                  <a:lnTo>
                    <a:pt x="593" y="318"/>
                  </a:lnTo>
                  <a:lnTo>
                    <a:pt x="573" y="332"/>
                  </a:lnTo>
                  <a:lnTo>
                    <a:pt x="573" y="332"/>
                  </a:lnTo>
                  <a:lnTo>
                    <a:pt x="550" y="345"/>
                  </a:lnTo>
                  <a:lnTo>
                    <a:pt x="529" y="355"/>
                  </a:lnTo>
                  <a:lnTo>
                    <a:pt x="507" y="363"/>
                  </a:lnTo>
                  <a:lnTo>
                    <a:pt x="486" y="372"/>
                  </a:lnTo>
                  <a:lnTo>
                    <a:pt x="445" y="385"/>
                  </a:lnTo>
                  <a:lnTo>
                    <a:pt x="404" y="396"/>
                  </a:lnTo>
                  <a:lnTo>
                    <a:pt x="365" y="408"/>
                  </a:lnTo>
                  <a:lnTo>
                    <a:pt x="345" y="416"/>
                  </a:lnTo>
                  <a:lnTo>
                    <a:pt x="326" y="424"/>
                  </a:lnTo>
                  <a:lnTo>
                    <a:pt x="308" y="434"/>
                  </a:lnTo>
                  <a:lnTo>
                    <a:pt x="290" y="444"/>
                  </a:lnTo>
                  <a:lnTo>
                    <a:pt x="272" y="458"/>
                  </a:lnTo>
                  <a:lnTo>
                    <a:pt x="254" y="473"/>
                  </a:lnTo>
                  <a:lnTo>
                    <a:pt x="254" y="473"/>
                  </a:lnTo>
                  <a:lnTo>
                    <a:pt x="241" y="493"/>
                  </a:lnTo>
                  <a:lnTo>
                    <a:pt x="228" y="511"/>
                  </a:lnTo>
                  <a:lnTo>
                    <a:pt x="219" y="530"/>
                  </a:lnTo>
                  <a:lnTo>
                    <a:pt x="211" y="550"/>
                  </a:lnTo>
                  <a:lnTo>
                    <a:pt x="205" y="570"/>
                  </a:lnTo>
                  <a:lnTo>
                    <a:pt x="200" y="589"/>
                  </a:lnTo>
                  <a:lnTo>
                    <a:pt x="192" y="630"/>
                  </a:lnTo>
                  <a:lnTo>
                    <a:pt x="178" y="719"/>
                  </a:lnTo>
                  <a:lnTo>
                    <a:pt x="169" y="768"/>
                  </a:lnTo>
                  <a:lnTo>
                    <a:pt x="162" y="792"/>
                  </a:lnTo>
                  <a:lnTo>
                    <a:pt x="154" y="818"/>
                  </a:lnTo>
                  <a:lnTo>
                    <a:pt x="154" y="818"/>
                  </a:lnTo>
                  <a:lnTo>
                    <a:pt x="144" y="843"/>
                  </a:lnTo>
                  <a:lnTo>
                    <a:pt x="133" y="866"/>
                  </a:lnTo>
                  <a:lnTo>
                    <a:pt x="119" y="887"/>
                  </a:lnTo>
                  <a:lnTo>
                    <a:pt x="106" y="907"/>
                  </a:lnTo>
                  <a:lnTo>
                    <a:pt x="82" y="944"/>
                  </a:lnTo>
                  <a:lnTo>
                    <a:pt x="57" y="979"/>
                  </a:lnTo>
                  <a:lnTo>
                    <a:pt x="34" y="1013"/>
                  </a:lnTo>
                  <a:lnTo>
                    <a:pt x="25" y="1031"/>
                  </a:lnTo>
                  <a:lnTo>
                    <a:pt x="16" y="1051"/>
                  </a:lnTo>
                  <a:lnTo>
                    <a:pt x="10" y="1070"/>
                  </a:lnTo>
                  <a:lnTo>
                    <a:pt x="5" y="1092"/>
                  </a:lnTo>
                  <a:lnTo>
                    <a:pt x="2" y="1115"/>
                  </a:lnTo>
                  <a:lnTo>
                    <a:pt x="0" y="1139"/>
                  </a:lnTo>
                  <a:lnTo>
                    <a:pt x="0" y="1139"/>
                  </a:lnTo>
                  <a:lnTo>
                    <a:pt x="2" y="1164"/>
                  </a:lnTo>
                  <a:lnTo>
                    <a:pt x="5" y="1187"/>
                  </a:lnTo>
                  <a:lnTo>
                    <a:pt x="10" y="1208"/>
                  </a:lnTo>
                  <a:lnTo>
                    <a:pt x="16" y="1228"/>
                  </a:lnTo>
                  <a:lnTo>
                    <a:pt x="25" y="1247"/>
                  </a:lnTo>
                  <a:lnTo>
                    <a:pt x="34" y="1265"/>
                  </a:lnTo>
                  <a:lnTo>
                    <a:pt x="57" y="1300"/>
                  </a:lnTo>
                  <a:lnTo>
                    <a:pt x="82" y="1336"/>
                  </a:lnTo>
                  <a:lnTo>
                    <a:pt x="106" y="1373"/>
                  </a:lnTo>
                  <a:lnTo>
                    <a:pt x="119" y="1393"/>
                  </a:lnTo>
                  <a:lnTo>
                    <a:pt x="133" y="1414"/>
                  </a:lnTo>
                  <a:lnTo>
                    <a:pt x="144" y="1437"/>
                  </a:lnTo>
                  <a:lnTo>
                    <a:pt x="154" y="1462"/>
                  </a:lnTo>
                  <a:lnTo>
                    <a:pt x="154" y="1462"/>
                  </a:lnTo>
                  <a:lnTo>
                    <a:pt x="162" y="1488"/>
                  </a:lnTo>
                  <a:lnTo>
                    <a:pt x="169" y="1512"/>
                  </a:lnTo>
                  <a:lnTo>
                    <a:pt x="178" y="1560"/>
                  </a:lnTo>
                  <a:lnTo>
                    <a:pt x="192" y="1648"/>
                  </a:lnTo>
                  <a:lnTo>
                    <a:pt x="200" y="1689"/>
                  </a:lnTo>
                  <a:lnTo>
                    <a:pt x="205" y="1710"/>
                  </a:lnTo>
                  <a:lnTo>
                    <a:pt x="211" y="1730"/>
                  </a:lnTo>
                  <a:lnTo>
                    <a:pt x="219" y="1750"/>
                  </a:lnTo>
                  <a:lnTo>
                    <a:pt x="228" y="1768"/>
                  </a:lnTo>
                  <a:lnTo>
                    <a:pt x="241" y="1787"/>
                  </a:lnTo>
                  <a:lnTo>
                    <a:pt x="254" y="1807"/>
                  </a:lnTo>
                  <a:lnTo>
                    <a:pt x="254" y="1807"/>
                  </a:lnTo>
                  <a:lnTo>
                    <a:pt x="272" y="1822"/>
                  </a:lnTo>
                  <a:lnTo>
                    <a:pt x="290" y="1835"/>
                  </a:lnTo>
                  <a:lnTo>
                    <a:pt x="308" y="1846"/>
                  </a:lnTo>
                  <a:lnTo>
                    <a:pt x="326" y="1856"/>
                  </a:lnTo>
                  <a:lnTo>
                    <a:pt x="345" y="1864"/>
                  </a:lnTo>
                  <a:lnTo>
                    <a:pt x="365" y="1871"/>
                  </a:lnTo>
                  <a:lnTo>
                    <a:pt x="404" y="1884"/>
                  </a:lnTo>
                  <a:lnTo>
                    <a:pt x="445" y="1895"/>
                  </a:lnTo>
                  <a:lnTo>
                    <a:pt x="486" y="1908"/>
                  </a:lnTo>
                  <a:lnTo>
                    <a:pt x="507" y="1915"/>
                  </a:lnTo>
                  <a:lnTo>
                    <a:pt x="529" y="1925"/>
                  </a:lnTo>
                  <a:lnTo>
                    <a:pt x="550" y="1935"/>
                  </a:lnTo>
                  <a:lnTo>
                    <a:pt x="573" y="1946"/>
                  </a:lnTo>
                  <a:lnTo>
                    <a:pt x="573" y="1946"/>
                  </a:lnTo>
                  <a:lnTo>
                    <a:pt x="593" y="1962"/>
                  </a:lnTo>
                  <a:lnTo>
                    <a:pt x="611" y="1977"/>
                  </a:lnTo>
                  <a:lnTo>
                    <a:pt x="629" y="1992"/>
                  </a:lnTo>
                  <a:lnTo>
                    <a:pt x="643" y="2008"/>
                  </a:lnTo>
                  <a:lnTo>
                    <a:pt x="671" y="2039"/>
                  </a:lnTo>
                  <a:lnTo>
                    <a:pt x="699" y="2070"/>
                  </a:lnTo>
                  <a:lnTo>
                    <a:pt x="725" y="2100"/>
                  </a:lnTo>
                  <a:lnTo>
                    <a:pt x="738" y="2115"/>
                  </a:lnTo>
                  <a:lnTo>
                    <a:pt x="753" y="2128"/>
                  </a:lnTo>
                  <a:lnTo>
                    <a:pt x="768" y="2139"/>
                  </a:lnTo>
                  <a:lnTo>
                    <a:pt x="786" y="2151"/>
                  </a:lnTo>
                  <a:lnTo>
                    <a:pt x="804" y="2161"/>
                  </a:lnTo>
                  <a:lnTo>
                    <a:pt x="823" y="2169"/>
                  </a:lnTo>
                  <a:lnTo>
                    <a:pt x="823" y="2169"/>
                  </a:lnTo>
                  <a:lnTo>
                    <a:pt x="846" y="2175"/>
                  </a:lnTo>
                  <a:lnTo>
                    <a:pt x="869" y="2179"/>
                  </a:lnTo>
                  <a:lnTo>
                    <a:pt x="891" y="2182"/>
                  </a:lnTo>
                  <a:lnTo>
                    <a:pt x="910" y="2182"/>
                  </a:lnTo>
                  <a:lnTo>
                    <a:pt x="931" y="2180"/>
                  </a:lnTo>
                  <a:lnTo>
                    <a:pt x="951" y="2179"/>
                  </a:lnTo>
                  <a:lnTo>
                    <a:pt x="990" y="2174"/>
                  </a:lnTo>
                  <a:lnTo>
                    <a:pt x="1031" y="2167"/>
                  </a:lnTo>
                  <a:lnTo>
                    <a:pt x="1074" y="2161"/>
                  </a:lnTo>
                  <a:lnTo>
                    <a:pt x="1097" y="2159"/>
                  </a:lnTo>
                  <a:lnTo>
                    <a:pt x="1120" y="2159"/>
                  </a:lnTo>
                  <a:lnTo>
                    <a:pt x="1146" y="2159"/>
                  </a:lnTo>
                  <a:lnTo>
                    <a:pt x="1172" y="2162"/>
                  </a:lnTo>
                  <a:lnTo>
                    <a:pt x="1172" y="2162"/>
                  </a:lnTo>
                  <a:lnTo>
                    <a:pt x="1200" y="2169"/>
                  </a:lnTo>
                  <a:lnTo>
                    <a:pt x="1224" y="2175"/>
                  </a:lnTo>
                  <a:lnTo>
                    <a:pt x="1247" y="2183"/>
                  </a:lnTo>
                  <a:lnTo>
                    <a:pt x="1269" y="2193"/>
                  </a:lnTo>
                  <a:lnTo>
                    <a:pt x="1305" y="2211"/>
                  </a:lnTo>
                  <a:lnTo>
                    <a:pt x="1337" y="2231"/>
                  </a:lnTo>
                  <a:lnTo>
                    <a:pt x="1369" y="2249"/>
                  </a:lnTo>
                  <a:lnTo>
                    <a:pt x="1385" y="2257"/>
                  </a:lnTo>
                  <a:lnTo>
                    <a:pt x="1403" y="2264"/>
                  </a:lnTo>
                  <a:lnTo>
                    <a:pt x="1421" y="2270"/>
                  </a:lnTo>
                  <a:lnTo>
                    <a:pt x="1441" y="2275"/>
                  </a:lnTo>
                  <a:lnTo>
                    <a:pt x="1463" y="2278"/>
                  </a:lnTo>
                  <a:lnTo>
                    <a:pt x="1488" y="2280"/>
                  </a:lnTo>
                  <a:lnTo>
                    <a:pt x="1488" y="2280"/>
                  </a:lnTo>
                  <a:lnTo>
                    <a:pt x="1488" y="2280"/>
                  </a:lnTo>
                  <a:lnTo>
                    <a:pt x="1513" y="2278"/>
                  </a:lnTo>
                  <a:lnTo>
                    <a:pt x="1534" y="2275"/>
                  </a:lnTo>
                  <a:lnTo>
                    <a:pt x="1555" y="2270"/>
                  </a:lnTo>
                  <a:lnTo>
                    <a:pt x="1573" y="2264"/>
                  </a:lnTo>
                  <a:lnTo>
                    <a:pt x="1591" y="2257"/>
                  </a:lnTo>
                  <a:lnTo>
                    <a:pt x="1607" y="2249"/>
                  </a:lnTo>
                  <a:lnTo>
                    <a:pt x="1639" y="2231"/>
                  </a:lnTo>
                  <a:lnTo>
                    <a:pt x="1671" y="2211"/>
                  </a:lnTo>
                  <a:lnTo>
                    <a:pt x="1707" y="2193"/>
                  </a:lnTo>
                  <a:lnTo>
                    <a:pt x="1729" y="2183"/>
                  </a:lnTo>
                  <a:lnTo>
                    <a:pt x="1752" y="2175"/>
                  </a:lnTo>
                  <a:lnTo>
                    <a:pt x="1776" y="2169"/>
                  </a:lnTo>
                  <a:lnTo>
                    <a:pt x="1804" y="2162"/>
                  </a:lnTo>
                  <a:lnTo>
                    <a:pt x="1804" y="2162"/>
                  </a:lnTo>
                  <a:lnTo>
                    <a:pt x="1830" y="2159"/>
                  </a:lnTo>
                  <a:lnTo>
                    <a:pt x="1855" y="2159"/>
                  </a:lnTo>
                  <a:lnTo>
                    <a:pt x="1879" y="2159"/>
                  </a:lnTo>
                  <a:lnTo>
                    <a:pt x="1901" y="2161"/>
                  </a:lnTo>
                  <a:lnTo>
                    <a:pt x="1945" y="2167"/>
                  </a:lnTo>
                  <a:lnTo>
                    <a:pt x="1984" y="2174"/>
                  </a:lnTo>
                  <a:lnTo>
                    <a:pt x="2025" y="2179"/>
                  </a:lnTo>
                  <a:lnTo>
                    <a:pt x="2045" y="2180"/>
                  </a:lnTo>
                  <a:lnTo>
                    <a:pt x="2064" y="2182"/>
                  </a:lnTo>
                  <a:lnTo>
                    <a:pt x="2085" y="2182"/>
                  </a:lnTo>
                  <a:lnTo>
                    <a:pt x="2107" y="2179"/>
                  </a:lnTo>
                  <a:lnTo>
                    <a:pt x="2130" y="2175"/>
                  </a:lnTo>
                  <a:lnTo>
                    <a:pt x="2153" y="2169"/>
                  </a:lnTo>
                  <a:lnTo>
                    <a:pt x="2153" y="2169"/>
                  </a:lnTo>
                  <a:lnTo>
                    <a:pt x="2172" y="2161"/>
                  </a:lnTo>
                  <a:lnTo>
                    <a:pt x="2190" y="2151"/>
                  </a:lnTo>
                  <a:lnTo>
                    <a:pt x="2207" y="2139"/>
                  </a:lnTo>
                  <a:lnTo>
                    <a:pt x="2223" y="2128"/>
                  </a:lnTo>
                  <a:lnTo>
                    <a:pt x="2238" y="2115"/>
                  </a:lnTo>
                  <a:lnTo>
                    <a:pt x="2251" y="2100"/>
                  </a:lnTo>
                  <a:lnTo>
                    <a:pt x="2277" y="2070"/>
                  </a:lnTo>
                  <a:lnTo>
                    <a:pt x="2303" y="2039"/>
                  </a:lnTo>
                  <a:lnTo>
                    <a:pt x="2333" y="2008"/>
                  </a:lnTo>
                  <a:lnTo>
                    <a:pt x="2347" y="1992"/>
                  </a:lnTo>
                  <a:lnTo>
                    <a:pt x="2364" y="1977"/>
                  </a:lnTo>
                  <a:lnTo>
                    <a:pt x="2383" y="1962"/>
                  </a:lnTo>
                  <a:lnTo>
                    <a:pt x="2403" y="1946"/>
                  </a:lnTo>
                  <a:lnTo>
                    <a:pt x="2403" y="1946"/>
                  </a:lnTo>
                  <a:lnTo>
                    <a:pt x="2424" y="1935"/>
                  </a:lnTo>
                  <a:lnTo>
                    <a:pt x="2447" y="1925"/>
                  </a:lnTo>
                  <a:lnTo>
                    <a:pt x="2469" y="1915"/>
                  </a:lnTo>
                  <a:lnTo>
                    <a:pt x="2490" y="1908"/>
                  </a:lnTo>
                  <a:lnTo>
                    <a:pt x="2531" y="1895"/>
                  </a:lnTo>
                  <a:lnTo>
                    <a:pt x="2572" y="1884"/>
                  </a:lnTo>
                  <a:lnTo>
                    <a:pt x="2611" y="1871"/>
                  </a:lnTo>
                  <a:lnTo>
                    <a:pt x="2631" y="1864"/>
                  </a:lnTo>
                  <a:lnTo>
                    <a:pt x="2649" y="1856"/>
                  </a:lnTo>
                  <a:lnTo>
                    <a:pt x="2668" y="1846"/>
                  </a:lnTo>
                  <a:lnTo>
                    <a:pt x="2686" y="1835"/>
                  </a:lnTo>
                  <a:lnTo>
                    <a:pt x="2704" y="1822"/>
                  </a:lnTo>
                  <a:lnTo>
                    <a:pt x="2722" y="1807"/>
                  </a:lnTo>
                  <a:lnTo>
                    <a:pt x="2722" y="1807"/>
                  </a:lnTo>
                  <a:lnTo>
                    <a:pt x="2735" y="1787"/>
                  </a:lnTo>
                  <a:lnTo>
                    <a:pt x="2747" y="1768"/>
                  </a:lnTo>
                  <a:lnTo>
                    <a:pt x="2757" y="1750"/>
                  </a:lnTo>
                  <a:lnTo>
                    <a:pt x="2765" y="1730"/>
                  </a:lnTo>
                  <a:lnTo>
                    <a:pt x="2771" y="1710"/>
                  </a:lnTo>
                  <a:lnTo>
                    <a:pt x="2776" y="1689"/>
                  </a:lnTo>
                  <a:lnTo>
                    <a:pt x="2784" y="1648"/>
                  </a:lnTo>
                  <a:lnTo>
                    <a:pt x="2798" y="1560"/>
                  </a:lnTo>
                  <a:lnTo>
                    <a:pt x="2806" y="1512"/>
                  </a:lnTo>
                  <a:lnTo>
                    <a:pt x="2812" y="1488"/>
                  </a:lnTo>
                  <a:lnTo>
                    <a:pt x="2820" y="1462"/>
                  </a:lnTo>
                  <a:lnTo>
                    <a:pt x="2820" y="1462"/>
                  </a:lnTo>
                  <a:lnTo>
                    <a:pt x="2832" y="1437"/>
                  </a:lnTo>
                  <a:lnTo>
                    <a:pt x="2843" y="1414"/>
                  </a:lnTo>
                  <a:lnTo>
                    <a:pt x="2857" y="1393"/>
                  </a:lnTo>
                  <a:lnTo>
                    <a:pt x="2868" y="1372"/>
                  </a:lnTo>
                  <a:lnTo>
                    <a:pt x="2894" y="1336"/>
                  </a:lnTo>
                  <a:lnTo>
                    <a:pt x="2919" y="1300"/>
                  </a:lnTo>
                  <a:lnTo>
                    <a:pt x="2942" y="1264"/>
                  </a:lnTo>
                  <a:lnTo>
                    <a:pt x="2951" y="1246"/>
                  </a:lnTo>
                  <a:lnTo>
                    <a:pt x="2960" y="1228"/>
                  </a:lnTo>
                  <a:lnTo>
                    <a:pt x="2966" y="1208"/>
                  </a:lnTo>
                  <a:lnTo>
                    <a:pt x="2971" y="1187"/>
                  </a:lnTo>
                  <a:lnTo>
                    <a:pt x="2974" y="1164"/>
                  </a:lnTo>
                  <a:lnTo>
                    <a:pt x="2976" y="1139"/>
                  </a:lnTo>
                  <a:lnTo>
                    <a:pt x="2976" y="1139"/>
                  </a:lnTo>
                  <a:lnTo>
                    <a:pt x="2974" y="1115"/>
                  </a:lnTo>
                  <a:lnTo>
                    <a:pt x="2971" y="1092"/>
                  </a:lnTo>
                  <a:lnTo>
                    <a:pt x="2966" y="1070"/>
                  </a:lnTo>
                  <a:lnTo>
                    <a:pt x="2960" y="1051"/>
                  </a:lnTo>
                  <a:lnTo>
                    <a:pt x="2951" y="1031"/>
                  </a:lnTo>
                  <a:lnTo>
                    <a:pt x="2942" y="1013"/>
                  </a:lnTo>
                  <a:lnTo>
                    <a:pt x="2919" y="979"/>
                  </a:lnTo>
                  <a:lnTo>
                    <a:pt x="2894" y="943"/>
                  </a:lnTo>
                  <a:lnTo>
                    <a:pt x="2868" y="907"/>
                  </a:lnTo>
                  <a:lnTo>
                    <a:pt x="2857" y="887"/>
                  </a:lnTo>
                  <a:lnTo>
                    <a:pt x="2843" y="866"/>
                  </a:lnTo>
                  <a:lnTo>
                    <a:pt x="2832" y="843"/>
                  </a:lnTo>
                  <a:lnTo>
                    <a:pt x="2820" y="818"/>
                  </a:lnTo>
                  <a:lnTo>
                    <a:pt x="2820" y="818"/>
                  </a:lnTo>
                  <a:close/>
                  <a:moveTo>
                    <a:pt x="1488" y="2030"/>
                  </a:moveTo>
                  <a:lnTo>
                    <a:pt x="1488" y="2030"/>
                  </a:lnTo>
                  <a:lnTo>
                    <a:pt x="1419" y="2028"/>
                  </a:lnTo>
                  <a:lnTo>
                    <a:pt x="1350" y="2025"/>
                  </a:lnTo>
                  <a:lnTo>
                    <a:pt x="1285" y="2018"/>
                  </a:lnTo>
                  <a:lnTo>
                    <a:pt x="1221" y="2012"/>
                  </a:lnTo>
                  <a:lnTo>
                    <a:pt x="1157" y="2002"/>
                  </a:lnTo>
                  <a:lnTo>
                    <a:pt x="1097" y="1990"/>
                  </a:lnTo>
                  <a:lnTo>
                    <a:pt x="1036" y="1976"/>
                  </a:lnTo>
                  <a:lnTo>
                    <a:pt x="979" y="1961"/>
                  </a:lnTo>
                  <a:lnTo>
                    <a:pt x="923" y="1943"/>
                  </a:lnTo>
                  <a:lnTo>
                    <a:pt x="869" y="1923"/>
                  </a:lnTo>
                  <a:lnTo>
                    <a:pt x="817" y="1902"/>
                  </a:lnTo>
                  <a:lnTo>
                    <a:pt x="768" y="1879"/>
                  </a:lnTo>
                  <a:lnTo>
                    <a:pt x="719" y="1854"/>
                  </a:lnTo>
                  <a:lnTo>
                    <a:pt x="673" y="1828"/>
                  </a:lnTo>
                  <a:lnTo>
                    <a:pt x="629" y="1800"/>
                  </a:lnTo>
                  <a:lnTo>
                    <a:pt x="586" y="1771"/>
                  </a:lnTo>
                  <a:lnTo>
                    <a:pt x="547" y="1742"/>
                  </a:lnTo>
                  <a:lnTo>
                    <a:pt x="509" y="1709"/>
                  </a:lnTo>
                  <a:lnTo>
                    <a:pt x="475" y="1674"/>
                  </a:lnTo>
                  <a:lnTo>
                    <a:pt x="442" y="1640"/>
                  </a:lnTo>
                  <a:lnTo>
                    <a:pt x="411" y="1604"/>
                  </a:lnTo>
                  <a:lnTo>
                    <a:pt x="383" y="1566"/>
                  </a:lnTo>
                  <a:lnTo>
                    <a:pt x="357" y="1529"/>
                  </a:lnTo>
                  <a:lnTo>
                    <a:pt x="334" y="1489"/>
                  </a:lnTo>
                  <a:lnTo>
                    <a:pt x="314" y="1449"/>
                  </a:lnTo>
                  <a:lnTo>
                    <a:pt x="296" y="1408"/>
                  </a:lnTo>
                  <a:lnTo>
                    <a:pt x="280" y="1365"/>
                  </a:lnTo>
                  <a:lnTo>
                    <a:pt x="267" y="1321"/>
                  </a:lnTo>
                  <a:lnTo>
                    <a:pt x="257" y="1277"/>
                  </a:lnTo>
                  <a:lnTo>
                    <a:pt x="250" y="1232"/>
                  </a:lnTo>
                  <a:lnTo>
                    <a:pt x="246" y="1187"/>
                  </a:lnTo>
                  <a:lnTo>
                    <a:pt x="246" y="1139"/>
                  </a:lnTo>
                  <a:lnTo>
                    <a:pt x="246" y="1139"/>
                  </a:lnTo>
                  <a:lnTo>
                    <a:pt x="246" y="1093"/>
                  </a:lnTo>
                  <a:lnTo>
                    <a:pt x="250" y="1048"/>
                  </a:lnTo>
                  <a:lnTo>
                    <a:pt x="257" y="1002"/>
                  </a:lnTo>
                  <a:lnTo>
                    <a:pt x="267" y="958"/>
                  </a:lnTo>
                  <a:lnTo>
                    <a:pt x="280" y="915"/>
                  </a:lnTo>
                  <a:lnTo>
                    <a:pt x="296" y="872"/>
                  </a:lnTo>
                  <a:lnTo>
                    <a:pt x="314" y="831"/>
                  </a:lnTo>
                  <a:lnTo>
                    <a:pt x="334" y="791"/>
                  </a:lnTo>
                  <a:lnTo>
                    <a:pt x="357" y="751"/>
                  </a:lnTo>
                  <a:lnTo>
                    <a:pt x="383" y="712"/>
                  </a:lnTo>
                  <a:lnTo>
                    <a:pt x="411" y="674"/>
                  </a:lnTo>
                  <a:lnTo>
                    <a:pt x="442" y="638"/>
                  </a:lnTo>
                  <a:lnTo>
                    <a:pt x="475" y="604"/>
                  </a:lnTo>
                  <a:lnTo>
                    <a:pt x="509" y="571"/>
                  </a:lnTo>
                  <a:lnTo>
                    <a:pt x="547" y="538"/>
                  </a:lnTo>
                  <a:lnTo>
                    <a:pt x="588" y="507"/>
                  </a:lnTo>
                  <a:lnTo>
                    <a:pt x="629" y="480"/>
                  </a:lnTo>
                  <a:lnTo>
                    <a:pt x="673" y="452"/>
                  </a:lnTo>
                  <a:lnTo>
                    <a:pt x="719" y="426"/>
                  </a:lnTo>
                  <a:lnTo>
                    <a:pt x="768" y="401"/>
                  </a:lnTo>
                  <a:lnTo>
                    <a:pt x="817" y="378"/>
                  </a:lnTo>
                  <a:lnTo>
                    <a:pt x="869" y="357"/>
                  </a:lnTo>
                  <a:lnTo>
                    <a:pt x="923" y="337"/>
                  </a:lnTo>
                  <a:lnTo>
                    <a:pt x="979" y="319"/>
                  </a:lnTo>
                  <a:lnTo>
                    <a:pt x="1036" y="303"/>
                  </a:lnTo>
                  <a:lnTo>
                    <a:pt x="1097" y="290"/>
                  </a:lnTo>
                  <a:lnTo>
                    <a:pt x="1157" y="278"/>
                  </a:lnTo>
                  <a:lnTo>
                    <a:pt x="1221" y="268"/>
                  </a:lnTo>
                  <a:lnTo>
                    <a:pt x="1285" y="260"/>
                  </a:lnTo>
                  <a:lnTo>
                    <a:pt x="1350" y="255"/>
                  </a:lnTo>
                  <a:lnTo>
                    <a:pt x="1419" y="252"/>
                  </a:lnTo>
                  <a:lnTo>
                    <a:pt x="1488" y="250"/>
                  </a:lnTo>
                  <a:lnTo>
                    <a:pt x="1488" y="250"/>
                  </a:lnTo>
                  <a:lnTo>
                    <a:pt x="1557" y="252"/>
                  </a:lnTo>
                  <a:lnTo>
                    <a:pt x="1626" y="255"/>
                  </a:lnTo>
                  <a:lnTo>
                    <a:pt x="1691" y="260"/>
                  </a:lnTo>
                  <a:lnTo>
                    <a:pt x="1756" y="268"/>
                  </a:lnTo>
                  <a:lnTo>
                    <a:pt x="1819" y="278"/>
                  </a:lnTo>
                  <a:lnTo>
                    <a:pt x="1879" y="290"/>
                  </a:lnTo>
                  <a:lnTo>
                    <a:pt x="1940" y="303"/>
                  </a:lnTo>
                  <a:lnTo>
                    <a:pt x="1997" y="319"/>
                  </a:lnTo>
                  <a:lnTo>
                    <a:pt x="2053" y="337"/>
                  </a:lnTo>
                  <a:lnTo>
                    <a:pt x="2107" y="357"/>
                  </a:lnTo>
                  <a:lnTo>
                    <a:pt x="2159" y="378"/>
                  </a:lnTo>
                  <a:lnTo>
                    <a:pt x="2210" y="401"/>
                  </a:lnTo>
                  <a:lnTo>
                    <a:pt x="2257" y="426"/>
                  </a:lnTo>
                  <a:lnTo>
                    <a:pt x="2303" y="452"/>
                  </a:lnTo>
                  <a:lnTo>
                    <a:pt x="2347" y="480"/>
                  </a:lnTo>
                  <a:lnTo>
                    <a:pt x="2390" y="507"/>
                  </a:lnTo>
                  <a:lnTo>
                    <a:pt x="2429" y="538"/>
                  </a:lnTo>
                  <a:lnTo>
                    <a:pt x="2467" y="571"/>
                  </a:lnTo>
                  <a:lnTo>
                    <a:pt x="2501" y="604"/>
                  </a:lnTo>
                  <a:lnTo>
                    <a:pt x="2534" y="638"/>
                  </a:lnTo>
                  <a:lnTo>
                    <a:pt x="2565" y="674"/>
                  </a:lnTo>
                  <a:lnTo>
                    <a:pt x="2593" y="712"/>
                  </a:lnTo>
                  <a:lnTo>
                    <a:pt x="2619" y="751"/>
                  </a:lnTo>
                  <a:lnTo>
                    <a:pt x="2642" y="791"/>
                  </a:lnTo>
                  <a:lnTo>
                    <a:pt x="2662" y="831"/>
                  </a:lnTo>
                  <a:lnTo>
                    <a:pt x="2680" y="872"/>
                  </a:lnTo>
                  <a:lnTo>
                    <a:pt x="2696" y="915"/>
                  </a:lnTo>
                  <a:lnTo>
                    <a:pt x="2708" y="958"/>
                  </a:lnTo>
                  <a:lnTo>
                    <a:pt x="2717" y="1002"/>
                  </a:lnTo>
                  <a:lnTo>
                    <a:pt x="2726" y="1048"/>
                  </a:lnTo>
                  <a:lnTo>
                    <a:pt x="2729" y="1093"/>
                  </a:lnTo>
                  <a:lnTo>
                    <a:pt x="2730" y="1139"/>
                  </a:lnTo>
                  <a:lnTo>
                    <a:pt x="2730" y="1139"/>
                  </a:lnTo>
                  <a:lnTo>
                    <a:pt x="2729" y="1187"/>
                  </a:lnTo>
                  <a:lnTo>
                    <a:pt x="2726" y="1232"/>
                  </a:lnTo>
                  <a:lnTo>
                    <a:pt x="2717" y="1277"/>
                  </a:lnTo>
                  <a:lnTo>
                    <a:pt x="2708" y="1321"/>
                  </a:lnTo>
                  <a:lnTo>
                    <a:pt x="2696" y="1365"/>
                  </a:lnTo>
                  <a:lnTo>
                    <a:pt x="2680" y="1408"/>
                  </a:lnTo>
                  <a:lnTo>
                    <a:pt x="2662" y="1449"/>
                  </a:lnTo>
                  <a:lnTo>
                    <a:pt x="2642" y="1489"/>
                  </a:lnTo>
                  <a:lnTo>
                    <a:pt x="2619" y="1529"/>
                  </a:lnTo>
                  <a:lnTo>
                    <a:pt x="2593" y="1566"/>
                  </a:lnTo>
                  <a:lnTo>
                    <a:pt x="2565" y="1604"/>
                  </a:lnTo>
                  <a:lnTo>
                    <a:pt x="2534" y="1640"/>
                  </a:lnTo>
                  <a:lnTo>
                    <a:pt x="2501" y="1674"/>
                  </a:lnTo>
                  <a:lnTo>
                    <a:pt x="2465" y="1709"/>
                  </a:lnTo>
                  <a:lnTo>
                    <a:pt x="2429" y="1742"/>
                  </a:lnTo>
                  <a:lnTo>
                    <a:pt x="2388" y="1771"/>
                  </a:lnTo>
                  <a:lnTo>
                    <a:pt x="2347" y="1800"/>
                  </a:lnTo>
                  <a:lnTo>
                    <a:pt x="2303" y="1828"/>
                  </a:lnTo>
                  <a:lnTo>
                    <a:pt x="2257" y="1854"/>
                  </a:lnTo>
                  <a:lnTo>
                    <a:pt x="2208" y="1879"/>
                  </a:lnTo>
                  <a:lnTo>
                    <a:pt x="2159" y="1902"/>
                  </a:lnTo>
                  <a:lnTo>
                    <a:pt x="2107" y="1923"/>
                  </a:lnTo>
                  <a:lnTo>
                    <a:pt x="2053" y="1943"/>
                  </a:lnTo>
                  <a:lnTo>
                    <a:pt x="1997" y="1961"/>
                  </a:lnTo>
                  <a:lnTo>
                    <a:pt x="1938" y="1976"/>
                  </a:lnTo>
                  <a:lnTo>
                    <a:pt x="1879" y="1990"/>
                  </a:lnTo>
                  <a:lnTo>
                    <a:pt x="1819" y="2002"/>
                  </a:lnTo>
                  <a:lnTo>
                    <a:pt x="1755" y="2012"/>
                  </a:lnTo>
                  <a:lnTo>
                    <a:pt x="1691" y="2018"/>
                  </a:lnTo>
                  <a:lnTo>
                    <a:pt x="1624" y="2025"/>
                  </a:lnTo>
                  <a:lnTo>
                    <a:pt x="1557" y="2028"/>
                  </a:lnTo>
                  <a:lnTo>
                    <a:pt x="1488" y="2030"/>
                  </a:lnTo>
                  <a:lnTo>
                    <a:pt x="1488" y="20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5" name="Freeform 18"/>
            <p:cNvSpPr>
              <a:spLocks/>
            </p:cNvSpPr>
            <p:nvPr/>
          </p:nvSpPr>
          <p:spPr bwMode="auto">
            <a:xfrm>
              <a:off x="7856254" y="5908560"/>
              <a:ext cx="206927" cy="269362"/>
            </a:xfrm>
            <a:custGeom>
              <a:avLst/>
              <a:gdLst>
                <a:gd name="T0" fmla="*/ 4 w 698"/>
                <a:gd name="T1" fmla="*/ 404 h 907"/>
                <a:gd name="T2" fmla="*/ 18 w 698"/>
                <a:gd name="T3" fmla="*/ 309 h 907"/>
                <a:gd name="T4" fmla="*/ 48 w 698"/>
                <a:gd name="T5" fmla="*/ 226 h 907"/>
                <a:gd name="T6" fmla="*/ 89 w 698"/>
                <a:gd name="T7" fmla="*/ 154 h 907"/>
                <a:gd name="T8" fmla="*/ 143 w 698"/>
                <a:gd name="T9" fmla="*/ 95 h 907"/>
                <a:gd name="T10" fmla="*/ 207 w 698"/>
                <a:gd name="T11" fmla="*/ 49 h 907"/>
                <a:gd name="T12" fmla="*/ 279 w 698"/>
                <a:gd name="T13" fmla="*/ 18 h 907"/>
                <a:gd name="T14" fmla="*/ 359 w 698"/>
                <a:gd name="T15" fmla="*/ 1 h 907"/>
                <a:gd name="T16" fmla="*/ 428 w 698"/>
                <a:gd name="T17" fmla="*/ 0 h 907"/>
                <a:gd name="T18" fmla="*/ 519 w 698"/>
                <a:gd name="T19" fmla="*/ 16 h 907"/>
                <a:gd name="T20" fmla="*/ 573 w 698"/>
                <a:gd name="T21" fmla="*/ 37 h 907"/>
                <a:gd name="T22" fmla="*/ 593 w 698"/>
                <a:gd name="T23" fmla="*/ 37 h 907"/>
                <a:gd name="T24" fmla="*/ 611 w 698"/>
                <a:gd name="T25" fmla="*/ 16 h 907"/>
                <a:gd name="T26" fmla="*/ 621 w 698"/>
                <a:gd name="T27" fmla="*/ 6 h 907"/>
                <a:gd name="T28" fmla="*/ 681 w 698"/>
                <a:gd name="T29" fmla="*/ 6 h 907"/>
                <a:gd name="T30" fmla="*/ 689 w 698"/>
                <a:gd name="T31" fmla="*/ 245 h 907"/>
                <a:gd name="T32" fmla="*/ 681 w 698"/>
                <a:gd name="T33" fmla="*/ 258 h 907"/>
                <a:gd name="T34" fmla="*/ 621 w 698"/>
                <a:gd name="T35" fmla="*/ 258 h 907"/>
                <a:gd name="T36" fmla="*/ 613 w 698"/>
                <a:gd name="T37" fmla="*/ 247 h 907"/>
                <a:gd name="T38" fmla="*/ 586 w 698"/>
                <a:gd name="T39" fmla="*/ 160 h 907"/>
                <a:gd name="T40" fmla="*/ 550 w 698"/>
                <a:gd name="T41" fmla="*/ 111 h 907"/>
                <a:gd name="T42" fmla="*/ 495 w 698"/>
                <a:gd name="T43" fmla="*/ 82 h 907"/>
                <a:gd name="T44" fmla="*/ 436 w 698"/>
                <a:gd name="T45" fmla="*/ 75 h 907"/>
                <a:gd name="T46" fmla="*/ 383 w 698"/>
                <a:gd name="T47" fmla="*/ 87 h 907"/>
                <a:gd name="T48" fmla="*/ 342 w 698"/>
                <a:gd name="T49" fmla="*/ 114 h 907"/>
                <a:gd name="T50" fmla="*/ 285 w 698"/>
                <a:gd name="T51" fmla="*/ 206 h 907"/>
                <a:gd name="T52" fmla="*/ 256 w 698"/>
                <a:gd name="T53" fmla="*/ 321 h 907"/>
                <a:gd name="T54" fmla="*/ 247 w 698"/>
                <a:gd name="T55" fmla="*/ 424 h 907"/>
                <a:gd name="T56" fmla="*/ 257 w 698"/>
                <a:gd name="T57" fmla="*/ 596 h 907"/>
                <a:gd name="T58" fmla="*/ 290 w 698"/>
                <a:gd name="T59" fmla="*/ 722 h 907"/>
                <a:gd name="T60" fmla="*/ 338 w 698"/>
                <a:gd name="T61" fmla="*/ 792 h 907"/>
                <a:gd name="T62" fmla="*/ 383 w 698"/>
                <a:gd name="T63" fmla="*/ 820 h 907"/>
                <a:gd name="T64" fmla="*/ 441 w 698"/>
                <a:gd name="T65" fmla="*/ 831 h 907"/>
                <a:gd name="T66" fmla="*/ 503 w 698"/>
                <a:gd name="T67" fmla="*/ 823 h 907"/>
                <a:gd name="T68" fmla="*/ 562 w 698"/>
                <a:gd name="T69" fmla="*/ 794 h 907"/>
                <a:gd name="T70" fmla="*/ 598 w 698"/>
                <a:gd name="T71" fmla="*/ 743 h 907"/>
                <a:gd name="T72" fmla="*/ 621 w 698"/>
                <a:gd name="T73" fmla="*/ 658 h 907"/>
                <a:gd name="T74" fmla="*/ 631 w 698"/>
                <a:gd name="T75" fmla="*/ 646 h 907"/>
                <a:gd name="T76" fmla="*/ 689 w 698"/>
                <a:gd name="T77" fmla="*/ 648 h 907"/>
                <a:gd name="T78" fmla="*/ 698 w 698"/>
                <a:gd name="T79" fmla="*/ 887 h 907"/>
                <a:gd name="T80" fmla="*/ 689 w 698"/>
                <a:gd name="T81" fmla="*/ 898 h 907"/>
                <a:gd name="T82" fmla="*/ 629 w 698"/>
                <a:gd name="T83" fmla="*/ 900 h 907"/>
                <a:gd name="T84" fmla="*/ 621 w 698"/>
                <a:gd name="T85" fmla="*/ 892 h 907"/>
                <a:gd name="T86" fmla="*/ 599 w 698"/>
                <a:gd name="T87" fmla="*/ 877 h 907"/>
                <a:gd name="T88" fmla="*/ 534 w 698"/>
                <a:gd name="T89" fmla="*/ 892 h 907"/>
                <a:gd name="T90" fmla="*/ 403 w 698"/>
                <a:gd name="T91" fmla="*/ 907 h 907"/>
                <a:gd name="T92" fmla="*/ 334 w 698"/>
                <a:gd name="T93" fmla="*/ 902 h 907"/>
                <a:gd name="T94" fmla="*/ 249 w 698"/>
                <a:gd name="T95" fmla="*/ 877 h 907"/>
                <a:gd name="T96" fmla="*/ 177 w 698"/>
                <a:gd name="T97" fmla="*/ 838 h 907"/>
                <a:gd name="T98" fmla="*/ 118 w 698"/>
                <a:gd name="T99" fmla="*/ 784 h 907"/>
                <a:gd name="T100" fmla="*/ 59 w 698"/>
                <a:gd name="T101" fmla="*/ 702 h 907"/>
                <a:gd name="T102" fmla="*/ 7 w 698"/>
                <a:gd name="T103" fmla="*/ 5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8" h="907">
                  <a:moveTo>
                    <a:pt x="0" y="455"/>
                  </a:moveTo>
                  <a:lnTo>
                    <a:pt x="0" y="455"/>
                  </a:lnTo>
                  <a:lnTo>
                    <a:pt x="2" y="429"/>
                  </a:lnTo>
                  <a:lnTo>
                    <a:pt x="4" y="404"/>
                  </a:lnTo>
                  <a:lnTo>
                    <a:pt x="5" y="378"/>
                  </a:lnTo>
                  <a:lnTo>
                    <a:pt x="8" y="355"/>
                  </a:lnTo>
                  <a:lnTo>
                    <a:pt x="13" y="332"/>
                  </a:lnTo>
                  <a:lnTo>
                    <a:pt x="18" y="309"/>
                  </a:lnTo>
                  <a:lnTo>
                    <a:pt x="25" y="286"/>
                  </a:lnTo>
                  <a:lnTo>
                    <a:pt x="31" y="265"/>
                  </a:lnTo>
                  <a:lnTo>
                    <a:pt x="38" y="245"/>
                  </a:lnTo>
                  <a:lnTo>
                    <a:pt x="48" y="226"/>
                  </a:lnTo>
                  <a:lnTo>
                    <a:pt x="56" y="206"/>
                  </a:lnTo>
                  <a:lnTo>
                    <a:pt x="67" y="188"/>
                  </a:lnTo>
                  <a:lnTo>
                    <a:pt x="77" y="170"/>
                  </a:lnTo>
                  <a:lnTo>
                    <a:pt x="89" y="154"/>
                  </a:lnTo>
                  <a:lnTo>
                    <a:pt x="102" y="137"/>
                  </a:lnTo>
                  <a:lnTo>
                    <a:pt x="115" y="123"/>
                  </a:lnTo>
                  <a:lnTo>
                    <a:pt x="128" y="108"/>
                  </a:lnTo>
                  <a:lnTo>
                    <a:pt x="143" y="95"/>
                  </a:lnTo>
                  <a:lnTo>
                    <a:pt x="157" y="82"/>
                  </a:lnTo>
                  <a:lnTo>
                    <a:pt x="174" y="70"/>
                  </a:lnTo>
                  <a:lnTo>
                    <a:pt x="190" y="59"/>
                  </a:lnTo>
                  <a:lnTo>
                    <a:pt x="207" y="49"/>
                  </a:lnTo>
                  <a:lnTo>
                    <a:pt x="225" y="39"/>
                  </a:lnTo>
                  <a:lnTo>
                    <a:pt x="243" y="31"/>
                  </a:lnTo>
                  <a:lnTo>
                    <a:pt x="261" y="24"/>
                  </a:lnTo>
                  <a:lnTo>
                    <a:pt x="279" y="18"/>
                  </a:lnTo>
                  <a:lnTo>
                    <a:pt x="298" y="11"/>
                  </a:lnTo>
                  <a:lnTo>
                    <a:pt x="318" y="8"/>
                  </a:lnTo>
                  <a:lnTo>
                    <a:pt x="339" y="3"/>
                  </a:lnTo>
                  <a:lnTo>
                    <a:pt x="359" y="1"/>
                  </a:lnTo>
                  <a:lnTo>
                    <a:pt x="380" y="0"/>
                  </a:lnTo>
                  <a:lnTo>
                    <a:pt x="401" y="0"/>
                  </a:lnTo>
                  <a:lnTo>
                    <a:pt x="401" y="0"/>
                  </a:lnTo>
                  <a:lnTo>
                    <a:pt x="428" y="0"/>
                  </a:lnTo>
                  <a:lnTo>
                    <a:pt x="452" y="1"/>
                  </a:lnTo>
                  <a:lnTo>
                    <a:pt x="472" y="5"/>
                  </a:lnTo>
                  <a:lnTo>
                    <a:pt x="490" y="8"/>
                  </a:lnTo>
                  <a:lnTo>
                    <a:pt x="519" y="16"/>
                  </a:lnTo>
                  <a:lnTo>
                    <a:pt x="541" y="24"/>
                  </a:lnTo>
                  <a:lnTo>
                    <a:pt x="541" y="24"/>
                  </a:lnTo>
                  <a:lnTo>
                    <a:pt x="563" y="34"/>
                  </a:lnTo>
                  <a:lnTo>
                    <a:pt x="573" y="37"/>
                  </a:lnTo>
                  <a:lnTo>
                    <a:pt x="583" y="39"/>
                  </a:lnTo>
                  <a:lnTo>
                    <a:pt x="583" y="39"/>
                  </a:lnTo>
                  <a:lnTo>
                    <a:pt x="588" y="39"/>
                  </a:lnTo>
                  <a:lnTo>
                    <a:pt x="593" y="37"/>
                  </a:lnTo>
                  <a:lnTo>
                    <a:pt x="598" y="36"/>
                  </a:lnTo>
                  <a:lnTo>
                    <a:pt x="601" y="33"/>
                  </a:lnTo>
                  <a:lnTo>
                    <a:pt x="608" y="24"/>
                  </a:lnTo>
                  <a:lnTo>
                    <a:pt x="611" y="16"/>
                  </a:lnTo>
                  <a:lnTo>
                    <a:pt x="611" y="16"/>
                  </a:lnTo>
                  <a:lnTo>
                    <a:pt x="614" y="11"/>
                  </a:lnTo>
                  <a:lnTo>
                    <a:pt x="617" y="8"/>
                  </a:lnTo>
                  <a:lnTo>
                    <a:pt x="621" y="6"/>
                  </a:lnTo>
                  <a:lnTo>
                    <a:pt x="624" y="5"/>
                  </a:lnTo>
                  <a:lnTo>
                    <a:pt x="676" y="5"/>
                  </a:lnTo>
                  <a:lnTo>
                    <a:pt x="676" y="5"/>
                  </a:lnTo>
                  <a:lnTo>
                    <a:pt x="681" y="6"/>
                  </a:lnTo>
                  <a:lnTo>
                    <a:pt x="686" y="8"/>
                  </a:lnTo>
                  <a:lnTo>
                    <a:pt x="688" y="13"/>
                  </a:lnTo>
                  <a:lnTo>
                    <a:pt x="689" y="18"/>
                  </a:lnTo>
                  <a:lnTo>
                    <a:pt x="689" y="245"/>
                  </a:lnTo>
                  <a:lnTo>
                    <a:pt x="689" y="245"/>
                  </a:lnTo>
                  <a:lnTo>
                    <a:pt x="688" y="250"/>
                  </a:lnTo>
                  <a:lnTo>
                    <a:pt x="686" y="255"/>
                  </a:lnTo>
                  <a:lnTo>
                    <a:pt x="681" y="258"/>
                  </a:lnTo>
                  <a:lnTo>
                    <a:pt x="676" y="258"/>
                  </a:lnTo>
                  <a:lnTo>
                    <a:pt x="626" y="258"/>
                  </a:lnTo>
                  <a:lnTo>
                    <a:pt x="626" y="258"/>
                  </a:lnTo>
                  <a:lnTo>
                    <a:pt x="621" y="258"/>
                  </a:lnTo>
                  <a:lnTo>
                    <a:pt x="617" y="257"/>
                  </a:lnTo>
                  <a:lnTo>
                    <a:pt x="614" y="252"/>
                  </a:lnTo>
                  <a:lnTo>
                    <a:pt x="613" y="247"/>
                  </a:lnTo>
                  <a:lnTo>
                    <a:pt x="613" y="247"/>
                  </a:lnTo>
                  <a:lnTo>
                    <a:pt x="604" y="209"/>
                  </a:lnTo>
                  <a:lnTo>
                    <a:pt x="599" y="191"/>
                  </a:lnTo>
                  <a:lnTo>
                    <a:pt x="593" y="175"/>
                  </a:lnTo>
                  <a:lnTo>
                    <a:pt x="586" y="160"/>
                  </a:lnTo>
                  <a:lnTo>
                    <a:pt x="580" y="145"/>
                  </a:lnTo>
                  <a:lnTo>
                    <a:pt x="572" y="132"/>
                  </a:lnTo>
                  <a:lnTo>
                    <a:pt x="562" y="121"/>
                  </a:lnTo>
                  <a:lnTo>
                    <a:pt x="550" y="111"/>
                  </a:lnTo>
                  <a:lnTo>
                    <a:pt x="539" y="101"/>
                  </a:lnTo>
                  <a:lnTo>
                    <a:pt x="526" y="93"/>
                  </a:lnTo>
                  <a:lnTo>
                    <a:pt x="511" y="87"/>
                  </a:lnTo>
                  <a:lnTo>
                    <a:pt x="495" y="82"/>
                  </a:lnTo>
                  <a:lnTo>
                    <a:pt x="477" y="78"/>
                  </a:lnTo>
                  <a:lnTo>
                    <a:pt x="457" y="77"/>
                  </a:lnTo>
                  <a:lnTo>
                    <a:pt x="436" y="75"/>
                  </a:lnTo>
                  <a:lnTo>
                    <a:pt x="436" y="75"/>
                  </a:lnTo>
                  <a:lnTo>
                    <a:pt x="421" y="77"/>
                  </a:lnTo>
                  <a:lnTo>
                    <a:pt x="408" y="78"/>
                  </a:lnTo>
                  <a:lnTo>
                    <a:pt x="395" y="82"/>
                  </a:lnTo>
                  <a:lnTo>
                    <a:pt x="383" y="87"/>
                  </a:lnTo>
                  <a:lnTo>
                    <a:pt x="372" y="91"/>
                  </a:lnTo>
                  <a:lnTo>
                    <a:pt x="362" y="98"/>
                  </a:lnTo>
                  <a:lnTo>
                    <a:pt x="352" y="105"/>
                  </a:lnTo>
                  <a:lnTo>
                    <a:pt x="342" y="114"/>
                  </a:lnTo>
                  <a:lnTo>
                    <a:pt x="324" y="132"/>
                  </a:lnTo>
                  <a:lnTo>
                    <a:pt x="310" y="155"/>
                  </a:lnTo>
                  <a:lnTo>
                    <a:pt x="297" y="180"/>
                  </a:lnTo>
                  <a:lnTo>
                    <a:pt x="285" y="206"/>
                  </a:lnTo>
                  <a:lnTo>
                    <a:pt x="275" y="234"/>
                  </a:lnTo>
                  <a:lnTo>
                    <a:pt x="267" y="263"/>
                  </a:lnTo>
                  <a:lnTo>
                    <a:pt x="261" y="291"/>
                  </a:lnTo>
                  <a:lnTo>
                    <a:pt x="256" y="321"/>
                  </a:lnTo>
                  <a:lnTo>
                    <a:pt x="252" y="348"/>
                  </a:lnTo>
                  <a:lnTo>
                    <a:pt x="249" y="375"/>
                  </a:lnTo>
                  <a:lnTo>
                    <a:pt x="247" y="424"/>
                  </a:lnTo>
                  <a:lnTo>
                    <a:pt x="247" y="424"/>
                  </a:lnTo>
                  <a:lnTo>
                    <a:pt x="249" y="491"/>
                  </a:lnTo>
                  <a:lnTo>
                    <a:pt x="251" y="525"/>
                  </a:lnTo>
                  <a:lnTo>
                    <a:pt x="254" y="561"/>
                  </a:lnTo>
                  <a:lnTo>
                    <a:pt x="257" y="596"/>
                  </a:lnTo>
                  <a:lnTo>
                    <a:pt x="264" y="628"/>
                  </a:lnTo>
                  <a:lnTo>
                    <a:pt x="270" y="661"/>
                  </a:lnTo>
                  <a:lnTo>
                    <a:pt x="280" y="692"/>
                  </a:lnTo>
                  <a:lnTo>
                    <a:pt x="290" y="722"/>
                  </a:lnTo>
                  <a:lnTo>
                    <a:pt x="303" y="748"/>
                  </a:lnTo>
                  <a:lnTo>
                    <a:pt x="320" y="772"/>
                  </a:lnTo>
                  <a:lnTo>
                    <a:pt x="328" y="782"/>
                  </a:lnTo>
                  <a:lnTo>
                    <a:pt x="338" y="792"/>
                  </a:lnTo>
                  <a:lnTo>
                    <a:pt x="347" y="800"/>
                  </a:lnTo>
                  <a:lnTo>
                    <a:pt x="359" y="808"/>
                  </a:lnTo>
                  <a:lnTo>
                    <a:pt x="370" y="815"/>
                  </a:lnTo>
                  <a:lnTo>
                    <a:pt x="383" y="820"/>
                  </a:lnTo>
                  <a:lnTo>
                    <a:pt x="396" y="825"/>
                  </a:lnTo>
                  <a:lnTo>
                    <a:pt x="411" y="828"/>
                  </a:lnTo>
                  <a:lnTo>
                    <a:pt x="426" y="830"/>
                  </a:lnTo>
                  <a:lnTo>
                    <a:pt x="441" y="831"/>
                  </a:lnTo>
                  <a:lnTo>
                    <a:pt x="441" y="831"/>
                  </a:lnTo>
                  <a:lnTo>
                    <a:pt x="464" y="830"/>
                  </a:lnTo>
                  <a:lnTo>
                    <a:pt x="485" y="828"/>
                  </a:lnTo>
                  <a:lnTo>
                    <a:pt x="503" y="823"/>
                  </a:lnTo>
                  <a:lnTo>
                    <a:pt x="521" y="818"/>
                  </a:lnTo>
                  <a:lnTo>
                    <a:pt x="536" y="812"/>
                  </a:lnTo>
                  <a:lnTo>
                    <a:pt x="549" y="803"/>
                  </a:lnTo>
                  <a:lnTo>
                    <a:pt x="562" y="794"/>
                  </a:lnTo>
                  <a:lnTo>
                    <a:pt x="572" y="782"/>
                  </a:lnTo>
                  <a:lnTo>
                    <a:pt x="581" y="771"/>
                  </a:lnTo>
                  <a:lnTo>
                    <a:pt x="590" y="758"/>
                  </a:lnTo>
                  <a:lnTo>
                    <a:pt x="598" y="743"/>
                  </a:lnTo>
                  <a:lnTo>
                    <a:pt x="603" y="728"/>
                  </a:lnTo>
                  <a:lnTo>
                    <a:pt x="609" y="712"/>
                  </a:lnTo>
                  <a:lnTo>
                    <a:pt x="614" y="695"/>
                  </a:lnTo>
                  <a:lnTo>
                    <a:pt x="621" y="658"/>
                  </a:lnTo>
                  <a:lnTo>
                    <a:pt x="621" y="658"/>
                  </a:lnTo>
                  <a:lnTo>
                    <a:pt x="622" y="653"/>
                  </a:lnTo>
                  <a:lnTo>
                    <a:pt x="626" y="648"/>
                  </a:lnTo>
                  <a:lnTo>
                    <a:pt x="631" y="646"/>
                  </a:lnTo>
                  <a:lnTo>
                    <a:pt x="634" y="646"/>
                  </a:lnTo>
                  <a:lnTo>
                    <a:pt x="685" y="646"/>
                  </a:lnTo>
                  <a:lnTo>
                    <a:pt x="685" y="646"/>
                  </a:lnTo>
                  <a:lnTo>
                    <a:pt x="689" y="648"/>
                  </a:lnTo>
                  <a:lnTo>
                    <a:pt x="694" y="650"/>
                  </a:lnTo>
                  <a:lnTo>
                    <a:pt x="696" y="654"/>
                  </a:lnTo>
                  <a:lnTo>
                    <a:pt x="698" y="659"/>
                  </a:lnTo>
                  <a:lnTo>
                    <a:pt x="698" y="887"/>
                  </a:lnTo>
                  <a:lnTo>
                    <a:pt x="698" y="887"/>
                  </a:lnTo>
                  <a:lnTo>
                    <a:pt x="696" y="892"/>
                  </a:lnTo>
                  <a:lnTo>
                    <a:pt x="694" y="897"/>
                  </a:lnTo>
                  <a:lnTo>
                    <a:pt x="689" y="898"/>
                  </a:lnTo>
                  <a:lnTo>
                    <a:pt x="685" y="900"/>
                  </a:lnTo>
                  <a:lnTo>
                    <a:pt x="632" y="900"/>
                  </a:lnTo>
                  <a:lnTo>
                    <a:pt x="632" y="900"/>
                  </a:lnTo>
                  <a:lnTo>
                    <a:pt x="629" y="900"/>
                  </a:lnTo>
                  <a:lnTo>
                    <a:pt x="626" y="898"/>
                  </a:lnTo>
                  <a:lnTo>
                    <a:pt x="622" y="895"/>
                  </a:lnTo>
                  <a:lnTo>
                    <a:pt x="621" y="892"/>
                  </a:lnTo>
                  <a:lnTo>
                    <a:pt x="621" y="892"/>
                  </a:lnTo>
                  <a:lnTo>
                    <a:pt x="617" y="887"/>
                  </a:lnTo>
                  <a:lnTo>
                    <a:pt x="613" y="882"/>
                  </a:lnTo>
                  <a:lnTo>
                    <a:pt x="608" y="877"/>
                  </a:lnTo>
                  <a:lnTo>
                    <a:pt x="599" y="877"/>
                  </a:lnTo>
                  <a:lnTo>
                    <a:pt x="599" y="877"/>
                  </a:lnTo>
                  <a:lnTo>
                    <a:pt x="588" y="877"/>
                  </a:lnTo>
                  <a:lnTo>
                    <a:pt x="573" y="880"/>
                  </a:lnTo>
                  <a:lnTo>
                    <a:pt x="534" y="892"/>
                  </a:lnTo>
                  <a:lnTo>
                    <a:pt x="509" y="897"/>
                  </a:lnTo>
                  <a:lnTo>
                    <a:pt x="478" y="902"/>
                  </a:lnTo>
                  <a:lnTo>
                    <a:pt x="444" y="905"/>
                  </a:lnTo>
                  <a:lnTo>
                    <a:pt x="403" y="907"/>
                  </a:lnTo>
                  <a:lnTo>
                    <a:pt x="403" y="907"/>
                  </a:lnTo>
                  <a:lnTo>
                    <a:pt x="380" y="907"/>
                  </a:lnTo>
                  <a:lnTo>
                    <a:pt x="356" y="903"/>
                  </a:lnTo>
                  <a:lnTo>
                    <a:pt x="334" y="902"/>
                  </a:lnTo>
                  <a:lnTo>
                    <a:pt x="311" y="897"/>
                  </a:lnTo>
                  <a:lnTo>
                    <a:pt x="290" y="892"/>
                  </a:lnTo>
                  <a:lnTo>
                    <a:pt x="270" y="885"/>
                  </a:lnTo>
                  <a:lnTo>
                    <a:pt x="249" y="877"/>
                  </a:lnTo>
                  <a:lnTo>
                    <a:pt x="231" y="869"/>
                  </a:lnTo>
                  <a:lnTo>
                    <a:pt x="213" y="859"/>
                  </a:lnTo>
                  <a:lnTo>
                    <a:pt x="195" y="849"/>
                  </a:lnTo>
                  <a:lnTo>
                    <a:pt x="177" y="838"/>
                  </a:lnTo>
                  <a:lnTo>
                    <a:pt x="162" y="826"/>
                  </a:lnTo>
                  <a:lnTo>
                    <a:pt x="146" y="813"/>
                  </a:lnTo>
                  <a:lnTo>
                    <a:pt x="131" y="799"/>
                  </a:lnTo>
                  <a:lnTo>
                    <a:pt x="118" y="784"/>
                  </a:lnTo>
                  <a:lnTo>
                    <a:pt x="105" y="769"/>
                  </a:lnTo>
                  <a:lnTo>
                    <a:pt x="92" y="753"/>
                  </a:lnTo>
                  <a:lnTo>
                    <a:pt x="81" y="736"/>
                  </a:lnTo>
                  <a:lnTo>
                    <a:pt x="59" y="702"/>
                  </a:lnTo>
                  <a:lnTo>
                    <a:pt x="41" y="664"/>
                  </a:lnTo>
                  <a:lnTo>
                    <a:pt x="26" y="625"/>
                  </a:lnTo>
                  <a:lnTo>
                    <a:pt x="15" y="584"/>
                  </a:lnTo>
                  <a:lnTo>
                    <a:pt x="7" y="542"/>
                  </a:lnTo>
                  <a:lnTo>
                    <a:pt x="2" y="499"/>
                  </a:lnTo>
                  <a:lnTo>
                    <a:pt x="0"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6" name="Freeform 20"/>
            <p:cNvSpPr>
              <a:spLocks noEditPoints="1"/>
            </p:cNvSpPr>
            <p:nvPr/>
          </p:nvSpPr>
          <p:spPr bwMode="auto">
            <a:xfrm>
              <a:off x="8051289" y="5957319"/>
              <a:ext cx="137357" cy="129032"/>
            </a:xfrm>
            <a:custGeom>
              <a:avLst/>
              <a:gdLst>
                <a:gd name="T0" fmla="*/ 345 w 461"/>
                <a:gd name="T1" fmla="*/ 187 h 436"/>
                <a:gd name="T2" fmla="*/ 339 w 461"/>
                <a:gd name="T3" fmla="*/ 194 h 436"/>
                <a:gd name="T4" fmla="*/ 291 w 461"/>
                <a:gd name="T5" fmla="*/ 290 h 436"/>
                <a:gd name="T6" fmla="*/ 263 w 461"/>
                <a:gd name="T7" fmla="*/ 179 h 436"/>
                <a:gd name="T8" fmla="*/ 316 w 461"/>
                <a:gd name="T9" fmla="*/ 128 h 436"/>
                <a:gd name="T10" fmla="*/ 325 w 461"/>
                <a:gd name="T11" fmla="*/ 94 h 436"/>
                <a:gd name="T12" fmla="*/ 321 w 461"/>
                <a:gd name="T13" fmla="*/ 64 h 436"/>
                <a:gd name="T14" fmla="*/ 299 w 461"/>
                <a:gd name="T15" fmla="*/ 32 h 436"/>
                <a:gd name="T16" fmla="*/ 257 w 461"/>
                <a:gd name="T17" fmla="*/ 7 h 436"/>
                <a:gd name="T18" fmla="*/ 186 w 461"/>
                <a:gd name="T19" fmla="*/ 2 h 436"/>
                <a:gd name="T20" fmla="*/ 131 w 461"/>
                <a:gd name="T21" fmla="*/ 22 h 436"/>
                <a:gd name="T22" fmla="*/ 98 w 461"/>
                <a:gd name="T23" fmla="*/ 51 h 436"/>
                <a:gd name="T24" fmla="*/ 83 w 461"/>
                <a:gd name="T25" fmla="*/ 97 h 436"/>
                <a:gd name="T26" fmla="*/ 85 w 461"/>
                <a:gd name="T27" fmla="*/ 133 h 436"/>
                <a:gd name="T28" fmla="*/ 111 w 461"/>
                <a:gd name="T29" fmla="*/ 187 h 436"/>
                <a:gd name="T30" fmla="*/ 54 w 461"/>
                <a:gd name="T31" fmla="*/ 217 h 436"/>
                <a:gd name="T32" fmla="*/ 10 w 461"/>
                <a:gd name="T33" fmla="*/ 269 h 436"/>
                <a:gd name="T34" fmla="*/ 0 w 461"/>
                <a:gd name="T35" fmla="*/ 315 h 436"/>
                <a:gd name="T36" fmla="*/ 8 w 461"/>
                <a:gd name="T37" fmla="*/ 354 h 436"/>
                <a:gd name="T38" fmla="*/ 36 w 461"/>
                <a:gd name="T39" fmla="*/ 395 h 436"/>
                <a:gd name="T40" fmla="*/ 80 w 461"/>
                <a:gd name="T41" fmla="*/ 423 h 436"/>
                <a:gd name="T42" fmla="*/ 137 w 461"/>
                <a:gd name="T43" fmla="*/ 434 h 436"/>
                <a:gd name="T44" fmla="*/ 195 w 461"/>
                <a:gd name="T45" fmla="*/ 431 h 436"/>
                <a:gd name="T46" fmla="*/ 255 w 461"/>
                <a:gd name="T47" fmla="*/ 410 h 436"/>
                <a:gd name="T48" fmla="*/ 294 w 461"/>
                <a:gd name="T49" fmla="*/ 416 h 436"/>
                <a:gd name="T50" fmla="*/ 350 w 461"/>
                <a:gd name="T51" fmla="*/ 426 h 436"/>
                <a:gd name="T52" fmla="*/ 401 w 461"/>
                <a:gd name="T53" fmla="*/ 424 h 436"/>
                <a:gd name="T54" fmla="*/ 416 w 461"/>
                <a:gd name="T55" fmla="*/ 388 h 436"/>
                <a:gd name="T56" fmla="*/ 416 w 461"/>
                <a:gd name="T57" fmla="*/ 380 h 436"/>
                <a:gd name="T58" fmla="*/ 389 w 461"/>
                <a:gd name="T59" fmla="*/ 379 h 436"/>
                <a:gd name="T60" fmla="*/ 343 w 461"/>
                <a:gd name="T61" fmla="*/ 362 h 436"/>
                <a:gd name="T62" fmla="*/ 327 w 461"/>
                <a:gd name="T63" fmla="*/ 344 h 436"/>
                <a:gd name="T64" fmla="*/ 375 w 461"/>
                <a:gd name="T65" fmla="*/ 289 h 436"/>
                <a:gd name="T66" fmla="*/ 404 w 461"/>
                <a:gd name="T67" fmla="*/ 243 h 436"/>
                <a:gd name="T68" fmla="*/ 435 w 461"/>
                <a:gd name="T69" fmla="*/ 233 h 436"/>
                <a:gd name="T70" fmla="*/ 445 w 461"/>
                <a:gd name="T71" fmla="*/ 228 h 436"/>
                <a:gd name="T72" fmla="*/ 461 w 461"/>
                <a:gd name="T73" fmla="*/ 190 h 436"/>
                <a:gd name="T74" fmla="*/ 452 w 461"/>
                <a:gd name="T75" fmla="*/ 187 h 436"/>
                <a:gd name="T76" fmla="*/ 226 w 461"/>
                <a:gd name="T77" fmla="*/ 43 h 436"/>
                <a:gd name="T78" fmla="*/ 244 w 461"/>
                <a:gd name="T79" fmla="*/ 68 h 436"/>
                <a:gd name="T80" fmla="*/ 244 w 461"/>
                <a:gd name="T81" fmla="*/ 95 h 436"/>
                <a:gd name="T82" fmla="*/ 226 w 461"/>
                <a:gd name="T83" fmla="*/ 135 h 436"/>
                <a:gd name="T84" fmla="*/ 196 w 461"/>
                <a:gd name="T85" fmla="*/ 158 h 436"/>
                <a:gd name="T86" fmla="*/ 170 w 461"/>
                <a:gd name="T87" fmla="*/ 84 h 436"/>
                <a:gd name="T88" fmla="*/ 175 w 461"/>
                <a:gd name="T89" fmla="*/ 59 h 436"/>
                <a:gd name="T90" fmla="*/ 201 w 461"/>
                <a:gd name="T91" fmla="*/ 40 h 436"/>
                <a:gd name="T92" fmla="*/ 167 w 461"/>
                <a:gd name="T93" fmla="*/ 388 h 436"/>
                <a:gd name="T94" fmla="*/ 113 w 461"/>
                <a:gd name="T95" fmla="*/ 367 h 436"/>
                <a:gd name="T96" fmla="*/ 91 w 461"/>
                <a:gd name="T97" fmla="*/ 310 h 436"/>
                <a:gd name="T98" fmla="*/ 100 w 461"/>
                <a:gd name="T99" fmla="*/ 275 h 436"/>
                <a:gd name="T100" fmla="*/ 127 w 461"/>
                <a:gd name="T101" fmla="*/ 235 h 436"/>
                <a:gd name="T102" fmla="*/ 217 w 461"/>
                <a:gd name="T103" fmla="*/ 369 h 436"/>
                <a:gd name="T104" fmla="*/ 177 w 461"/>
                <a:gd name="T105" fmla="*/ 38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1" h="436">
                  <a:moveTo>
                    <a:pt x="452" y="187"/>
                  </a:moveTo>
                  <a:lnTo>
                    <a:pt x="350" y="187"/>
                  </a:lnTo>
                  <a:lnTo>
                    <a:pt x="350" y="187"/>
                  </a:lnTo>
                  <a:lnTo>
                    <a:pt x="345" y="187"/>
                  </a:lnTo>
                  <a:lnTo>
                    <a:pt x="340" y="189"/>
                  </a:lnTo>
                  <a:lnTo>
                    <a:pt x="339" y="190"/>
                  </a:lnTo>
                  <a:lnTo>
                    <a:pt x="339" y="194"/>
                  </a:lnTo>
                  <a:lnTo>
                    <a:pt x="339" y="194"/>
                  </a:lnTo>
                  <a:lnTo>
                    <a:pt x="330" y="218"/>
                  </a:lnTo>
                  <a:lnTo>
                    <a:pt x="321" y="241"/>
                  </a:lnTo>
                  <a:lnTo>
                    <a:pt x="307" y="266"/>
                  </a:lnTo>
                  <a:lnTo>
                    <a:pt x="291" y="290"/>
                  </a:lnTo>
                  <a:lnTo>
                    <a:pt x="229" y="197"/>
                  </a:lnTo>
                  <a:lnTo>
                    <a:pt x="229" y="197"/>
                  </a:lnTo>
                  <a:lnTo>
                    <a:pt x="245" y="189"/>
                  </a:lnTo>
                  <a:lnTo>
                    <a:pt x="263" y="179"/>
                  </a:lnTo>
                  <a:lnTo>
                    <a:pt x="280" y="169"/>
                  </a:lnTo>
                  <a:lnTo>
                    <a:pt x="294" y="156"/>
                  </a:lnTo>
                  <a:lnTo>
                    <a:pt x="306" y="143"/>
                  </a:lnTo>
                  <a:lnTo>
                    <a:pt x="316" y="128"/>
                  </a:lnTo>
                  <a:lnTo>
                    <a:pt x="321" y="122"/>
                  </a:lnTo>
                  <a:lnTo>
                    <a:pt x="322" y="112"/>
                  </a:lnTo>
                  <a:lnTo>
                    <a:pt x="324" y="104"/>
                  </a:lnTo>
                  <a:lnTo>
                    <a:pt x="325" y="94"/>
                  </a:lnTo>
                  <a:lnTo>
                    <a:pt x="325" y="94"/>
                  </a:lnTo>
                  <a:lnTo>
                    <a:pt x="324" y="84"/>
                  </a:lnTo>
                  <a:lnTo>
                    <a:pt x="322" y="74"/>
                  </a:lnTo>
                  <a:lnTo>
                    <a:pt x="321" y="64"/>
                  </a:lnTo>
                  <a:lnTo>
                    <a:pt x="317" y="56"/>
                  </a:lnTo>
                  <a:lnTo>
                    <a:pt x="312" y="46"/>
                  </a:lnTo>
                  <a:lnTo>
                    <a:pt x="306" y="40"/>
                  </a:lnTo>
                  <a:lnTo>
                    <a:pt x="299" y="32"/>
                  </a:lnTo>
                  <a:lnTo>
                    <a:pt x="293" y="25"/>
                  </a:lnTo>
                  <a:lnTo>
                    <a:pt x="285" y="20"/>
                  </a:lnTo>
                  <a:lnTo>
                    <a:pt x="276" y="15"/>
                  </a:lnTo>
                  <a:lnTo>
                    <a:pt x="257" y="7"/>
                  </a:lnTo>
                  <a:lnTo>
                    <a:pt x="235" y="2"/>
                  </a:lnTo>
                  <a:lnTo>
                    <a:pt x="211" y="0"/>
                  </a:lnTo>
                  <a:lnTo>
                    <a:pt x="211" y="0"/>
                  </a:lnTo>
                  <a:lnTo>
                    <a:pt x="186" y="2"/>
                  </a:lnTo>
                  <a:lnTo>
                    <a:pt x="163" y="7"/>
                  </a:lnTo>
                  <a:lnTo>
                    <a:pt x="152" y="10"/>
                  </a:lnTo>
                  <a:lnTo>
                    <a:pt x="141" y="15"/>
                  </a:lnTo>
                  <a:lnTo>
                    <a:pt x="131" y="22"/>
                  </a:lnTo>
                  <a:lnTo>
                    <a:pt x="123" y="28"/>
                  </a:lnTo>
                  <a:lnTo>
                    <a:pt x="113" y="35"/>
                  </a:lnTo>
                  <a:lnTo>
                    <a:pt x="106" y="43"/>
                  </a:lnTo>
                  <a:lnTo>
                    <a:pt x="98" y="51"/>
                  </a:lnTo>
                  <a:lnTo>
                    <a:pt x="93" y="61"/>
                  </a:lnTo>
                  <a:lnTo>
                    <a:pt x="88" y="72"/>
                  </a:lnTo>
                  <a:lnTo>
                    <a:pt x="85" y="84"/>
                  </a:lnTo>
                  <a:lnTo>
                    <a:pt x="83" y="97"/>
                  </a:lnTo>
                  <a:lnTo>
                    <a:pt x="82" y="110"/>
                  </a:lnTo>
                  <a:lnTo>
                    <a:pt x="82" y="110"/>
                  </a:lnTo>
                  <a:lnTo>
                    <a:pt x="83" y="122"/>
                  </a:lnTo>
                  <a:lnTo>
                    <a:pt x="85" y="133"/>
                  </a:lnTo>
                  <a:lnTo>
                    <a:pt x="86" y="143"/>
                  </a:lnTo>
                  <a:lnTo>
                    <a:pt x="91" y="153"/>
                  </a:lnTo>
                  <a:lnTo>
                    <a:pt x="100" y="171"/>
                  </a:lnTo>
                  <a:lnTo>
                    <a:pt x="111" y="187"/>
                  </a:lnTo>
                  <a:lnTo>
                    <a:pt x="111" y="187"/>
                  </a:lnTo>
                  <a:lnTo>
                    <a:pt x="91" y="194"/>
                  </a:lnTo>
                  <a:lnTo>
                    <a:pt x="72" y="203"/>
                  </a:lnTo>
                  <a:lnTo>
                    <a:pt x="54" y="217"/>
                  </a:lnTo>
                  <a:lnTo>
                    <a:pt x="36" y="231"/>
                  </a:lnTo>
                  <a:lnTo>
                    <a:pt x="21" y="249"/>
                  </a:lnTo>
                  <a:lnTo>
                    <a:pt x="14" y="259"/>
                  </a:lnTo>
                  <a:lnTo>
                    <a:pt x="10" y="269"/>
                  </a:lnTo>
                  <a:lnTo>
                    <a:pt x="5" y="279"/>
                  </a:lnTo>
                  <a:lnTo>
                    <a:pt x="1" y="290"/>
                  </a:lnTo>
                  <a:lnTo>
                    <a:pt x="0" y="302"/>
                  </a:lnTo>
                  <a:lnTo>
                    <a:pt x="0" y="315"/>
                  </a:lnTo>
                  <a:lnTo>
                    <a:pt x="0" y="315"/>
                  </a:lnTo>
                  <a:lnTo>
                    <a:pt x="1" y="328"/>
                  </a:lnTo>
                  <a:lnTo>
                    <a:pt x="3" y="341"/>
                  </a:lnTo>
                  <a:lnTo>
                    <a:pt x="8" y="354"/>
                  </a:lnTo>
                  <a:lnTo>
                    <a:pt x="13" y="365"/>
                  </a:lnTo>
                  <a:lnTo>
                    <a:pt x="19" y="377"/>
                  </a:lnTo>
                  <a:lnTo>
                    <a:pt x="28" y="387"/>
                  </a:lnTo>
                  <a:lnTo>
                    <a:pt x="36" y="395"/>
                  </a:lnTo>
                  <a:lnTo>
                    <a:pt x="46" y="403"/>
                  </a:lnTo>
                  <a:lnTo>
                    <a:pt x="57" y="411"/>
                  </a:lnTo>
                  <a:lnTo>
                    <a:pt x="68" y="418"/>
                  </a:lnTo>
                  <a:lnTo>
                    <a:pt x="80" y="423"/>
                  </a:lnTo>
                  <a:lnTo>
                    <a:pt x="95" y="428"/>
                  </a:lnTo>
                  <a:lnTo>
                    <a:pt x="108" y="431"/>
                  </a:lnTo>
                  <a:lnTo>
                    <a:pt x="123" y="433"/>
                  </a:lnTo>
                  <a:lnTo>
                    <a:pt x="137" y="434"/>
                  </a:lnTo>
                  <a:lnTo>
                    <a:pt x="154" y="436"/>
                  </a:lnTo>
                  <a:lnTo>
                    <a:pt x="154" y="436"/>
                  </a:lnTo>
                  <a:lnTo>
                    <a:pt x="180" y="434"/>
                  </a:lnTo>
                  <a:lnTo>
                    <a:pt x="195" y="431"/>
                  </a:lnTo>
                  <a:lnTo>
                    <a:pt x="209" y="428"/>
                  </a:lnTo>
                  <a:lnTo>
                    <a:pt x="226" y="423"/>
                  </a:lnTo>
                  <a:lnTo>
                    <a:pt x="240" y="418"/>
                  </a:lnTo>
                  <a:lnTo>
                    <a:pt x="255" y="410"/>
                  </a:lnTo>
                  <a:lnTo>
                    <a:pt x="270" y="400"/>
                  </a:lnTo>
                  <a:lnTo>
                    <a:pt x="270" y="400"/>
                  </a:lnTo>
                  <a:lnTo>
                    <a:pt x="281" y="410"/>
                  </a:lnTo>
                  <a:lnTo>
                    <a:pt x="294" y="416"/>
                  </a:lnTo>
                  <a:lnTo>
                    <a:pt x="309" y="421"/>
                  </a:lnTo>
                  <a:lnTo>
                    <a:pt x="321" y="424"/>
                  </a:lnTo>
                  <a:lnTo>
                    <a:pt x="342" y="426"/>
                  </a:lnTo>
                  <a:lnTo>
                    <a:pt x="350" y="426"/>
                  </a:lnTo>
                  <a:lnTo>
                    <a:pt x="391" y="426"/>
                  </a:lnTo>
                  <a:lnTo>
                    <a:pt x="391" y="426"/>
                  </a:lnTo>
                  <a:lnTo>
                    <a:pt x="396" y="426"/>
                  </a:lnTo>
                  <a:lnTo>
                    <a:pt x="401" y="424"/>
                  </a:lnTo>
                  <a:lnTo>
                    <a:pt x="402" y="421"/>
                  </a:lnTo>
                  <a:lnTo>
                    <a:pt x="404" y="418"/>
                  </a:lnTo>
                  <a:lnTo>
                    <a:pt x="416" y="388"/>
                  </a:lnTo>
                  <a:lnTo>
                    <a:pt x="416" y="388"/>
                  </a:lnTo>
                  <a:lnTo>
                    <a:pt x="417" y="385"/>
                  </a:lnTo>
                  <a:lnTo>
                    <a:pt x="417" y="382"/>
                  </a:lnTo>
                  <a:lnTo>
                    <a:pt x="416" y="380"/>
                  </a:lnTo>
                  <a:lnTo>
                    <a:pt x="416" y="380"/>
                  </a:lnTo>
                  <a:lnTo>
                    <a:pt x="411" y="379"/>
                  </a:lnTo>
                  <a:lnTo>
                    <a:pt x="407" y="379"/>
                  </a:lnTo>
                  <a:lnTo>
                    <a:pt x="389" y="379"/>
                  </a:lnTo>
                  <a:lnTo>
                    <a:pt x="389" y="379"/>
                  </a:lnTo>
                  <a:lnTo>
                    <a:pt x="375" y="377"/>
                  </a:lnTo>
                  <a:lnTo>
                    <a:pt x="361" y="374"/>
                  </a:lnTo>
                  <a:lnTo>
                    <a:pt x="352" y="367"/>
                  </a:lnTo>
                  <a:lnTo>
                    <a:pt x="343" y="362"/>
                  </a:lnTo>
                  <a:lnTo>
                    <a:pt x="337" y="356"/>
                  </a:lnTo>
                  <a:lnTo>
                    <a:pt x="332" y="351"/>
                  </a:lnTo>
                  <a:lnTo>
                    <a:pt x="327" y="344"/>
                  </a:lnTo>
                  <a:lnTo>
                    <a:pt x="327" y="344"/>
                  </a:lnTo>
                  <a:lnTo>
                    <a:pt x="343" y="328"/>
                  </a:lnTo>
                  <a:lnTo>
                    <a:pt x="355" y="316"/>
                  </a:lnTo>
                  <a:lnTo>
                    <a:pt x="375" y="289"/>
                  </a:lnTo>
                  <a:lnTo>
                    <a:pt x="375" y="289"/>
                  </a:lnTo>
                  <a:lnTo>
                    <a:pt x="391" y="264"/>
                  </a:lnTo>
                  <a:lnTo>
                    <a:pt x="399" y="249"/>
                  </a:lnTo>
                  <a:lnTo>
                    <a:pt x="399" y="249"/>
                  </a:lnTo>
                  <a:lnTo>
                    <a:pt x="404" y="243"/>
                  </a:lnTo>
                  <a:lnTo>
                    <a:pt x="409" y="238"/>
                  </a:lnTo>
                  <a:lnTo>
                    <a:pt x="414" y="235"/>
                  </a:lnTo>
                  <a:lnTo>
                    <a:pt x="420" y="233"/>
                  </a:lnTo>
                  <a:lnTo>
                    <a:pt x="435" y="233"/>
                  </a:lnTo>
                  <a:lnTo>
                    <a:pt x="435" y="233"/>
                  </a:lnTo>
                  <a:lnTo>
                    <a:pt x="438" y="233"/>
                  </a:lnTo>
                  <a:lnTo>
                    <a:pt x="442" y="231"/>
                  </a:lnTo>
                  <a:lnTo>
                    <a:pt x="445" y="228"/>
                  </a:lnTo>
                  <a:lnTo>
                    <a:pt x="447" y="225"/>
                  </a:lnTo>
                  <a:lnTo>
                    <a:pt x="460" y="197"/>
                  </a:lnTo>
                  <a:lnTo>
                    <a:pt x="460" y="197"/>
                  </a:lnTo>
                  <a:lnTo>
                    <a:pt x="461" y="190"/>
                  </a:lnTo>
                  <a:lnTo>
                    <a:pt x="460" y="187"/>
                  </a:lnTo>
                  <a:lnTo>
                    <a:pt x="455" y="187"/>
                  </a:lnTo>
                  <a:lnTo>
                    <a:pt x="452" y="187"/>
                  </a:lnTo>
                  <a:lnTo>
                    <a:pt x="452" y="187"/>
                  </a:lnTo>
                  <a:close/>
                  <a:moveTo>
                    <a:pt x="209" y="40"/>
                  </a:moveTo>
                  <a:lnTo>
                    <a:pt x="209" y="40"/>
                  </a:lnTo>
                  <a:lnTo>
                    <a:pt x="217" y="40"/>
                  </a:lnTo>
                  <a:lnTo>
                    <a:pt x="226" y="43"/>
                  </a:lnTo>
                  <a:lnTo>
                    <a:pt x="232" y="48"/>
                  </a:lnTo>
                  <a:lnTo>
                    <a:pt x="237" y="53"/>
                  </a:lnTo>
                  <a:lnTo>
                    <a:pt x="240" y="59"/>
                  </a:lnTo>
                  <a:lnTo>
                    <a:pt x="244" y="68"/>
                  </a:lnTo>
                  <a:lnTo>
                    <a:pt x="244" y="76"/>
                  </a:lnTo>
                  <a:lnTo>
                    <a:pt x="245" y="84"/>
                  </a:lnTo>
                  <a:lnTo>
                    <a:pt x="245" y="84"/>
                  </a:lnTo>
                  <a:lnTo>
                    <a:pt x="244" y="95"/>
                  </a:lnTo>
                  <a:lnTo>
                    <a:pt x="242" y="107"/>
                  </a:lnTo>
                  <a:lnTo>
                    <a:pt x="239" y="117"/>
                  </a:lnTo>
                  <a:lnTo>
                    <a:pt x="234" y="127"/>
                  </a:lnTo>
                  <a:lnTo>
                    <a:pt x="226" y="135"/>
                  </a:lnTo>
                  <a:lnTo>
                    <a:pt x="217" y="143"/>
                  </a:lnTo>
                  <a:lnTo>
                    <a:pt x="208" y="151"/>
                  </a:lnTo>
                  <a:lnTo>
                    <a:pt x="196" y="158"/>
                  </a:lnTo>
                  <a:lnTo>
                    <a:pt x="196" y="158"/>
                  </a:lnTo>
                  <a:lnTo>
                    <a:pt x="185" y="138"/>
                  </a:lnTo>
                  <a:lnTo>
                    <a:pt x="177" y="122"/>
                  </a:lnTo>
                  <a:lnTo>
                    <a:pt x="172" y="104"/>
                  </a:lnTo>
                  <a:lnTo>
                    <a:pt x="170" y="84"/>
                  </a:lnTo>
                  <a:lnTo>
                    <a:pt x="170" y="84"/>
                  </a:lnTo>
                  <a:lnTo>
                    <a:pt x="170" y="76"/>
                  </a:lnTo>
                  <a:lnTo>
                    <a:pt x="172" y="68"/>
                  </a:lnTo>
                  <a:lnTo>
                    <a:pt x="175" y="59"/>
                  </a:lnTo>
                  <a:lnTo>
                    <a:pt x="180" y="53"/>
                  </a:lnTo>
                  <a:lnTo>
                    <a:pt x="186" y="48"/>
                  </a:lnTo>
                  <a:lnTo>
                    <a:pt x="193" y="43"/>
                  </a:lnTo>
                  <a:lnTo>
                    <a:pt x="201" y="40"/>
                  </a:lnTo>
                  <a:lnTo>
                    <a:pt x="209" y="40"/>
                  </a:lnTo>
                  <a:lnTo>
                    <a:pt x="209" y="40"/>
                  </a:lnTo>
                  <a:close/>
                  <a:moveTo>
                    <a:pt x="167" y="388"/>
                  </a:moveTo>
                  <a:lnTo>
                    <a:pt x="167" y="388"/>
                  </a:lnTo>
                  <a:lnTo>
                    <a:pt x="150" y="387"/>
                  </a:lnTo>
                  <a:lnTo>
                    <a:pt x="136" y="383"/>
                  </a:lnTo>
                  <a:lnTo>
                    <a:pt x="123" y="377"/>
                  </a:lnTo>
                  <a:lnTo>
                    <a:pt x="113" y="367"/>
                  </a:lnTo>
                  <a:lnTo>
                    <a:pt x="103" y="357"/>
                  </a:lnTo>
                  <a:lnTo>
                    <a:pt x="96" y="343"/>
                  </a:lnTo>
                  <a:lnTo>
                    <a:pt x="93" y="328"/>
                  </a:lnTo>
                  <a:lnTo>
                    <a:pt x="91" y="310"/>
                  </a:lnTo>
                  <a:lnTo>
                    <a:pt x="91" y="310"/>
                  </a:lnTo>
                  <a:lnTo>
                    <a:pt x="93" y="298"/>
                  </a:lnTo>
                  <a:lnTo>
                    <a:pt x="95" y="287"/>
                  </a:lnTo>
                  <a:lnTo>
                    <a:pt x="100" y="275"/>
                  </a:lnTo>
                  <a:lnTo>
                    <a:pt x="104" y="264"/>
                  </a:lnTo>
                  <a:lnTo>
                    <a:pt x="111" y="253"/>
                  </a:lnTo>
                  <a:lnTo>
                    <a:pt x="119" y="244"/>
                  </a:lnTo>
                  <a:lnTo>
                    <a:pt x="127" y="235"/>
                  </a:lnTo>
                  <a:lnTo>
                    <a:pt x="137" y="228"/>
                  </a:lnTo>
                  <a:lnTo>
                    <a:pt x="231" y="357"/>
                  </a:lnTo>
                  <a:lnTo>
                    <a:pt x="231" y="357"/>
                  </a:lnTo>
                  <a:lnTo>
                    <a:pt x="217" y="369"/>
                  </a:lnTo>
                  <a:lnTo>
                    <a:pt x="203" y="380"/>
                  </a:lnTo>
                  <a:lnTo>
                    <a:pt x="195" y="383"/>
                  </a:lnTo>
                  <a:lnTo>
                    <a:pt x="186" y="387"/>
                  </a:lnTo>
                  <a:lnTo>
                    <a:pt x="177" y="388"/>
                  </a:lnTo>
                  <a:lnTo>
                    <a:pt x="167" y="388"/>
                  </a:lnTo>
                  <a:lnTo>
                    <a:pt x="167"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7" name="Freeform 21"/>
            <p:cNvSpPr>
              <a:spLocks noEditPoints="1"/>
            </p:cNvSpPr>
            <p:nvPr/>
          </p:nvSpPr>
          <p:spPr bwMode="auto">
            <a:xfrm>
              <a:off x="8136319" y="5909749"/>
              <a:ext cx="269362" cy="266388"/>
            </a:xfrm>
            <a:custGeom>
              <a:avLst/>
              <a:gdLst>
                <a:gd name="T0" fmla="*/ 878 w 905"/>
                <a:gd name="T1" fmla="*/ 818 h 895"/>
                <a:gd name="T2" fmla="*/ 865 w 905"/>
                <a:gd name="T3" fmla="*/ 818 h 895"/>
                <a:gd name="T4" fmla="*/ 845 w 905"/>
                <a:gd name="T5" fmla="*/ 813 h 895"/>
                <a:gd name="T6" fmla="*/ 830 w 905"/>
                <a:gd name="T7" fmla="*/ 803 h 895"/>
                <a:gd name="T8" fmla="*/ 820 w 905"/>
                <a:gd name="T9" fmla="*/ 787 h 895"/>
                <a:gd name="T10" fmla="*/ 817 w 905"/>
                <a:gd name="T11" fmla="*/ 776 h 895"/>
                <a:gd name="T12" fmla="*/ 549 w 905"/>
                <a:gd name="T13" fmla="*/ 11 h 895"/>
                <a:gd name="T14" fmla="*/ 542 w 905"/>
                <a:gd name="T15" fmla="*/ 3 h 895"/>
                <a:gd name="T16" fmla="*/ 532 w 905"/>
                <a:gd name="T17" fmla="*/ 0 h 895"/>
                <a:gd name="T18" fmla="*/ 429 w 905"/>
                <a:gd name="T19" fmla="*/ 0 h 895"/>
                <a:gd name="T20" fmla="*/ 419 w 905"/>
                <a:gd name="T21" fmla="*/ 3 h 895"/>
                <a:gd name="T22" fmla="*/ 413 w 905"/>
                <a:gd name="T23" fmla="*/ 11 h 895"/>
                <a:gd name="T24" fmla="*/ 92 w 905"/>
                <a:gd name="T25" fmla="*/ 779 h 895"/>
                <a:gd name="T26" fmla="*/ 80 w 905"/>
                <a:gd name="T27" fmla="*/ 798 h 895"/>
                <a:gd name="T28" fmla="*/ 64 w 905"/>
                <a:gd name="T29" fmla="*/ 812 h 895"/>
                <a:gd name="T30" fmla="*/ 51 w 905"/>
                <a:gd name="T31" fmla="*/ 816 h 895"/>
                <a:gd name="T32" fmla="*/ 21 w 905"/>
                <a:gd name="T33" fmla="*/ 818 h 895"/>
                <a:gd name="T34" fmla="*/ 13 w 905"/>
                <a:gd name="T35" fmla="*/ 818 h 895"/>
                <a:gd name="T36" fmla="*/ 3 w 905"/>
                <a:gd name="T37" fmla="*/ 823 h 895"/>
                <a:gd name="T38" fmla="*/ 0 w 905"/>
                <a:gd name="T39" fmla="*/ 831 h 895"/>
                <a:gd name="T40" fmla="*/ 0 w 905"/>
                <a:gd name="T41" fmla="*/ 882 h 895"/>
                <a:gd name="T42" fmla="*/ 3 w 905"/>
                <a:gd name="T43" fmla="*/ 892 h 895"/>
                <a:gd name="T44" fmla="*/ 13 w 905"/>
                <a:gd name="T45" fmla="*/ 895 h 895"/>
                <a:gd name="T46" fmla="*/ 264 w 905"/>
                <a:gd name="T47" fmla="*/ 895 h 895"/>
                <a:gd name="T48" fmla="*/ 274 w 905"/>
                <a:gd name="T49" fmla="*/ 890 h 895"/>
                <a:gd name="T50" fmla="*/ 277 w 905"/>
                <a:gd name="T51" fmla="*/ 882 h 895"/>
                <a:gd name="T52" fmla="*/ 277 w 905"/>
                <a:gd name="T53" fmla="*/ 831 h 895"/>
                <a:gd name="T54" fmla="*/ 274 w 905"/>
                <a:gd name="T55" fmla="*/ 821 h 895"/>
                <a:gd name="T56" fmla="*/ 264 w 905"/>
                <a:gd name="T57" fmla="*/ 818 h 895"/>
                <a:gd name="T58" fmla="*/ 236 w 905"/>
                <a:gd name="T59" fmla="*/ 818 h 895"/>
                <a:gd name="T60" fmla="*/ 211 w 905"/>
                <a:gd name="T61" fmla="*/ 816 h 895"/>
                <a:gd name="T62" fmla="*/ 198 w 905"/>
                <a:gd name="T63" fmla="*/ 812 h 895"/>
                <a:gd name="T64" fmla="*/ 190 w 905"/>
                <a:gd name="T65" fmla="*/ 800 h 895"/>
                <a:gd name="T66" fmla="*/ 188 w 905"/>
                <a:gd name="T67" fmla="*/ 792 h 895"/>
                <a:gd name="T68" fmla="*/ 197 w 905"/>
                <a:gd name="T69" fmla="*/ 762 h 895"/>
                <a:gd name="T70" fmla="*/ 537 w 905"/>
                <a:gd name="T71" fmla="*/ 641 h 895"/>
                <a:gd name="T72" fmla="*/ 560 w 905"/>
                <a:gd name="T73" fmla="*/ 710 h 895"/>
                <a:gd name="T74" fmla="*/ 573 w 905"/>
                <a:gd name="T75" fmla="*/ 749 h 895"/>
                <a:gd name="T76" fmla="*/ 583 w 905"/>
                <a:gd name="T77" fmla="*/ 782 h 895"/>
                <a:gd name="T78" fmla="*/ 585 w 905"/>
                <a:gd name="T79" fmla="*/ 795 h 895"/>
                <a:gd name="T80" fmla="*/ 583 w 905"/>
                <a:gd name="T81" fmla="*/ 803 h 895"/>
                <a:gd name="T82" fmla="*/ 578 w 905"/>
                <a:gd name="T83" fmla="*/ 810 h 895"/>
                <a:gd name="T84" fmla="*/ 568 w 905"/>
                <a:gd name="T85" fmla="*/ 816 h 895"/>
                <a:gd name="T86" fmla="*/ 553 w 905"/>
                <a:gd name="T87" fmla="*/ 818 h 895"/>
                <a:gd name="T88" fmla="*/ 524 w 905"/>
                <a:gd name="T89" fmla="*/ 818 h 895"/>
                <a:gd name="T90" fmla="*/ 514 w 905"/>
                <a:gd name="T91" fmla="*/ 823 h 895"/>
                <a:gd name="T92" fmla="*/ 511 w 905"/>
                <a:gd name="T93" fmla="*/ 831 h 895"/>
                <a:gd name="T94" fmla="*/ 511 w 905"/>
                <a:gd name="T95" fmla="*/ 882 h 895"/>
                <a:gd name="T96" fmla="*/ 514 w 905"/>
                <a:gd name="T97" fmla="*/ 890 h 895"/>
                <a:gd name="T98" fmla="*/ 524 w 905"/>
                <a:gd name="T99" fmla="*/ 895 h 895"/>
                <a:gd name="T100" fmla="*/ 892 w 905"/>
                <a:gd name="T101" fmla="*/ 895 h 895"/>
                <a:gd name="T102" fmla="*/ 902 w 905"/>
                <a:gd name="T103" fmla="*/ 892 h 895"/>
                <a:gd name="T104" fmla="*/ 905 w 905"/>
                <a:gd name="T105" fmla="*/ 882 h 895"/>
                <a:gd name="T106" fmla="*/ 905 w 905"/>
                <a:gd name="T107" fmla="*/ 831 h 895"/>
                <a:gd name="T108" fmla="*/ 902 w 905"/>
                <a:gd name="T109" fmla="*/ 823 h 895"/>
                <a:gd name="T110" fmla="*/ 892 w 905"/>
                <a:gd name="T111" fmla="*/ 818 h 895"/>
                <a:gd name="T112" fmla="*/ 272 w 905"/>
                <a:gd name="T113" fmla="*/ 573 h 895"/>
                <a:gd name="T114" fmla="*/ 517 w 905"/>
                <a:gd name="T115" fmla="*/ 573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95">
                  <a:moveTo>
                    <a:pt x="892" y="818"/>
                  </a:moveTo>
                  <a:lnTo>
                    <a:pt x="878" y="818"/>
                  </a:lnTo>
                  <a:lnTo>
                    <a:pt x="878" y="818"/>
                  </a:lnTo>
                  <a:lnTo>
                    <a:pt x="865" y="818"/>
                  </a:lnTo>
                  <a:lnTo>
                    <a:pt x="853" y="816"/>
                  </a:lnTo>
                  <a:lnTo>
                    <a:pt x="845" y="813"/>
                  </a:lnTo>
                  <a:lnTo>
                    <a:pt x="837" y="810"/>
                  </a:lnTo>
                  <a:lnTo>
                    <a:pt x="830" y="803"/>
                  </a:lnTo>
                  <a:lnTo>
                    <a:pt x="825" y="795"/>
                  </a:lnTo>
                  <a:lnTo>
                    <a:pt x="820" y="787"/>
                  </a:lnTo>
                  <a:lnTo>
                    <a:pt x="817" y="776"/>
                  </a:lnTo>
                  <a:lnTo>
                    <a:pt x="817" y="776"/>
                  </a:lnTo>
                  <a:lnTo>
                    <a:pt x="549" y="11"/>
                  </a:lnTo>
                  <a:lnTo>
                    <a:pt x="549" y="11"/>
                  </a:lnTo>
                  <a:lnTo>
                    <a:pt x="547" y="6"/>
                  </a:lnTo>
                  <a:lnTo>
                    <a:pt x="542" y="3"/>
                  </a:lnTo>
                  <a:lnTo>
                    <a:pt x="537" y="1"/>
                  </a:lnTo>
                  <a:lnTo>
                    <a:pt x="532" y="0"/>
                  </a:lnTo>
                  <a:lnTo>
                    <a:pt x="429" y="0"/>
                  </a:lnTo>
                  <a:lnTo>
                    <a:pt x="429" y="0"/>
                  </a:lnTo>
                  <a:lnTo>
                    <a:pt x="424" y="1"/>
                  </a:lnTo>
                  <a:lnTo>
                    <a:pt x="419" y="3"/>
                  </a:lnTo>
                  <a:lnTo>
                    <a:pt x="416" y="6"/>
                  </a:lnTo>
                  <a:lnTo>
                    <a:pt x="413" y="11"/>
                  </a:lnTo>
                  <a:lnTo>
                    <a:pt x="92" y="779"/>
                  </a:lnTo>
                  <a:lnTo>
                    <a:pt x="92" y="779"/>
                  </a:lnTo>
                  <a:lnTo>
                    <a:pt x="87" y="790"/>
                  </a:lnTo>
                  <a:lnTo>
                    <a:pt x="80" y="798"/>
                  </a:lnTo>
                  <a:lnTo>
                    <a:pt x="74" y="805"/>
                  </a:lnTo>
                  <a:lnTo>
                    <a:pt x="64" y="812"/>
                  </a:lnTo>
                  <a:lnTo>
                    <a:pt x="64" y="812"/>
                  </a:lnTo>
                  <a:lnTo>
                    <a:pt x="51" y="816"/>
                  </a:lnTo>
                  <a:lnTo>
                    <a:pt x="38" y="818"/>
                  </a:lnTo>
                  <a:lnTo>
                    <a:pt x="21" y="818"/>
                  </a:lnTo>
                  <a:lnTo>
                    <a:pt x="13" y="818"/>
                  </a:lnTo>
                  <a:lnTo>
                    <a:pt x="13" y="818"/>
                  </a:lnTo>
                  <a:lnTo>
                    <a:pt x="8" y="820"/>
                  </a:lnTo>
                  <a:lnTo>
                    <a:pt x="3" y="823"/>
                  </a:lnTo>
                  <a:lnTo>
                    <a:pt x="2" y="826"/>
                  </a:lnTo>
                  <a:lnTo>
                    <a:pt x="0" y="831"/>
                  </a:lnTo>
                  <a:lnTo>
                    <a:pt x="0" y="882"/>
                  </a:lnTo>
                  <a:lnTo>
                    <a:pt x="0" y="882"/>
                  </a:lnTo>
                  <a:lnTo>
                    <a:pt x="2" y="887"/>
                  </a:lnTo>
                  <a:lnTo>
                    <a:pt x="3" y="892"/>
                  </a:lnTo>
                  <a:lnTo>
                    <a:pt x="8" y="893"/>
                  </a:lnTo>
                  <a:lnTo>
                    <a:pt x="13" y="895"/>
                  </a:lnTo>
                  <a:lnTo>
                    <a:pt x="264" y="895"/>
                  </a:lnTo>
                  <a:lnTo>
                    <a:pt x="264" y="895"/>
                  </a:lnTo>
                  <a:lnTo>
                    <a:pt x="269" y="893"/>
                  </a:lnTo>
                  <a:lnTo>
                    <a:pt x="274" y="890"/>
                  </a:lnTo>
                  <a:lnTo>
                    <a:pt x="275" y="887"/>
                  </a:lnTo>
                  <a:lnTo>
                    <a:pt x="277" y="882"/>
                  </a:lnTo>
                  <a:lnTo>
                    <a:pt x="277" y="831"/>
                  </a:lnTo>
                  <a:lnTo>
                    <a:pt x="277" y="831"/>
                  </a:lnTo>
                  <a:lnTo>
                    <a:pt x="275" y="826"/>
                  </a:lnTo>
                  <a:lnTo>
                    <a:pt x="274" y="821"/>
                  </a:lnTo>
                  <a:lnTo>
                    <a:pt x="269" y="820"/>
                  </a:lnTo>
                  <a:lnTo>
                    <a:pt x="264" y="818"/>
                  </a:lnTo>
                  <a:lnTo>
                    <a:pt x="236" y="818"/>
                  </a:lnTo>
                  <a:lnTo>
                    <a:pt x="236" y="818"/>
                  </a:lnTo>
                  <a:lnTo>
                    <a:pt x="218" y="818"/>
                  </a:lnTo>
                  <a:lnTo>
                    <a:pt x="211" y="816"/>
                  </a:lnTo>
                  <a:lnTo>
                    <a:pt x="203" y="815"/>
                  </a:lnTo>
                  <a:lnTo>
                    <a:pt x="198" y="812"/>
                  </a:lnTo>
                  <a:lnTo>
                    <a:pt x="193" y="807"/>
                  </a:lnTo>
                  <a:lnTo>
                    <a:pt x="190" y="800"/>
                  </a:lnTo>
                  <a:lnTo>
                    <a:pt x="188" y="792"/>
                  </a:lnTo>
                  <a:lnTo>
                    <a:pt x="188" y="792"/>
                  </a:lnTo>
                  <a:lnTo>
                    <a:pt x="190" y="779"/>
                  </a:lnTo>
                  <a:lnTo>
                    <a:pt x="197" y="762"/>
                  </a:lnTo>
                  <a:lnTo>
                    <a:pt x="246" y="641"/>
                  </a:lnTo>
                  <a:lnTo>
                    <a:pt x="537" y="641"/>
                  </a:lnTo>
                  <a:lnTo>
                    <a:pt x="537" y="641"/>
                  </a:lnTo>
                  <a:lnTo>
                    <a:pt x="560" y="710"/>
                  </a:lnTo>
                  <a:lnTo>
                    <a:pt x="573" y="749"/>
                  </a:lnTo>
                  <a:lnTo>
                    <a:pt x="573" y="749"/>
                  </a:lnTo>
                  <a:lnTo>
                    <a:pt x="583" y="782"/>
                  </a:lnTo>
                  <a:lnTo>
                    <a:pt x="583" y="782"/>
                  </a:lnTo>
                  <a:lnTo>
                    <a:pt x="583" y="789"/>
                  </a:lnTo>
                  <a:lnTo>
                    <a:pt x="585" y="795"/>
                  </a:lnTo>
                  <a:lnTo>
                    <a:pt x="585" y="795"/>
                  </a:lnTo>
                  <a:lnTo>
                    <a:pt x="583" y="803"/>
                  </a:lnTo>
                  <a:lnTo>
                    <a:pt x="581" y="807"/>
                  </a:lnTo>
                  <a:lnTo>
                    <a:pt x="578" y="810"/>
                  </a:lnTo>
                  <a:lnTo>
                    <a:pt x="575" y="813"/>
                  </a:lnTo>
                  <a:lnTo>
                    <a:pt x="568" y="816"/>
                  </a:lnTo>
                  <a:lnTo>
                    <a:pt x="562" y="818"/>
                  </a:lnTo>
                  <a:lnTo>
                    <a:pt x="553" y="818"/>
                  </a:lnTo>
                  <a:lnTo>
                    <a:pt x="524" y="818"/>
                  </a:lnTo>
                  <a:lnTo>
                    <a:pt x="524" y="818"/>
                  </a:lnTo>
                  <a:lnTo>
                    <a:pt x="517" y="820"/>
                  </a:lnTo>
                  <a:lnTo>
                    <a:pt x="514" y="823"/>
                  </a:lnTo>
                  <a:lnTo>
                    <a:pt x="511" y="826"/>
                  </a:lnTo>
                  <a:lnTo>
                    <a:pt x="511" y="831"/>
                  </a:lnTo>
                  <a:lnTo>
                    <a:pt x="511" y="882"/>
                  </a:lnTo>
                  <a:lnTo>
                    <a:pt x="511" y="882"/>
                  </a:lnTo>
                  <a:lnTo>
                    <a:pt x="511" y="887"/>
                  </a:lnTo>
                  <a:lnTo>
                    <a:pt x="514" y="890"/>
                  </a:lnTo>
                  <a:lnTo>
                    <a:pt x="517" y="893"/>
                  </a:lnTo>
                  <a:lnTo>
                    <a:pt x="524" y="895"/>
                  </a:lnTo>
                  <a:lnTo>
                    <a:pt x="892" y="895"/>
                  </a:lnTo>
                  <a:lnTo>
                    <a:pt x="892" y="895"/>
                  </a:lnTo>
                  <a:lnTo>
                    <a:pt x="897" y="893"/>
                  </a:lnTo>
                  <a:lnTo>
                    <a:pt x="902" y="892"/>
                  </a:lnTo>
                  <a:lnTo>
                    <a:pt x="905" y="887"/>
                  </a:lnTo>
                  <a:lnTo>
                    <a:pt x="905" y="882"/>
                  </a:lnTo>
                  <a:lnTo>
                    <a:pt x="905" y="831"/>
                  </a:lnTo>
                  <a:lnTo>
                    <a:pt x="905" y="831"/>
                  </a:lnTo>
                  <a:lnTo>
                    <a:pt x="905" y="826"/>
                  </a:lnTo>
                  <a:lnTo>
                    <a:pt x="902" y="823"/>
                  </a:lnTo>
                  <a:lnTo>
                    <a:pt x="897" y="820"/>
                  </a:lnTo>
                  <a:lnTo>
                    <a:pt x="892" y="818"/>
                  </a:lnTo>
                  <a:lnTo>
                    <a:pt x="892" y="818"/>
                  </a:lnTo>
                  <a:close/>
                  <a:moveTo>
                    <a:pt x="272" y="573"/>
                  </a:moveTo>
                  <a:lnTo>
                    <a:pt x="413" y="226"/>
                  </a:lnTo>
                  <a:lnTo>
                    <a:pt x="517" y="573"/>
                  </a:lnTo>
                  <a:lnTo>
                    <a:pt x="272" y="5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grpSp>
      <p:sp>
        <p:nvSpPr>
          <p:cNvPr id="4" name="Datumsplatzhalter 3"/>
          <p:cNvSpPr>
            <a:spLocks noGrp="1"/>
          </p:cNvSpPr>
          <p:nvPr>
            <p:ph type="dt" sz="half" idx="14"/>
          </p:nvPr>
        </p:nvSpPr>
        <p:spPr>
          <a:xfrm>
            <a:off x="747184" y="6597536"/>
            <a:ext cx="1057790" cy="139590"/>
          </a:xfrm>
        </p:spPr>
        <p:txBody>
          <a:bodyPr/>
          <a:lstStyle/>
          <a:p>
            <a:fld id="{E3BDED9A-B086-4E73-ABA8-EF8BF3D09BFD}" type="datetime4">
              <a:rPr lang="en-GB" smtClean="0"/>
              <a:t>15 February 2024</a:t>
            </a:fld>
            <a:endParaRPr lang="en-GB"/>
          </a:p>
        </p:txBody>
      </p:sp>
      <p:cxnSp>
        <p:nvCxnSpPr>
          <p:cNvPr id="19" name="Gerade Verbindung 18"/>
          <p:cNvCxnSpPr/>
          <p:nvPr userDrawn="1"/>
        </p:nvCxnSpPr>
        <p:spPr>
          <a:xfrm>
            <a:off x="632870" y="6617659"/>
            <a:ext cx="0" cy="993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Foliennummernplatzhalter 5"/>
          <p:cNvSpPr txBox="1">
            <a:spLocks/>
          </p:cNvSpPr>
          <p:nvPr userDrawn="1"/>
        </p:nvSpPr>
        <p:spPr>
          <a:xfrm>
            <a:off x="331601" y="6597536"/>
            <a:ext cx="210955" cy="139590"/>
          </a:xfrm>
          <a:prstGeom prst="rect">
            <a:avLst/>
          </a:prstGeom>
        </p:spPr>
        <p:txBody>
          <a:bodyPr vert="horz" wrap="none" lIns="0" tIns="0" rIns="0" bIns="0" rtlCol="0" anchor="ctr" anchorCtr="0">
            <a:spAutoFit/>
          </a:bodyPr>
          <a:lstStyle>
            <a:defPPr>
              <a:defRPr lang="de-DE"/>
            </a:defPPr>
            <a:lvl1pPr marL="0" algn="l" defTabSz="1043056" rtl="0" eaLnBrk="1" latinLnBrk="0" hangingPunct="1">
              <a:defRPr lang="de-AT" sz="1000" b="0" kern="1200" spc="190" baseline="0" smtClean="0">
                <a:solidFill>
                  <a:schemeClr val="tx1"/>
                </a:solidFill>
                <a:latin typeface="CA Sans" pitchFamily="50" charset="0"/>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fld id="{30272582-AA89-4A5B-9BA7-B311A460C225}" type="slidenum">
              <a:rPr lang="en-GB" sz="907" smtClean="0"/>
              <a:pPr algn="r"/>
              <a:t>‹#›</a:t>
            </a:fld>
            <a:endParaRPr lang="en-GB" sz="907"/>
          </a:p>
        </p:txBody>
      </p:sp>
      <p:sp>
        <p:nvSpPr>
          <p:cNvPr id="13" name="Textplatzhalter 12"/>
          <p:cNvSpPr>
            <a:spLocks noGrp="1"/>
          </p:cNvSpPr>
          <p:nvPr>
            <p:ph type="body" sz="quarter" idx="24" hasCustomPrompt="1"/>
          </p:nvPr>
        </p:nvSpPr>
        <p:spPr>
          <a:xfrm>
            <a:off x="266068" y="1477285"/>
            <a:ext cx="9731403" cy="620382"/>
          </a:xfrm>
          <a:solidFill>
            <a:schemeClr val="tx2"/>
          </a:solidFill>
        </p:spPr>
        <p:txBody>
          <a:bodyPr lIns="288000" rIns="288000" anchor="ctr" anchorCtr="0">
            <a:noAutofit/>
          </a:bodyPr>
          <a:lstStyle>
            <a:lvl1pPr marL="0" indent="0">
              <a:buNone/>
              <a:tabLst>
                <a:tab pos="1546242" algn="l"/>
              </a:tabLst>
              <a:defRPr sz="1995">
                <a:solidFill>
                  <a:schemeClr val="bg1"/>
                </a:solidFill>
              </a:defRPr>
            </a:lvl1pPr>
            <a:lvl2pPr>
              <a:defRPr sz="1995"/>
            </a:lvl2pPr>
            <a:lvl3pPr>
              <a:defRPr sz="1995"/>
            </a:lvl3pPr>
            <a:lvl4pPr>
              <a:defRPr sz="1995"/>
            </a:lvl4pPr>
            <a:lvl5pPr>
              <a:defRPr sz="1995"/>
            </a:lvl5pPr>
          </a:lstStyle>
          <a:p>
            <a:pPr lvl="0"/>
            <a:r>
              <a:rPr lang="en-GB"/>
              <a:t>1                               Content 1</a:t>
            </a:r>
          </a:p>
        </p:txBody>
      </p:sp>
      <p:sp>
        <p:nvSpPr>
          <p:cNvPr id="35" name="Textplatzhalter 12"/>
          <p:cNvSpPr>
            <a:spLocks noGrp="1"/>
          </p:cNvSpPr>
          <p:nvPr>
            <p:ph type="body" sz="quarter" idx="25" hasCustomPrompt="1"/>
          </p:nvPr>
        </p:nvSpPr>
        <p:spPr>
          <a:xfrm>
            <a:off x="266068" y="2272120"/>
            <a:ext cx="9731403" cy="620382"/>
          </a:xfrm>
        </p:spPr>
        <p:txBody>
          <a:bodyPr lIns="288000" rIns="288000" anchor="ctr" anchorCtr="0">
            <a:noAutofit/>
          </a:bodyPr>
          <a:lstStyle>
            <a:lvl1pPr marL="0" indent="0">
              <a:buNone/>
              <a:tabLst>
                <a:tab pos="1546242" algn="l"/>
              </a:tabLst>
              <a:defRPr sz="1995" baseline="0"/>
            </a:lvl1pPr>
            <a:lvl2pPr>
              <a:defRPr sz="1995"/>
            </a:lvl2pPr>
            <a:lvl3pPr>
              <a:defRPr sz="1995"/>
            </a:lvl3pPr>
            <a:lvl4pPr>
              <a:defRPr sz="1995"/>
            </a:lvl4pPr>
            <a:lvl5pPr>
              <a:defRPr sz="1995"/>
            </a:lvl5pPr>
          </a:lstStyle>
          <a:p>
            <a:pPr lvl="0"/>
            <a:r>
              <a:rPr lang="en-GB"/>
              <a:t>2                              Content 2</a:t>
            </a:r>
          </a:p>
        </p:txBody>
      </p:sp>
      <p:sp>
        <p:nvSpPr>
          <p:cNvPr id="36" name="Textplatzhalter 12"/>
          <p:cNvSpPr>
            <a:spLocks noGrp="1"/>
          </p:cNvSpPr>
          <p:nvPr>
            <p:ph type="body" sz="quarter" idx="26" hasCustomPrompt="1"/>
          </p:nvPr>
        </p:nvSpPr>
        <p:spPr>
          <a:xfrm>
            <a:off x="266068" y="3066956"/>
            <a:ext cx="9731403" cy="620382"/>
          </a:xfrm>
        </p:spPr>
        <p:txBody>
          <a:bodyPr lIns="288000" rIns="288000" anchor="ctr" anchorCtr="0">
            <a:noAutofit/>
          </a:bodyPr>
          <a:lstStyle>
            <a:lvl1pPr marL="0" indent="0">
              <a:buNone/>
              <a:tabLst>
                <a:tab pos="1546242" algn="l"/>
              </a:tabLst>
              <a:defRPr sz="1995" baseline="0"/>
            </a:lvl1pPr>
            <a:lvl2pPr>
              <a:defRPr sz="1995"/>
            </a:lvl2pPr>
            <a:lvl3pPr>
              <a:defRPr sz="1995"/>
            </a:lvl3pPr>
            <a:lvl4pPr>
              <a:defRPr sz="1995"/>
            </a:lvl4pPr>
            <a:lvl5pPr>
              <a:defRPr sz="1995"/>
            </a:lvl5pPr>
          </a:lstStyle>
          <a:p>
            <a:pPr lvl="0"/>
            <a:r>
              <a:rPr lang="en-GB"/>
              <a:t>3                              Content 3</a:t>
            </a:r>
          </a:p>
        </p:txBody>
      </p:sp>
      <p:sp>
        <p:nvSpPr>
          <p:cNvPr id="20" name="Textplatzhalter 12"/>
          <p:cNvSpPr>
            <a:spLocks noGrp="1"/>
          </p:cNvSpPr>
          <p:nvPr>
            <p:ph type="body" sz="quarter" idx="27" hasCustomPrompt="1"/>
          </p:nvPr>
        </p:nvSpPr>
        <p:spPr>
          <a:xfrm>
            <a:off x="266068" y="3861791"/>
            <a:ext cx="9731403" cy="620382"/>
          </a:xfrm>
        </p:spPr>
        <p:txBody>
          <a:bodyPr lIns="288000" rIns="288000" anchor="ctr" anchorCtr="0">
            <a:noAutofit/>
          </a:bodyPr>
          <a:lstStyle>
            <a:lvl1pPr marL="0" indent="0">
              <a:buNone/>
              <a:tabLst>
                <a:tab pos="1546242" algn="l"/>
              </a:tabLst>
              <a:defRPr sz="1995" baseline="0"/>
            </a:lvl1pPr>
            <a:lvl2pPr>
              <a:defRPr sz="1995"/>
            </a:lvl2pPr>
            <a:lvl3pPr>
              <a:defRPr sz="1995"/>
            </a:lvl3pPr>
            <a:lvl4pPr>
              <a:defRPr sz="1995"/>
            </a:lvl4pPr>
            <a:lvl5pPr>
              <a:defRPr sz="1995"/>
            </a:lvl5pPr>
          </a:lstStyle>
          <a:p>
            <a:pPr lvl="0"/>
            <a:r>
              <a:rPr lang="en-GB"/>
              <a:t>4                              Content 4</a:t>
            </a:r>
          </a:p>
        </p:txBody>
      </p:sp>
      <p:sp>
        <p:nvSpPr>
          <p:cNvPr id="21" name="Textplatzhalter 12"/>
          <p:cNvSpPr>
            <a:spLocks noGrp="1"/>
          </p:cNvSpPr>
          <p:nvPr>
            <p:ph type="body" sz="quarter" idx="28" hasCustomPrompt="1"/>
          </p:nvPr>
        </p:nvSpPr>
        <p:spPr>
          <a:xfrm>
            <a:off x="266068" y="4656627"/>
            <a:ext cx="9731403" cy="620382"/>
          </a:xfrm>
        </p:spPr>
        <p:txBody>
          <a:bodyPr lIns="288000" rIns="288000" anchor="ctr" anchorCtr="0">
            <a:noAutofit/>
          </a:bodyPr>
          <a:lstStyle>
            <a:lvl1pPr marL="0" indent="0">
              <a:buNone/>
              <a:tabLst>
                <a:tab pos="1546242" algn="l"/>
              </a:tabLst>
              <a:defRPr sz="1995" baseline="0"/>
            </a:lvl1pPr>
            <a:lvl2pPr>
              <a:defRPr sz="1995"/>
            </a:lvl2pPr>
            <a:lvl3pPr>
              <a:defRPr sz="1995"/>
            </a:lvl3pPr>
            <a:lvl4pPr>
              <a:defRPr sz="1995"/>
            </a:lvl4pPr>
            <a:lvl5pPr>
              <a:defRPr sz="1995"/>
            </a:lvl5pPr>
          </a:lstStyle>
          <a:p>
            <a:pPr lvl="0"/>
            <a:r>
              <a:rPr lang="en-GB"/>
              <a:t>5                              Content 5</a:t>
            </a:r>
          </a:p>
        </p:txBody>
      </p:sp>
      <p:sp>
        <p:nvSpPr>
          <p:cNvPr id="22" name="Textplatzhalter 12"/>
          <p:cNvSpPr>
            <a:spLocks noGrp="1"/>
          </p:cNvSpPr>
          <p:nvPr>
            <p:ph type="body" sz="quarter" idx="29" hasCustomPrompt="1"/>
          </p:nvPr>
        </p:nvSpPr>
        <p:spPr>
          <a:xfrm>
            <a:off x="266068" y="5451461"/>
            <a:ext cx="9731403" cy="620382"/>
          </a:xfrm>
        </p:spPr>
        <p:txBody>
          <a:bodyPr lIns="288000" rIns="288000" anchor="ctr" anchorCtr="0">
            <a:noAutofit/>
          </a:bodyPr>
          <a:lstStyle>
            <a:lvl1pPr marL="0" indent="0">
              <a:buNone/>
              <a:tabLst>
                <a:tab pos="1546242" algn="l"/>
              </a:tabLst>
              <a:defRPr sz="1995" baseline="0"/>
            </a:lvl1pPr>
            <a:lvl2pPr>
              <a:defRPr sz="1995"/>
            </a:lvl2pPr>
            <a:lvl3pPr>
              <a:defRPr sz="1995"/>
            </a:lvl3pPr>
            <a:lvl4pPr>
              <a:defRPr sz="1995"/>
            </a:lvl4pPr>
            <a:lvl5pPr>
              <a:defRPr sz="1995"/>
            </a:lvl5pPr>
          </a:lstStyle>
          <a:p>
            <a:pPr lvl="0"/>
            <a:r>
              <a:rPr lang="en-GB"/>
              <a:t>6                              Content 6</a:t>
            </a:r>
          </a:p>
        </p:txBody>
      </p:sp>
    </p:spTree>
    <p:extLst>
      <p:ext uri="{BB962C8B-B14F-4D97-AF65-F5344CB8AC3E}">
        <p14:creationId xmlns:p14="http://schemas.microsoft.com/office/powerpoint/2010/main" val="439636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page grey">
    <p:bg>
      <p:bgPr>
        <a:solidFill>
          <a:srgbClr val="D5D4D3"/>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504886912"/>
              </p:ext>
            </p:extLst>
          </p:nvPr>
        </p:nvGraphicFramePr>
        <p:xfrm>
          <a:off x="1812" y="1443"/>
          <a:ext cx="1809" cy="143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kt 6" hidden="1"/>
                      <p:cNvPicPr/>
                      <p:nvPr/>
                    </p:nvPicPr>
                    <p:blipFill>
                      <a:blip r:embed="rId4"/>
                      <a:stretch>
                        <a:fillRect/>
                      </a:stretch>
                    </p:blipFill>
                    <p:spPr>
                      <a:xfrm>
                        <a:off x="1812" y="1443"/>
                        <a:ext cx="1809" cy="1439"/>
                      </a:xfrm>
                      <a:prstGeom prst="rect">
                        <a:avLst/>
                      </a:prstGeom>
                    </p:spPr>
                  </p:pic>
                </p:oleObj>
              </mc:Fallback>
            </mc:AlternateContent>
          </a:graphicData>
        </a:graphic>
      </p:graphicFrame>
      <p:sp>
        <p:nvSpPr>
          <p:cNvPr id="3" name="Untertitel 2"/>
          <p:cNvSpPr>
            <a:spLocks noGrp="1"/>
          </p:cNvSpPr>
          <p:nvPr>
            <p:ph type="subTitle" idx="1" hasCustomPrompt="1"/>
          </p:nvPr>
        </p:nvSpPr>
        <p:spPr>
          <a:xfrm>
            <a:off x="266069" y="2158382"/>
            <a:ext cx="11659866" cy="652515"/>
          </a:xfrm>
        </p:spPr>
        <p:txBody>
          <a:bodyPr/>
          <a:lstStyle>
            <a:lvl1pPr marL="0" indent="0" algn="ctr">
              <a:lnSpc>
                <a:spcPts val="4988"/>
              </a:lnSpc>
              <a:spcBef>
                <a:spcPts val="0"/>
              </a:spcBef>
              <a:buNone/>
              <a:defRPr sz="4988">
                <a:solidFill>
                  <a:schemeClr val="bg1"/>
                </a:solidFill>
                <a:latin typeface="+mn-lt"/>
              </a:defRPr>
            </a:lvl1pPr>
            <a:lvl2pPr marL="472974" indent="0" algn="ctr">
              <a:buNone/>
              <a:defRPr>
                <a:solidFill>
                  <a:schemeClr val="tx1">
                    <a:tint val="75000"/>
                  </a:schemeClr>
                </a:solidFill>
              </a:defRPr>
            </a:lvl2pPr>
            <a:lvl3pPr marL="945947" indent="0" algn="ctr">
              <a:buNone/>
              <a:defRPr>
                <a:solidFill>
                  <a:schemeClr val="tx1">
                    <a:tint val="75000"/>
                  </a:schemeClr>
                </a:solidFill>
              </a:defRPr>
            </a:lvl3pPr>
            <a:lvl4pPr marL="1418921" indent="0" algn="ctr">
              <a:buNone/>
              <a:defRPr>
                <a:solidFill>
                  <a:schemeClr val="tx1">
                    <a:tint val="75000"/>
                  </a:schemeClr>
                </a:solidFill>
              </a:defRPr>
            </a:lvl4pPr>
            <a:lvl5pPr marL="1891895" indent="0" algn="ctr">
              <a:buNone/>
              <a:defRPr>
                <a:solidFill>
                  <a:schemeClr val="tx1">
                    <a:tint val="75000"/>
                  </a:schemeClr>
                </a:solidFill>
              </a:defRPr>
            </a:lvl5pPr>
            <a:lvl6pPr marL="2364869" indent="0" algn="ctr">
              <a:buNone/>
              <a:defRPr>
                <a:solidFill>
                  <a:schemeClr val="tx1">
                    <a:tint val="75000"/>
                  </a:schemeClr>
                </a:solidFill>
              </a:defRPr>
            </a:lvl6pPr>
            <a:lvl7pPr marL="2837842" indent="0" algn="ctr">
              <a:buNone/>
              <a:defRPr>
                <a:solidFill>
                  <a:schemeClr val="tx1">
                    <a:tint val="75000"/>
                  </a:schemeClr>
                </a:solidFill>
              </a:defRPr>
            </a:lvl7pPr>
            <a:lvl8pPr marL="3310816" indent="0" algn="ctr">
              <a:buNone/>
              <a:defRPr>
                <a:solidFill>
                  <a:schemeClr val="tx1">
                    <a:tint val="75000"/>
                  </a:schemeClr>
                </a:solidFill>
              </a:defRPr>
            </a:lvl8pPr>
            <a:lvl9pPr marL="3783790" indent="0" algn="ctr">
              <a:buNone/>
              <a:defRPr>
                <a:solidFill>
                  <a:schemeClr val="tx1">
                    <a:tint val="75000"/>
                  </a:schemeClr>
                </a:solidFill>
              </a:defRPr>
            </a:lvl9pPr>
          </a:lstStyle>
          <a:p>
            <a:r>
              <a:rPr lang="en-GB"/>
              <a:t>Chapter title</a:t>
            </a:r>
          </a:p>
        </p:txBody>
      </p:sp>
      <p:sp>
        <p:nvSpPr>
          <p:cNvPr id="9" name="Textplatzhalter 8"/>
          <p:cNvSpPr>
            <a:spLocks noGrp="1"/>
          </p:cNvSpPr>
          <p:nvPr>
            <p:ph type="body" sz="quarter" idx="10" hasCustomPrompt="1"/>
          </p:nvPr>
        </p:nvSpPr>
        <p:spPr>
          <a:xfrm>
            <a:off x="266069" y="3619918"/>
            <a:ext cx="11659866" cy="276486"/>
          </a:xfrm>
        </p:spPr>
        <p:txBody>
          <a:bodyPr/>
          <a:lstStyle>
            <a:lvl1pPr marL="0" indent="0" algn="ctr">
              <a:lnSpc>
                <a:spcPts val="2267"/>
              </a:lnSpc>
              <a:spcBef>
                <a:spcPts val="0"/>
              </a:spcBef>
              <a:buNone/>
              <a:defRPr sz="1632" cap="none" baseline="0">
                <a:solidFill>
                  <a:schemeClr val="bg1"/>
                </a:solidFill>
                <a:latin typeface="+mn-lt"/>
              </a:defRPr>
            </a:lvl1pPr>
            <a:lvl2pPr>
              <a:defRPr sz="1360" cap="all">
                <a:latin typeface="+mn-lt"/>
              </a:defRPr>
            </a:lvl2pPr>
            <a:lvl3pPr>
              <a:defRPr sz="1360" cap="all">
                <a:latin typeface="+mn-lt"/>
              </a:defRPr>
            </a:lvl3pPr>
            <a:lvl4pPr>
              <a:defRPr sz="1360" cap="all">
                <a:latin typeface="+mn-lt"/>
              </a:defRPr>
            </a:lvl4pPr>
            <a:lvl5pPr>
              <a:defRPr sz="1360" cap="all">
                <a:latin typeface="+mn-lt"/>
              </a:defRPr>
            </a:lvl5pPr>
          </a:lstStyle>
          <a:p>
            <a:pPr lvl="0"/>
            <a:r>
              <a:rPr lang="en-GB"/>
              <a:t>Introduction text</a:t>
            </a:r>
          </a:p>
        </p:txBody>
      </p:sp>
      <p:sp>
        <p:nvSpPr>
          <p:cNvPr id="11" name="Textplatzhalter 8"/>
          <p:cNvSpPr>
            <a:spLocks noGrp="1"/>
          </p:cNvSpPr>
          <p:nvPr>
            <p:ph type="body" sz="quarter" idx="13" hasCustomPrompt="1"/>
          </p:nvPr>
        </p:nvSpPr>
        <p:spPr>
          <a:xfrm>
            <a:off x="5935818" y="1639128"/>
            <a:ext cx="320366" cy="192360"/>
          </a:xfrm>
        </p:spPr>
        <p:txBody>
          <a:bodyPr wrap="square" anchor="b"/>
          <a:lstStyle>
            <a:lvl1pPr marL="0" indent="0" algn="ctr">
              <a:lnSpc>
                <a:spcPts val="1542"/>
              </a:lnSpc>
              <a:buNone/>
              <a:defRPr sz="1270" cap="none" baseline="0">
                <a:solidFill>
                  <a:schemeClr val="bg1"/>
                </a:solidFill>
                <a:latin typeface="+mn-lt"/>
              </a:defRPr>
            </a:lvl1pPr>
            <a:lvl2pPr>
              <a:defRPr sz="1360" cap="all">
                <a:latin typeface="+mn-lt"/>
              </a:defRPr>
            </a:lvl2pPr>
            <a:lvl3pPr>
              <a:defRPr sz="1360" cap="all">
                <a:latin typeface="+mn-lt"/>
              </a:defRPr>
            </a:lvl3pPr>
            <a:lvl4pPr>
              <a:defRPr sz="1360" cap="all">
                <a:latin typeface="+mn-lt"/>
              </a:defRPr>
            </a:lvl4pPr>
            <a:lvl5pPr>
              <a:defRPr sz="1360" cap="all">
                <a:latin typeface="+mn-lt"/>
              </a:defRPr>
            </a:lvl5pPr>
          </a:lstStyle>
          <a:p>
            <a:pPr lvl="0"/>
            <a:r>
              <a:rPr lang="en-GB"/>
              <a:t>1</a:t>
            </a:r>
          </a:p>
        </p:txBody>
      </p:sp>
      <p:cxnSp>
        <p:nvCxnSpPr>
          <p:cNvPr id="10" name="Gerade Verbindung 9"/>
          <p:cNvCxnSpPr/>
          <p:nvPr userDrawn="1"/>
        </p:nvCxnSpPr>
        <p:spPr>
          <a:xfrm>
            <a:off x="5935818" y="1868204"/>
            <a:ext cx="32036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a:xfrm>
            <a:off x="632870" y="6617659"/>
            <a:ext cx="0" cy="993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2" name="Gruppieren 11"/>
          <p:cNvGrpSpPr>
            <a:grpSpLocks noChangeAspect="1"/>
          </p:cNvGrpSpPr>
          <p:nvPr userDrawn="1"/>
        </p:nvGrpSpPr>
        <p:grpSpPr>
          <a:xfrm>
            <a:off x="11522251" y="6541937"/>
            <a:ext cx="401810" cy="244888"/>
            <a:chOff x="7680842" y="5709958"/>
            <a:chExt cx="884790" cy="677863"/>
          </a:xfrm>
          <a:solidFill>
            <a:schemeClr val="bg1"/>
          </a:solidFill>
        </p:grpSpPr>
        <p:sp>
          <p:nvSpPr>
            <p:cNvPr id="13" name="Freeform 17"/>
            <p:cNvSpPr>
              <a:spLocks noEditPoints="1"/>
            </p:cNvSpPr>
            <p:nvPr/>
          </p:nvSpPr>
          <p:spPr bwMode="auto">
            <a:xfrm>
              <a:off x="7680842" y="5709958"/>
              <a:ext cx="884790" cy="677863"/>
            </a:xfrm>
            <a:custGeom>
              <a:avLst/>
              <a:gdLst>
                <a:gd name="T0" fmla="*/ 2771 w 2976"/>
                <a:gd name="T1" fmla="*/ 570 h 2280"/>
                <a:gd name="T2" fmla="*/ 2686 w 2976"/>
                <a:gd name="T3" fmla="*/ 444 h 2280"/>
                <a:gd name="T4" fmla="*/ 2469 w 2976"/>
                <a:gd name="T5" fmla="*/ 363 h 2280"/>
                <a:gd name="T6" fmla="*/ 2333 w 2976"/>
                <a:gd name="T7" fmla="*/ 272 h 2280"/>
                <a:gd name="T8" fmla="*/ 2172 w 2976"/>
                <a:gd name="T9" fmla="*/ 119 h 2280"/>
                <a:gd name="T10" fmla="*/ 2025 w 2976"/>
                <a:gd name="T11" fmla="*/ 100 h 2280"/>
                <a:gd name="T12" fmla="*/ 1804 w 2976"/>
                <a:gd name="T13" fmla="*/ 118 h 2280"/>
                <a:gd name="T14" fmla="*/ 1591 w 2976"/>
                <a:gd name="T15" fmla="*/ 23 h 2280"/>
                <a:gd name="T16" fmla="*/ 1488 w 2976"/>
                <a:gd name="T17" fmla="*/ 0 h 2280"/>
                <a:gd name="T18" fmla="*/ 1305 w 2976"/>
                <a:gd name="T19" fmla="*/ 69 h 2280"/>
                <a:gd name="T20" fmla="*/ 1120 w 2976"/>
                <a:gd name="T21" fmla="*/ 121 h 2280"/>
                <a:gd name="T22" fmla="*/ 891 w 2976"/>
                <a:gd name="T23" fmla="*/ 98 h 2280"/>
                <a:gd name="T24" fmla="*/ 753 w 2976"/>
                <a:gd name="T25" fmla="*/ 152 h 2280"/>
                <a:gd name="T26" fmla="*/ 593 w 2976"/>
                <a:gd name="T27" fmla="*/ 318 h 2280"/>
                <a:gd name="T28" fmla="*/ 404 w 2976"/>
                <a:gd name="T29" fmla="*/ 396 h 2280"/>
                <a:gd name="T30" fmla="*/ 254 w 2976"/>
                <a:gd name="T31" fmla="*/ 473 h 2280"/>
                <a:gd name="T32" fmla="*/ 178 w 2976"/>
                <a:gd name="T33" fmla="*/ 719 h 2280"/>
                <a:gd name="T34" fmla="*/ 106 w 2976"/>
                <a:gd name="T35" fmla="*/ 907 h 2280"/>
                <a:gd name="T36" fmla="*/ 2 w 2976"/>
                <a:gd name="T37" fmla="*/ 1115 h 2280"/>
                <a:gd name="T38" fmla="*/ 34 w 2976"/>
                <a:gd name="T39" fmla="*/ 1265 h 2280"/>
                <a:gd name="T40" fmla="*/ 154 w 2976"/>
                <a:gd name="T41" fmla="*/ 1462 h 2280"/>
                <a:gd name="T42" fmla="*/ 219 w 2976"/>
                <a:gd name="T43" fmla="*/ 1750 h 2280"/>
                <a:gd name="T44" fmla="*/ 326 w 2976"/>
                <a:gd name="T45" fmla="*/ 1856 h 2280"/>
                <a:gd name="T46" fmla="*/ 550 w 2976"/>
                <a:gd name="T47" fmla="*/ 1935 h 2280"/>
                <a:gd name="T48" fmla="*/ 699 w 2976"/>
                <a:gd name="T49" fmla="*/ 2070 h 2280"/>
                <a:gd name="T50" fmla="*/ 823 w 2976"/>
                <a:gd name="T51" fmla="*/ 2169 h 2280"/>
                <a:gd name="T52" fmla="*/ 1031 w 2976"/>
                <a:gd name="T53" fmla="*/ 2167 h 2280"/>
                <a:gd name="T54" fmla="*/ 1224 w 2976"/>
                <a:gd name="T55" fmla="*/ 2175 h 2280"/>
                <a:gd name="T56" fmla="*/ 1421 w 2976"/>
                <a:gd name="T57" fmla="*/ 2270 h 2280"/>
                <a:gd name="T58" fmla="*/ 1555 w 2976"/>
                <a:gd name="T59" fmla="*/ 2270 h 2280"/>
                <a:gd name="T60" fmla="*/ 1752 w 2976"/>
                <a:gd name="T61" fmla="*/ 2175 h 2280"/>
                <a:gd name="T62" fmla="*/ 1945 w 2976"/>
                <a:gd name="T63" fmla="*/ 2167 h 2280"/>
                <a:gd name="T64" fmla="*/ 2153 w 2976"/>
                <a:gd name="T65" fmla="*/ 2169 h 2280"/>
                <a:gd name="T66" fmla="*/ 2277 w 2976"/>
                <a:gd name="T67" fmla="*/ 2070 h 2280"/>
                <a:gd name="T68" fmla="*/ 2424 w 2976"/>
                <a:gd name="T69" fmla="*/ 1935 h 2280"/>
                <a:gd name="T70" fmla="*/ 2649 w 2976"/>
                <a:gd name="T71" fmla="*/ 1856 h 2280"/>
                <a:gd name="T72" fmla="*/ 2757 w 2976"/>
                <a:gd name="T73" fmla="*/ 1750 h 2280"/>
                <a:gd name="T74" fmla="*/ 2820 w 2976"/>
                <a:gd name="T75" fmla="*/ 1462 h 2280"/>
                <a:gd name="T76" fmla="*/ 2942 w 2976"/>
                <a:gd name="T77" fmla="*/ 1264 h 2280"/>
                <a:gd name="T78" fmla="*/ 2974 w 2976"/>
                <a:gd name="T79" fmla="*/ 1115 h 2280"/>
                <a:gd name="T80" fmla="*/ 2868 w 2976"/>
                <a:gd name="T81" fmla="*/ 907 h 2280"/>
                <a:gd name="T82" fmla="*/ 1419 w 2976"/>
                <a:gd name="T83" fmla="*/ 2028 h 2280"/>
                <a:gd name="T84" fmla="*/ 923 w 2976"/>
                <a:gd name="T85" fmla="*/ 1943 h 2280"/>
                <a:gd name="T86" fmla="*/ 547 w 2976"/>
                <a:gd name="T87" fmla="*/ 1742 h 2280"/>
                <a:gd name="T88" fmla="*/ 314 w 2976"/>
                <a:gd name="T89" fmla="*/ 1449 h 2280"/>
                <a:gd name="T90" fmla="*/ 246 w 2976"/>
                <a:gd name="T91" fmla="*/ 1139 h 2280"/>
                <a:gd name="T92" fmla="*/ 334 w 2976"/>
                <a:gd name="T93" fmla="*/ 791 h 2280"/>
                <a:gd name="T94" fmla="*/ 588 w 2976"/>
                <a:gd name="T95" fmla="*/ 507 h 2280"/>
                <a:gd name="T96" fmla="*/ 979 w 2976"/>
                <a:gd name="T97" fmla="*/ 319 h 2280"/>
                <a:gd name="T98" fmla="*/ 1488 w 2976"/>
                <a:gd name="T99" fmla="*/ 250 h 2280"/>
                <a:gd name="T100" fmla="*/ 1940 w 2976"/>
                <a:gd name="T101" fmla="*/ 303 h 2280"/>
                <a:gd name="T102" fmla="*/ 2347 w 2976"/>
                <a:gd name="T103" fmla="*/ 480 h 2280"/>
                <a:gd name="T104" fmla="*/ 2619 w 2976"/>
                <a:gd name="T105" fmla="*/ 751 h 2280"/>
                <a:gd name="T106" fmla="*/ 2729 w 2976"/>
                <a:gd name="T107" fmla="*/ 1093 h 2280"/>
                <a:gd name="T108" fmla="*/ 2680 w 2976"/>
                <a:gd name="T109" fmla="*/ 1408 h 2280"/>
                <a:gd name="T110" fmla="*/ 2465 w 2976"/>
                <a:gd name="T111" fmla="*/ 1709 h 2280"/>
                <a:gd name="T112" fmla="*/ 2107 w 2976"/>
                <a:gd name="T113" fmla="*/ 1923 h 2280"/>
                <a:gd name="T114" fmla="*/ 1624 w 2976"/>
                <a:gd name="T115" fmla="*/ 2025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76" h="2280">
                  <a:moveTo>
                    <a:pt x="2820" y="818"/>
                  </a:moveTo>
                  <a:lnTo>
                    <a:pt x="2820" y="818"/>
                  </a:lnTo>
                  <a:lnTo>
                    <a:pt x="2812" y="792"/>
                  </a:lnTo>
                  <a:lnTo>
                    <a:pt x="2806" y="768"/>
                  </a:lnTo>
                  <a:lnTo>
                    <a:pt x="2798" y="719"/>
                  </a:lnTo>
                  <a:lnTo>
                    <a:pt x="2784" y="630"/>
                  </a:lnTo>
                  <a:lnTo>
                    <a:pt x="2776" y="589"/>
                  </a:lnTo>
                  <a:lnTo>
                    <a:pt x="2771" y="570"/>
                  </a:lnTo>
                  <a:lnTo>
                    <a:pt x="2765" y="550"/>
                  </a:lnTo>
                  <a:lnTo>
                    <a:pt x="2757" y="530"/>
                  </a:lnTo>
                  <a:lnTo>
                    <a:pt x="2747" y="511"/>
                  </a:lnTo>
                  <a:lnTo>
                    <a:pt x="2735" y="493"/>
                  </a:lnTo>
                  <a:lnTo>
                    <a:pt x="2722" y="473"/>
                  </a:lnTo>
                  <a:lnTo>
                    <a:pt x="2722" y="473"/>
                  </a:lnTo>
                  <a:lnTo>
                    <a:pt x="2704" y="458"/>
                  </a:lnTo>
                  <a:lnTo>
                    <a:pt x="2686" y="444"/>
                  </a:lnTo>
                  <a:lnTo>
                    <a:pt x="2668" y="434"/>
                  </a:lnTo>
                  <a:lnTo>
                    <a:pt x="2649" y="424"/>
                  </a:lnTo>
                  <a:lnTo>
                    <a:pt x="2631" y="416"/>
                  </a:lnTo>
                  <a:lnTo>
                    <a:pt x="2611" y="408"/>
                  </a:lnTo>
                  <a:lnTo>
                    <a:pt x="2572" y="396"/>
                  </a:lnTo>
                  <a:lnTo>
                    <a:pt x="2531" y="385"/>
                  </a:lnTo>
                  <a:lnTo>
                    <a:pt x="2490" y="372"/>
                  </a:lnTo>
                  <a:lnTo>
                    <a:pt x="2469" y="363"/>
                  </a:lnTo>
                  <a:lnTo>
                    <a:pt x="2447" y="355"/>
                  </a:lnTo>
                  <a:lnTo>
                    <a:pt x="2424" y="345"/>
                  </a:lnTo>
                  <a:lnTo>
                    <a:pt x="2403" y="332"/>
                  </a:lnTo>
                  <a:lnTo>
                    <a:pt x="2403" y="332"/>
                  </a:lnTo>
                  <a:lnTo>
                    <a:pt x="2383" y="318"/>
                  </a:lnTo>
                  <a:lnTo>
                    <a:pt x="2364" y="303"/>
                  </a:lnTo>
                  <a:lnTo>
                    <a:pt x="2347" y="286"/>
                  </a:lnTo>
                  <a:lnTo>
                    <a:pt x="2333" y="272"/>
                  </a:lnTo>
                  <a:lnTo>
                    <a:pt x="2303" y="239"/>
                  </a:lnTo>
                  <a:lnTo>
                    <a:pt x="2277" y="208"/>
                  </a:lnTo>
                  <a:lnTo>
                    <a:pt x="2251" y="178"/>
                  </a:lnTo>
                  <a:lnTo>
                    <a:pt x="2238" y="165"/>
                  </a:lnTo>
                  <a:lnTo>
                    <a:pt x="2223" y="152"/>
                  </a:lnTo>
                  <a:lnTo>
                    <a:pt x="2207" y="139"/>
                  </a:lnTo>
                  <a:lnTo>
                    <a:pt x="2190" y="129"/>
                  </a:lnTo>
                  <a:lnTo>
                    <a:pt x="2172" y="119"/>
                  </a:lnTo>
                  <a:lnTo>
                    <a:pt x="2153" y="110"/>
                  </a:lnTo>
                  <a:lnTo>
                    <a:pt x="2153" y="110"/>
                  </a:lnTo>
                  <a:lnTo>
                    <a:pt x="2130" y="105"/>
                  </a:lnTo>
                  <a:lnTo>
                    <a:pt x="2107" y="100"/>
                  </a:lnTo>
                  <a:lnTo>
                    <a:pt x="2085" y="98"/>
                  </a:lnTo>
                  <a:lnTo>
                    <a:pt x="2064" y="98"/>
                  </a:lnTo>
                  <a:lnTo>
                    <a:pt x="2045" y="98"/>
                  </a:lnTo>
                  <a:lnTo>
                    <a:pt x="2025" y="100"/>
                  </a:lnTo>
                  <a:lnTo>
                    <a:pt x="1984" y="106"/>
                  </a:lnTo>
                  <a:lnTo>
                    <a:pt x="1945" y="113"/>
                  </a:lnTo>
                  <a:lnTo>
                    <a:pt x="1901" y="119"/>
                  </a:lnTo>
                  <a:lnTo>
                    <a:pt x="1879" y="121"/>
                  </a:lnTo>
                  <a:lnTo>
                    <a:pt x="1855" y="121"/>
                  </a:lnTo>
                  <a:lnTo>
                    <a:pt x="1830" y="119"/>
                  </a:lnTo>
                  <a:lnTo>
                    <a:pt x="1804" y="118"/>
                  </a:lnTo>
                  <a:lnTo>
                    <a:pt x="1804" y="118"/>
                  </a:lnTo>
                  <a:lnTo>
                    <a:pt x="1776" y="111"/>
                  </a:lnTo>
                  <a:lnTo>
                    <a:pt x="1752" y="105"/>
                  </a:lnTo>
                  <a:lnTo>
                    <a:pt x="1729" y="97"/>
                  </a:lnTo>
                  <a:lnTo>
                    <a:pt x="1707" y="87"/>
                  </a:lnTo>
                  <a:lnTo>
                    <a:pt x="1671" y="69"/>
                  </a:lnTo>
                  <a:lnTo>
                    <a:pt x="1639" y="49"/>
                  </a:lnTo>
                  <a:lnTo>
                    <a:pt x="1607" y="31"/>
                  </a:lnTo>
                  <a:lnTo>
                    <a:pt x="1591" y="23"/>
                  </a:lnTo>
                  <a:lnTo>
                    <a:pt x="1573" y="16"/>
                  </a:lnTo>
                  <a:lnTo>
                    <a:pt x="1555" y="10"/>
                  </a:lnTo>
                  <a:lnTo>
                    <a:pt x="1534" y="5"/>
                  </a:lnTo>
                  <a:lnTo>
                    <a:pt x="1513" y="2"/>
                  </a:lnTo>
                  <a:lnTo>
                    <a:pt x="1488" y="0"/>
                  </a:lnTo>
                  <a:lnTo>
                    <a:pt x="1488" y="0"/>
                  </a:lnTo>
                  <a:lnTo>
                    <a:pt x="1488" y="0"/>
                  </a:lnTo>
                  <a:lnTo>
                    <a:pt x="1488" y="0"/>
                  </a:lnTo>
                  <a:lnTo>
                    <a:pt x="1463" y="2"/>
                  </a:lnTo>
                  <a:lnTo>
                    <a:pt x="1441" y="5"/>
                  </a:lnTo>
                  <a:lnTo>
                    <a:pt x="1421" y="10"/>
                  </a:lnTo>
                  <a:lnTo>
                    <a:pt x="1403" y="16"/>
                  </a:lnTo>
                  <a:lnTo>
                    <a:pt x="1385" y="23"/>
                  </a:lnTo>
                  <a:lnTo>
                    <a:pt x="1369" y="31"/>
                  </a:lnTo>
                  <a:lnTo>
                    <a:pt x="1337" y="49"/>
                  </a:lnTo>
                  <a:lnTo>
                    <a:pt x="1305" y="69"/>
                  </a:lnTo>
                  <a:lnTo>
                    <a:pt x="1269" y="87"/>
                  </a:lnTo>
                  <a:lnTo>
                    <a:pt x="1247" y="97"/>
                  </a:lnTo>
                  <a:lnTo>
                    <a:pt x="1224" y="105"/>
                  </a:lnTo>
                  <a:lnTo>
                    <a:pt x="1200" y="111"/>
                  </a:lnTo>
                  <a:lnTo>
                    <a:pt x="1172" y="118"/>
                  </a:lnTo>
                  <a:lnTo>
                    <a:pt x="1172" y="118"/>
                  </a:lnTo>
                  <a:lnTo>
                    <a:pt x="1146" y="119"/>
                  </a:lnTo>
                  <a:lnTo>
                    <a:pt x="1120" y="121"/>
                  </a:lnTo>
                  <a:lnTo>
                    <a:pt x="1097" y="121"/>
                  </a:lnTo>
                  <a:lnTo>
                    <a:pt x="1074" y="119"/>
                  </a:lnTo>
                  <a:lnTo>
                    <a:pt x="1031" y="113"/>
                  </a:lnTo>
                  <a:lnTo>
                    <a:pt x="990" y="106"/>
                  </a:lnTo>
                  <a:lnTo>
                    <a:pt x="951" y="100"/>
                  </a:lnTo>
                  <a:lnTo>
                    <a:pt x="931" y="98"/>
                  </a:lnTo>
                  <a:lnTo>
                    <a:pt x="910" y="98"/>
                  </a:lnTo>
                  <a:lnTo>
                    <a:pt x="891" y="98"/>
                  </a:lnTo>
                  <a:lnTo>
                    <a:pt x="869" y="100"/>
                  </a:lnTo>
                  <a:lnTo>
                    <a:pt x="846" y="105"/>
                  </a:lnTo>
                  <a:lnTo>
                    <a:pt x="823" y="110"/>
                  </a:lnTo>
                  <a:lnTo>
                    <a:pt x="823" y="110"/>
                  </a:lnTo>
                  <a:lnTo>
                    <a:pt x="804" y="119"/>
                  </a:lnTo>
                  <a:lnTo>
                    <a:pt x="786" y="129"/>
                  </a:lnTo>
                  <a:lnTo>
                    <a:pt x="768" y="139"/>
                  </a:lnTo>
                  <a:lnTo>
                    <a:pt x="753" y="152"/>
                  </a:lnTo>
                  <a:lnTo>
                    <a:pt x="738" y="165"/>
                  </a:lnTo>
                  <a:lnTo>
                    <a:pt x="725" y="178"/>
                  </a:lnTo>
                  <a:lnTo>
                    <a:pt x="699" y="208"/>
                  </a:lnTo>
                  <a:lnTo>
                    <a:pt x="671" y="239"/>
                  </a:lnTo>
                  <a:lnTo>
                    <a:pt x="643" y="272"/>
                  </a:lnTo>
                  <a:lnTo>
                    <a:pt x="629" y="286"/>
                  </a:lnTo>
                  <a:lnTo>
                    <a:pt x="611" y="303"/>
                  </a:lnTo>
                  <a:lnTo>
                    <a:pt x="593" y="318"/>
                  </a:lnTo>
                  <a:lnTo>
                    <a:pt x="573" y="332"/>
                  </a:lnTo>
                  <a:lnTo>
                    <a:pt x="573" y="332"/>
                  </a:lnTo>
                  <a:lnTo>
                    <a:pt x="550" y="345"/>
                  </a:lnTo>
                  <a:lnTo>
                    <a:pt x="529" y="355"/>
                  </a:lnTo>
                  <a:lnTo>
                    <a:pt x="507" y="363"/>
                  </a:lnTo>
                  <a:lnTo>
                    <a:pt x="486" y="372"/>
                  </a:lnTo>
                  <a:lnTo>
                    <a:pt x="445" y="385"/>
                  </a:lnTo>
                  <a:lnTo>
                    <a:pt x="404" y="396"/>
                  </a:lnTo>
                  <a:lnTo>
                    <a:pt x="365" y="408"/>
                  </a:lnTo>
                  <a:lnTo>
                    <a:pt x="345" y="416"/>
                  </a:lnTo>
                  <a:lnTo>
                    <a:pt x="326" y="424"/>
                  </a:lnTo>
                  <a:lnTo>
                    <a:pt x="308" y="434"/>
                  </a:lnTo>
                  <a:lnTo>
                    <a:pt x="290" y="444"/>
                  </a:lnTo>
                  <a:lnTo>
                    <a:pt x="272" y="458"/>
                  </a:lnTo>
                  <a:lnTo>
                    <a:pt x="254" y="473"/>
                  </a:lnTo>
                  <a:lnTo>
                    <a:pt x="254" y="473"/>
                  </a:lnTo>
                  <a:lnTo>
                    <a:pt x="241" y="493"/>
                  </a:lnTo>
                  <a:lnTo>
                    <a:pt x="228" y="511"/>
                  </a:lnTo>
                  <a:lnTo>
                    <a:pt x="219" y="530"/>
                  </a:lnTo>
                  <a:lnTo>
                    <a:pt x="211" y="550"/>
                  </a:lnTo>
                  <a:lnTo>
                    <a:pt x="205" y="570"/>
                  </a:lnTo>
                  <a:lnTo>
                    <a:pt x="200" y="589"/>
                  </a:lnTo>
                  <a:lnTo>
                    <a:pt x="192" y="630"/>
                  </a:lnTo>
                  <a:lnTo>
                    <a:pt x="178" y="719"/>
                  </a:lnTo>
                  <a:lnTo>
                    <a:pt x="169" y="768"/>
                  </a:lnTo>
                  <a:lnTo>
                    <a:pt x="162" y="792"/>
                  </a:lnTo>
                  <a:lnTo>
                    <a:pt x="154" y="818"/>
                  </a:lnTo>
                  <a:lnTo>
                    <a:pt x="154" y="818"/>
                  </a:lnTo>
                  <a:lnTo>
                    <a:pt x="144" y="843"/>
                  </a:lnTo>
                  <a:lnTo>
                    <a:pt x="133" y="866"/>
                  </a:lnTo>
                  <a:lnTo>
                    <a:pt x="119" y="887"/>
                  </a:lnTo>
                  <a:lnTo>
                    <a:pt x="106" y="907"/>
                  </a:lnTo>
                  <a:lnTo>
                    <a:pt x="82" y="944"/>
                  </a:lnTo>
                  <a:lnTo>
                    <a:pt x="57" y="979"/>
                  </a:lnTo>
                  <a:lnTo>
                    <a:pt x="34" y="1013"/>
                  </a:lnTo>
                  <a:lnTo>
                    <a:pt x="25" y="1031"/>
                  </a:lnTo>
                  <a:lnTo>
                    <a:pt x="16" y="1051"/>
                  </a:lnTo>
                  <a:lnTo>
                    <a:pt x="10" y="1070"/>
                  </a:lnTo>
                  <a:lnTo>
                    <a:pt x="5" y="1092"/>
                  </a:lnTo>
                  <a:lnTo>
                    <a:pt x="2" y="1115"/>
                  </a:lnTo>
                  <a:lnTo>
                    <a:pt x="0" y="1139"/>
                  </a:lnTo>
                  <a:lnTo>
                    <a:pt x="0" y="1139"/>
                  </a:lnTo>
                  <a:lnTo>
                    <a:pt x="2" y="1164"/>
                  </a:lnTo>
                  <a:lnTo>
                    <a:pt x="5" y="1187"/>
                  </a:lnTo>
                  <a:lnTo>
                    <a:pt x="10" y="1208"/>
                  </a:lnTo>
                  <a:lnTo>
                    <a:pt x="16" y="1228"/>
                  </a:lnTo>
                  <a:lnTo>
                    <a:pt x="25" y="1247"/>
                  </a:lnTo>
                  <a:lnTo>
                    <a:pt x="34" y="1265"/>
                  </a:lnTo>
                  <a:lnTo>
                    <a:pt x="57" y="1300"/>
                  </a:lnTo>
                  <a:lnTo>
                    <a:pt x="82" y="1336"/>
                  </a:lnTo>
                  <a:lnTo>
                    <a:pt x="106" y="1373"/>
                  </a:lnTo>
                  <a:lnTo>
                    <a:pt x="119" y="1393"/>
                  </a:lnTo>
                  <a:lnTo>
                    <a:pt x="133" y="1414"/>
                  </a:lnTo>
                  <a:lnTo>
                    <a:pt x="144" y="1437"/>
                  </a:lnTo>
                  <a:lnTo>
                    <a:pt x="154" y="1462"/>
                  </a:lnTo>
                  <a:lnTo>
                    <a:pt x="154" y="1462"/>
                  </a:lnTo>
                  <a:lnTo>
                    <a:pt x="162" y="1488"/>
                  </a:lnTo>
                  <a:lnTo>
                    <a:pt x="169" y="1512"/>
                  </a:lnTo>
                  <a:lnTo>
                    <a:pt x="178" y="1560"/>
                  </a:lnTo>
                  <a:lnTo>
                    <a:pt x="192" y="1648"/>
                  </a:lnTo>
                  <a:lnTo>
                    <a:pt x="200" y="1689"/>
                  </a:lnTo>
                  <a:lnTo>
                    <a:pt x="205" y="1710"/>
                  </a:lnTo>
                  <a:lnTo>
                    <a:pt x="211" y="1730"/>
                  </a:lnTo>
                  <a:lnTo>
                    <a:pt x="219" y="1750"/>
                  </a:lnTo>
                  <a:lnTo>
                    <a:pt x="228" y="1768"/>
                  </a:lnTo>
                  <a:lnTo>
                    <a:pt x="241" y="1787"/>
                  </a:lnTo>
                  <a:lnTo>
                    <a:pt x="254" y="1807"/>
                  </a:lnTo>
                  <a:lnTo>
                    <a:pt x="254" y="1807"/>
                  </a:lnTo>
                  <a:lnTo>
                    <a:pt x="272" y="1822"/>
                  </a:lnTo>
                  <a:lnTo>
                    <a:pt x="290" y="1835"/>
                  </a:lnTo>
                  <a:lnTo>
                    <a:pt x="308" y="1846"/>
                  </a:lnTo>
                  <a:lnTo>
                    <a:pt x="326" y="1856"/>
                  </a:lnTo>
                  <a:lnTo>
                    <a:pt x="345" y="1864"/>
                  </a:lnTo>
                  <a:lnTo>
                    <a:pt x="365" y="1871"/>
                  </a:lnTo>
                  <a:lnTo>
                    <a:pt x="404" y="1884"/>
                  </a:lnTo>
                  <a:lnTo>
                    <a:pt x="445" y="1895"/>
                  </a:lnTo>
                  <a:lnTo>
                    <a:pt x="486" y="1908"/>
                  </a:lnTo>
                  <a:lnTo>
                    <a:pt x="507" y="1915"/>
                  </a:lnTo>
                  <a:lnTo>
                    <a:pt x="529" y="1925"/>
                  </a:lnTo>
                  <a:lnTo>
                    <a:pt x="550" y="1935"/>
                  </a:lnTo>
                  <a:lnTo>
                    <a:pt x="573" y="1946"/>
                  </a:lnTo>
                  <a:lnTo>
                    <a:pt x="573" y="1946"/>
                  </a:lnTo>
                  <a:lnTo>
                    <a:pt x="593" y="1962"/>
                  </a:lnTo>
                  <a:lnTo>
                    <a:pt x="611" y="1977"/>
                  </a:lnTo>
                  <a:lnTo>
                    <a:pt x="629" y="1992"/>
                  </a:lnTo>
                  <a:lnTo>
                    <a:pt x="643" y="2008"/>
                  </a:lnTo>
                  <a:lnTo>
                    <a:pt x="671" y="2039"/>
                  </a:lnTo>
                  <a:lnTo>
                    <a:pt x="699" y="2070"/>
                  </a:lnTo>
                  <a:lnTo>
                    <a:pt x="725" y="2100"/>
                  </a:lnTo>
                  <a:lnTo>
                    <a:pt x="738" y="2115"/>
                  </a:lnTo>
                  <a:lnTo>
                    <a:pt x="753" y="2128"/>
                  </a:lnTo>
                  <a:lnTo>
                    <a:pt x="768" y="2139"/>
                  </a:lnTo>
                  <a:lnTo>
                    <a:pt x="786" y="2151"/>
                  </a:lnTo>
                  <a:lnTo>
                    <a:pt x="804" y="2161"/>
                  </a:lnTo>
                  <a:lnTo>
                    <a:pt x="823" y="2169"/>
                  </a:lnTo>
                  <a:lnTo>
                    <a:pt x="823" y="2169"/>
                  </a:lnTo>
                  <a:lnTo>
                    <a:pt x="846" y="2175"/>
                  </a:lnTo>
                  <a:lnTo>
                    <a:pt x="869" y="2179"/>
                  </a:lnTo>
                  <a:lnTo>
                    <a:pt x="891" y="2182"/>
                  </a:lnTo>
                  <a:lnTo>
                    <a:pt x="910" y="2182"/>
                  </a:lnTo>
                  <a:lnTo>
                    <a:pt x="931" y="2180"/>
                  </a:lnTo>
                  <a:lnTo>
                    <a:pt x="951" y="2179"/>
                  </a:lnTo>
                  <a:lnTo>
                    <a:pt x="990" y="2174"/>
                  </a:lnTo>
                  <a:lnTo>
                    <a:pt x="1031" y="2167"/>
                  </a:lnTo>
                  <a:lnTo>
                    <a:pt x="1074" y="2161"/>
                  </a:lnTo>
                  <a:lnTo>
                    <a:pt x="1097" y="2159"/>
                  </a:lnTo>
                  <a:lnTo>
                    <a:pt x="1120" y="2159"/>
                  </a:lnTo>
                  <a:lnTo>
                    <a:pt x="1146" y="2159"/>
                  </a:lnTo>
                  <a:lnTo>
                    <a:pt x="1172" y="2162"/>
                  </a:lnTo>
                  <a:lnTo>
                    <a:pt x="1172" y="2162"/>
                  </a:lnTo>
                  <a:lnTo>
                    <a:pt x="1200" y="2169"/>
                  </a:lnTo>
                  <a:lnTo>
                    <a:pt x="1224" y="2175"/>
                  </a:lnTo>
                  <a:lnTo>
                    <a:pt x="1247" y="2183"/>
                  </a:lnTo>
                  <a:lnTo>
                    <a:pt x="1269" y="2193"/>
                  </a:lnTo>
                  <a:lnTo>
                    <a:pt x="1305" y="2211"/>
                  </a:lnTo>
                  <a:lnTo>
                    <a:pt x="1337" y="2231"/>
                  </a:lnTo>
                  <a:lnTo>
                    <a:pt x="1369" y="2249"/>
                  </a:lnTo>
                  <a:lnTo>
                    <a:pt x="1385" y="2257"/>
                  </a:lnTo>
                  <a:lnTo>
                    <a:pt x="1403" y="2264"/>
                  </a:lnTo>
                  <a:lnTo>
                    <a:pt x="1421" y="2270"/>
                  </a:lnTo>
                  <a:lnTo>
                    <a:pt x="1441" y="2275"/>
                  </a:lnTo>
                  <a:lnTo>
                    <a:pt x="1463" y="2278"/>
                  </a:lnTo>
                  <a:lnTo>
                    <a:pt x="1488" y="2280"/>
                  </a:lnTo>
                  <a:lnTo>
                    <a:pt x="1488" y="2280"/>
                  </a:lnTo>
                  <a:lnTo>
                    <a:pt x="1488" y="2280"/>
                  </a:lnTo>
                  <a:lnTo>
                    <a:pt x="1513" y="2278"/>
                  </a:lnTo>
                  <a:lnTo>
                    <a:pt x="1534" y="2275"/>
                  </a:lnTo>
                  <a:lnTo>
                    <a:pt x="1555" y="2270"/>
                  </a:lnTo>
                  <a:lnTo>
                    <a:pt x="1573" y="2264"/>
                  </a:lnTo>
                  <a:lnTo>
                    <a:pt x="1591" y="2257"/>
                  </a:lnTo>
                  <a:lnTo>
                    <a:pt x="1607" y="2249"/>
                  </a:lnTo>
                  <a:lnTo>
                    <a:pt x="1639" y="2231"/>
                  </a:lnTo>
                  <a:lnTo>
                    <a:pt x="1671" y="2211"/>
                  </a:lnTo>
                  <a:lnTo>
                    <a:pt x="1707" y="2193"/>
                  </a:lnTo>
                  <a:lnTo>
                    <a:pt x="1729" y="2183"/>
                  </a:lnTo>
                  <a:lnTo>
                    <a:pt x="1752" y="2175"/>
                  </a:lnTo>
                  <a:lnTo>
                    <a:pt x="1776" y="2169"/>
                  </a:lnTo>
                  <a:lnTo>
                    <a:pt x="1804" y="2162"/>
                  </a:lnTo>
                  <a:lnTo>
                    <a:pt x="1804" y="2162"/>
                  </a:lnTo>
                  <a:lnTo>
                    <a:pt x="1830" y="2159"/>
                  </a:lnTo>
                  <a:lnTo>
                    <a:pt x="1855" y="2159"/>
                  </a:lnTo>
                  <a:lnTo>
                    <a:pt x="1879" y="2159"/>
                  </a:lnTo>
                  <a:lnTo>
                    <a:pt x="1901" y="2161"/>
                  </a:lnTo>
                  <a:lnTo>
                    <a:pt x="1945" y="2167"/>
                  </a:lnTo>
                  <a:lnTo>
                    <a:pt x="1984" y="2174"/>
                  </a:lnTo>
                  <a:lnTo>
                    <a:pt x="2025" y="2179"/>
                  </a:lnTo>
                  <a:lnTo>
                    <a:pt x="2045" y="2180"/>
                  </a:lnTo>
                  <a:lnTo>
                    <a:pt x="2064" y="2182"/>
                  </a:lnTo>
                  <a:lnTo>
                    <a:pt x="2085" y="2182"/>
                  </a:lnTo>
                  <a:lnTo>
                    <a:pt x="2107" y="2179"/>
                  </a:lnTo>
                  <a:lnTo>
                    <a:pt x="2130" y="2175"/>
                  </a:lnTo>
                  <a:lnTo>
                    <a:pt x="2153" y="2169"/>
                  </a:lnTo>
                  <a:lnTo>
                    <a:pt x="2153" y="2169"/>
                  </a:lnTo>
                  <a:lnTo>
                    <a:pt x="2172" y="2161"/>
                  </a:lnTo>
                  <a:lnTo>
                    <a:pt x="2190" y="2151"/>
                  </a:lnTo>
                  <a:lnTo>
                    <a:pt x="2207" y="2139"/>
                  </a:lnTo>
                  <a:lnTo>
                    <a:pt x="2223" y="2128"/>
                  </a:lnTo>
                  <a:lnTo>
                    <a:pt x="2238" y="2115"/>
                  </a:lnTo>
                  <a:lnTo>
                    <a:pt x="2251" y="2100"/>
                  </a:lnTo>
                  <a:lnTo>
                    <a:pt x="2277" y="2070"/>
                  </a:lnTo>
                  <a:lnTo>
                    <a:pt x="2303" y="2039"/>
                  </a:lnTo>
                  <a:lnTo>
                    <a:pt x="2333" y="2008"/>
                  </a:lnTo>
                  <a:lnTo>
                    <a:pt x="2347" y="1992"/>
                  </a:lnTo>
                  <a:lnTo>
                    <a:pt x="2364" y="1977"/>
                  </a:lnTo>
                  <a:lnTo>
                    <a:pt x="2383" y="1962"/>
                  </a:lnTo>
                  <a:lnTo>
                    <a:pt x="2403" y="1946"/>
                  </a:lnTo>
                  <a:lnTo>
                    <a:pt x="2403" y="1946"/>
                  </a:lnTo>
                  <a:lnTo>
                    <a:pt x="2424" y="1935"/>
                  </a:lnTo>
                  <a:lnTo>
                    <a:pt x="2447" y="1925"/>
                  </a:lnTo>
                  <a:lnTo>
                    <a:pt x="2469" y="1915"/>
                  </a:lnTo>
                  <a:lnTo>
                    <a:pt x="2490" y="1908"/>
                  </a:lnTo>
                  <a:lnTo>
                    <a:pt x="2531" y="1895"/>
                  </a:lnTo>
                  <a:lnTo>
                    <a:pt x="2572" y="1884"/>
                  </a:lnTo>
                  <a:lnTo>
                    <a:pt x="2611" y="1871"/>
                  </a:lnTo>
                  <a:lnTo>
                    <a:pt x="2631" y="1864"/>
                  </a:lnTo>
                  <a:lnTo>
                    <a:pt x="2649" y="1856"/>
                  </a:lnTo>
                  <a:lnTo>
                    <a:pt x="2668" y="1846"/>
                  </a:lnTo>
                  <a:lnTo>
                    <a:pt x="2686" y="1835"/>
                  </a:lnTo>
                  <a:lnTo>
                    <a:pt x="2704" y="1822"/>
                  </a:lnTo>
                  <a:lnTo>
                    <a:pt x="2722" y="1807"/>
                  </a:lnTo>
                  <a:lnTo>
                    <a:pt x="2722" y="1807"/>
                  </a:lnTo>
                  <a:lnTo>
                    <a:pt x="2735" y="1787"/>
                  </a:lnTo>
                  <a:lnTo>
                    <a:pt x="2747" y="1768"/>
                  </a:lnTo>
                  <a:lnTo>
                    <a:pt x="2757" y="1750"/>
                  </a:lnTo>
                  <a:lnTo>
                    <a:pt x="2765" y="1730"/>
                  </a:lnTo>
                  <a:lnTo>
                    <a:pt x="2771" y="1710"/>
                  </a:lnTo>
                  <a:lnTo>
                    <a:pt x="2776" y="1689"/>
                  </a:lnTo>
                  <a:lnTo>
                    <a:pt x="2784" y="1648"/>
                  </a:lnTo>
                  <a:lnTo>
                    <a:pt x="2798" y="1560"/>
                  </a:lnTo>
                  <a:lnTo>
                    <a:pt x="2806" y="1512"/>
                  </a:lnTo>
                  <a:lnTo>
                    <a:pt x="2812" y="1488"/>
                  </a:lnTo>
                  <a:lnTo>
                    <a:pt x="2820" y="1462"/>
                  </a:lnTo>
                  <a:lnTo>
                    <a:pt x="2820" y="1462"/>
                  </a:lnTo>
                  <a:lnTo>
                    <a:pt x="2832" y="1437"/>
                  </a:lnTo>
                  <a:lnTo>
                    <a:pt x="2843" y="1414"/>
                  </a:lnTo>
                  <a:lnTo>
                    <a:pt x="2857" y="1393"/>
                  </a:lnTo>
                  <a:lnTo>
                    <a:pt x="2868" y="1372"/>
                  </a:lnTo>
                  <a:lnTo>
                    <a:pt x="2894" y="1336"/>
                  </a:lnTo>
                  <a:lnTo>
                    <a:pt x="2919" y="1300"/>
                  </a:lnTo>
                  <a:lnTo>
                    <a:pt x="2942" y="1264"/>
                  </a:lnTo>
                  <a:lnTo>
                    <a:pt x="2951" y="1246"/>
                  </a:lnTo>
                  <a:lnTo>
                    <a:pt x="2960" y="1228"/>
                  </a:lnTo>
                  <a:lnTo>
                    <a:pt x="2966" y="1208"/>
                  </a:lnTo>
                  <a:lnTo>
                    <a:pt x="2971" y="1187"/>
                  </a:lnTo>
                  <a:lnTo>
                    <a:pt x="2974" y="1164"/>
                  </a:lnTo>
                  <a:lnTo>
                    <a:pt x="2976" y="1139"/>
                  </a:lnTo>
                  <a:lnTo>
                    <a:pt x="2976" y="1139"/>
                  </a:lnTo>
                  <a:lnTo>
                    <a:pt x="2974" y="1115"/>
                  </a:lnTo>
                  <a:lnTo>
                    <a:pt x="2971" y="1092"/>
                  </a:lnTo>
                  <a:lnTo>
                    <a:pt x="2966" y="1070"/>
                  </a:lnTo>
                  <a:lnTo>
                    <a:pt x="2960" y="1051"/>
                  </a:lnTo>
                  <a:lnTo>
                    <a:pt x="2951" y="1031"/>
                  </a:lnTo>
                  <a:lnTo>
                    <a:pt x="2942" y="1013"/>
                  </a:lnTo>
                  <a:lnTo>
                    <a:pt x="2919" y="979"/>
                  </a:lnTo>
                  <a:lnTo>
                    <a:pt x="2894" y="943"/>
                  </a:lnTo>
                  <a:lnTo>
                    <a:pt x="2868" y="907"/>
                  </a:lnTo>
                  <a:lnTo>
                    <a:pt x="2857" y="887"/>
                  </a:lnTo>
                  <a:lnTo>
                    <a:pt x="2843" y="866"/>
                  </a:lnTo>
                  <a:lnTo>
                    <a:pt x="2832" y="843"/>
                  </a:lnTo>
                  <a:lnTo>
                    <a:pt x="2820" y="818"/>
                  </a:lnTo>
                  <a:lnTo>
                    <a:pt x="2820" y="818"/>
                  </a:lnTo>
                  <a:close/>
                  <a:moveTo>
                    <a:pt x="1488" y="2030"/>
                  </a:moveTo>
                  <a:lnTo>
                    <a:pt x="1488" y="2030"/>
                  </a:lnTo>
                  <a:lnTo>
                    <a:pt x="1419" y="2028"/>
                  </a:lnTo>
                  <a:lnTo>
                    <a:pt x="1350" y="2025"/>
                  </a:lnTo>
                  <a:lnTo>
                    <a:pt x="1285" y="2018"/>
                  </a:lnTo>
                  <a:lnTo>
                    <a:pt x="1221" y="2012"/>
                  </a:lnTo>
                  <a:lnTo>
                    <a:pt x="1157" y="2002"/>
                  </a:lnTo>
                  <a:lnTo>
                    <a:pt x="1097" y="1990"/>
                  </a:lnTo>
                  <a:lnTo>
                    <a:pt x="1036" y="1976"/>
                  </a:lnTo>
                  <a:lnTo>
                    <a:pt x="979" y="1961"/>
                  </a:lnTo>
                  <a:lnTo>
                    <a:pt x="923" y="1943"/>
                  </a:lnTo>
                  <a:lnTo>
                    <a:pt x="869" y="1923"/>
                  </a:lnTo>
                  <a:lnTo>
                    <a:pt x="817" y="1902"/>
                  </a:lnTo>
                  <a:lnTo>
                    <a:pt x="768" y="1879"/>
                  </a:lnTo>
                  <a:lnTo>
                    <a:pt x="719" y="1854"/>
                  </a:lnTo>
                  <a:lnTo>
                    <a:pt x="673" y="1828"/>
                  </a:lnTo>
                  <a:lnTo>
                    <a:pt x="629" y="1800"/>
                  </a:lnTo>
                  <a:lnTo>
                    <a:pt x="586" y="1771"/>
                  </a:lnTo>
                  <a:lnTo>
                    <a:pt x="547" y="1742"/>
                  </a:lnTo>
                  <a:lnTo>
                    <a:pt x="509" y="1709"/>
                  </a:lnTo>
                  <a:lnTo>
                    <a:pt x="475" y="1674"/>
                  </a:lnTo>
                  <a:lnTo>
                    <a:pt x="442" y="1640"/>
                  </a:lnTo>
                  <a:lnTo>
                    <a:pt x="411" y="1604"/>
                  </a:lnTo>
                  <a:lnTo>
                    <a:pt x="383" y="1566"/>
                  </a:lnTo>
                  <a:lnTo>
                    <a:pt x="357" y="1529"/>
                  </a:lnTo>
                  <a:lnTo>
                    <a:pt x="334" y="1489"/>
                  </a:lnTo>
                  <a:lnTo>
                    <a:pt x="314" y="1449"/>
                  </a:lnTo>
                  <a:lnTo>
                    <a:pt x="296" y="1408"/>
                  </a:lnTo>
                  <a:lnTo>
                    <a:pt x="280" y="1365"/>
                  </a:lnTo>
                  <a:lnTo>
                    <a:pt x="267" y="1321"/>
                  </a:lnTo>
                  <a:lnTo>
                    <a:pt x="257" y="1277"/>
                  </a:lnTo>
                  <a:lnTo>
                    <a:pt x="250" y="1232"/>
                  </a:lnTo>
                  <a:lnTo>
                    <a:pt x="246" y="1187"/>
                  </a:lnTo>
                  <a:lnTo>
                    <a:pt x="246" y="1139"/>
                  </a:lnTo>
                  <a:lnTo>
                    <a:pt x="246" y="1139"/>
                  </a:lnTo>
                  <a:lnTo>
                    <a:pt x="246" y="1093"/>
                  </a:lnTo>
                  <a:lnTo>
                    <a:pt x="250" y="1048"/>
                  </a:lnTo>
                  <a:lnTo>
                    <a:pt x="257" y="1002"/>
                  </a:lnTo>
                  <a:lnTo>
                    <a:pt x="267" y="958"/>
                  </a:lnTo>
                  <a:lnTo>
                    <a:pt x="280" y="915"/>
                  </a:lnTo>
                  <a:lnTo>
                    <a:pt x="296" y="872"/>
                  </a:lnTo>
                  <a:lnTo>
                    <a:pt x="314" y="831"/>
                  </a:lnTo>
                  <a:lnTo>
                    <a:pt x="334" y="791"/>
                  </a:lnTo>
                  <a:lnTo>
                    <a:pt x="357" y="751"/>
                  </a:lnTo>
                  <a:lnTo>
                    <a:pt x="383" y="712"/>
                  </a:lnTo>
                  <a:lnTo>
                    <a:pt x="411" y="674"/>
                  </a:lnTo>
                  <a:lnTo>
                    <a:pt x="442" y="638"/>
                  </a:lnTo>
                  <a:lnTo>
                    <a:pt x="475" y="604"/>
                  </a:lnTo>
                  <a:lnTo>
                    <a:pt x="509" y="571"/>
                  </a:lnTo>
                  <a:lnTo>
                    <a:pt x="547" y="538"/>
                  </a:lnTo>
                  <a:lnTo>
                    <a:pt x="588" y="507"/>
                  </a:lnTo>
                  <a:lnTo>
                    <a:pt x="629" y="480"/>
                  </a:lnTo>
                  <a:lnTo>
                    <a:pt x="673" y="452"/>
                  </a:lnTo>
                  <a:lnTo>
                    <a:pt x="719" y="426"/>
                  </a:lnTo>
                  <a:lnTo>
                    <a:pt x="768" y="401"/>
                  </a:lnTo>
                  <a:lnTo>
                    <a:pt x="817" y="378"/>
                  </a:lnTo>
                  <a:lnTo>
                    <a:pt x="869" y="357"/>
                  </a:lnTo>
                  <a:lnTo>
                    <a:pt x="923" y="337"/>
                  </a:lnTo>
                  <a:lnTo>
                    <a:pt x="979" y="319"/>
                  </a:lnTo>
                  <a:lnTo>
                    <a:pt x="1036" y="303"/>
                  </a:lnTo>
                  <a:lnTo>
                    <a:pt x="1097" y="290"/>
                  </a:lnTo>
                  <a:lnTo>
                    <a:pt x="1157" y="278"/>
                  </a:lnTo>
                  <a:lnTo>
                    <a:pt x="1221" y="268"/>
                  </a:lnTo>
                  <a:lnTo>
                    <a:pt x="1285" y="260"/>
                  </a:lnTo>
                  <a:lnTo>
                    <a:pt x="1350" y="255"/>
                  </a:lnTo>
                  <a:lnTo>
                    <a:pt x="1419" y="252"/>
                  </a:lnTo>
                  <a:lnTo>
                    <a:pt x="1488" y="250"/>
                  </a:lnTo>
                  <a:lnTo>
                    <a:pt x="1488" y="250"/>
                  </a:lnTo>
                  <a:lnTo>
                    <a:pt x="1557" y="252"/>
                  </a:lnTo>
                  <a:lnTo>
                    <a:pt x="1626" y="255"/>
                  </a:lnTo>
                  <a:lnTo>
                    <a:pt x="1691" y="260"/>
                  </a:lnTo>
                  <a:lnTo>
                    <a:pt x="1756" y="268"/>
                  </a:lnTo>
                  <a:lnTo>
                    <a:pt x="1819" y="278"/>
                  </a:lnTo>
                  <a:lnTo>
                    <a:pt x="1879" y="290"/>
                  </a:lnTo>
                  <a:lnTo>
                    <a:pt x="1940" y="303"/>
                  </a:lnTo>
                  <a:lnTo>
                    <a:pt x="1997" y="319"/>
                  </a:lnTo>
                  <a:lnTo>
                    <a:pt x="2053" y="337"/>
                  </a:lnTo>
                  <a:lnTo>
                    <a:pt x="2107" y="357"/>
                  </a:lnTo>
                  <a:lnTo>
                    <a:pt x="2159" y="378"/>
                  </a:lnTo>
                  <a:lnTo>
                    <a:pt x="2210" y="401"/>
                  </a:lnTo>
                  <a:lnTo>
                    <a:pt x="2257" y="426"/>
                  </a:lnTo>
                  <a:lnTo>
                    <a:pt x="2303" y="452"/>
                  </a:lnTo>
                  <a:lnTo>
                    <a:pt x="2347" y="480"/>
                  </a:lnTo>
                  <a:lnTo>
                    <a:pt x="2390" y="507"/>
                  </a:lnTo>
                  <a:lnTo>
                    <a:pt x="2429" y="538"/>
                  </a:lnTo>
                  <a:lnTo>
                    <a:pt x="2467" y="571"/>
                  </a:lnTo>
                  <a:lnTo>
                    <a:pt x="2501" y="604"/>
                  </a:lnTo>
                  <a:lnTo>
                    <a:pt x="2534" y="638"/>
                  </a:lnTo>
                  <a:lnTo>
                    <a:pt x="2565" y="674"/>
                  </a:lnTo>
                  <a:lnTo>
                    <a:pt x="2593" y="712"/>
                  </a:lnTo>
                  <a:lnTo>
                    <a:pt x="2619" y="751"/>
                  </a:lnTo>
                  <a:lnTo>
                    <a:pt x="2642" y="791"/>
                  </a:lnTo>
                  <a:lnTo>
                    <a:pt x="2662" y="831"/>
                  </a:lnTo>
                  <a:lnTo>
                    <a:pt x="2680" y="872"/>
                  </a:lnTo>
                  <a:lnTo>
                    <a:pt x="2696" y="915"/>
                  </a:lnTo>
                  <a:lnTo>
                    <a:pt x="2708" y="958"/>
                  </a:lnTo>
                  <a:lnTo>
                    <a:pt x="2717" y="1002"/>
                  </a:lnTo>
                  <a:lnTo>
                    <a:pt x="2726" y="1048"/>
                  </a:lnTo>
                  <a:lnTo>
                    <a:pt x="2729" y="1093"/>
                  </a:lnTo>
                  <a:lnTo>
                    <a:pt x="2730" y="1139"/>
                  </a:lnTo>
                  <a:lnTo>
                    <a:pt x="2730" y="1139"/>
                  </a:lnTo>
                  <a:lnTo>
                    <a:pt x="2729" y="1187"/>
                  </a:lnTo>
                  <a:lnTo>
                    <a:pt x="2726" y="1232"/>
                  </a:lnTo>
                  <a:lnTo>
                    <a:pt x="2717" y="1277"/>
                  </a:lnTo>
                  <a:lnTo>
                    <a:pt x="2708" y="1321"/>
                  </a:lnTo>
                  <a:lnTo>
                    <a:pt x="2696" y="1365"/>
                  </a:lnTo>
                  <a:lnTo>
                    <a:pt x="2680" y="1408"/>
                  </a:lnTo>
                  <a:lnTo>
                    <a:pt x="2662" y="1449"/>
                  </a:lnTo>
                  <a:lnTo>
                    <a:pt x="2642" y="1489"/>
                  </a:lnTo>
                  <a:lnTo>
                    <a:pt x="2619" y="1529"/>
                  </a:lnTo>
                  <a:lnTo>
                    <a:pt x="2593" y="1566"/>
                  </a:lnTo>
                  <a:lnTo>
                    <a:pt x="2565" y="1604"/>
                  </a:lnTo>
                  <a:lnTo>
                    <a:pt x="2534" y="1640"/>
                  </a:lnTo>
                  <a:lnTo>
                    <a:pt x="2501" y="1674"/>
                  </a:lnTo>
                  <a:lnTo>
                    <a:pt x="2465" y="1709"/>
                  </a:lnTo>
                  <a:lnTo>
                    <a:pt x="2429" y="1742"/>
                  </a:lnTo>
                  <a:lnTo>
                    <a:pt x="2388" y="1771"/>
                  </a:lnTo>
                  <a:lnTo>
                    <a:pt x="2347" y="1800"/>
                  </a:lnTo>
                  <a:lnTo>
                    <a:pt x="2303" y="1828"/>
                  </a:lnTo>
                  <a:lnTo>
                    <a:pt x="2257" y="1854"/>
                  </a:lnTo>
                  <a:lnTo>
                    <a:pt x="2208" y="1879"/>
                  </a:lnTo>
                  <a:lnTo>
                    <a:pt x="2159" y="1902"/>
                  </a:lnTo>
                  <a:lnTo>
                    <a:pt x="2107" y="1923"/>
                  </a:lnTo>
                  <a:lnTo>
                    <a:pt x="2053" y="1943"/>
                  </a:lnTo>
                  <a:lnTo>
                    <a:pt x="1997" y="1961"/>
                  </a:lnTo>
                  <a:lnTo>
                    <a:pt x="1938" y="1976"/>
                  </a:lnTo>
                  <a:lnTo>
                    <a:pt x="1879" y="1990"/>
                  </a:lnTo>
                  <a:lnTo>
                    <a:pt x="1819" y="2002"/>
                  </a:lnTo>
                  <a:lnTo>
                    <a:pt x="1755" y="2012"/>
                  </a:lnTo>
                  <a:lnTo>
                    <a:pt x="1691" y="2018"/>
                  </a:lnTo>
                  <a:lnTo>
                    <a:pt x="1624" y="2025"/>
                  </a:lnTo>
                  <a:lnTo>
                    <a:pt x="1557" y="2028"/>
                  </a:lnTo>
                  <a:lnTo>
                    <a:pt x="1488" y="2030"/>
                  </a:lnTo>
                  <a:lnTo>
                    <a:pt x="1488" y="20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5" name="Freeform 18"/>
            <p:cNvSpPr>
              <a:spLocks/>
            </p:cNvSpPr>
            <p:nvPr/>
          </p:nvSpPr>
          <p:spPr bwMode="auto">
            <a:xfrm>
              <a:off x="7856254" y="5908560"/>
              <a:ext cx="206927" cy="269362"/>
            </a:xfrm>
            <a:custGeom>
              <a:avLst/>
              <a:gdLst>
                <a:gd name="T0" fmla="*/ 4 w 698"/>
                <a:gd name="T1" fmla="*/ 404 h 907"/>
                <a:gd name="T2" fmla="*/ 18 w 698"/>
                <a:gd name="T3" fmla="*/ 309 h 907"/>
                <a:gd name="T4" fmla="*/ 48 w 698"/>
                <a:gd name="T5" fmla="*/ 226 h 907"/>
                <a:gd name="T6" fmla="*/ 89 w 698"/>
                <a:gd name="T7" fmla="*/ 154 h 907"/>
                <a:gd name="T8" fmla="*/ 143 w 698"/>
                <a:gd name="T9" fmla="*/ 95 h 907"/>
                <a:gd name="T10" fmla="*/ 207 w 698"/>
                <a:gd name="T11" fmla="*/ 49 h 907"/>
                <a:gd name="T12" fmla="*/ 279 w 698"/>
                <a:gd name="T13" fmla="*/ 18 h 907"/>
                <a:gd name="T14" fmla="*/ 359 w 698"/>
                <a:gd name="T15" fmla="*/ 1 h 907"/>
                <a:gd name="T16" fmla="*/ 428 w 698"/>
                <a:gd name="T17" fmla="*/ 0 h 907"/>
                <a:gd name="T18" fmla="*/ 519 w 698"/>
                <a:gd name="T19" fmla="*/ 16 h 907"/>
                <a:gd name="T20" fmla="*/ 573 w 698"/>
                <a:gd name="T21" fmla="*/ 37 h 907"/>
                <a:gd name="T22" fmla="*/ 593 w 698"/>
                <a:gd name="T23" fmla="*/ 37 h 907"/>
                <a:gd name="T24" fmla="*/ 611 w 698"/>
                <a:gd name="T25" fmla="*/ 16 h 907"/>
                <a:gd name="T26" fmla="*/ 621 w 698"/>
                <a:gd name="T27" fmla="*/ 6 h 907"/>
                <a:gd name="T28" fmla="*/ 681 w 698"/>
                <a:gd name="T29" fmla="*/ 6 h 907"/>
                <a:gd name="T30" fmla="*/ 689 w 698"/>
                <a:gd name="T31" fmla="*/ 245 h 907"/>
                <a:gd name="T32" fmla="*/ 681 w 698"/>
                <a:gd name="T33" fmla="*/ 258 h 907"/>
                <a:gd name="T34" fmla="*/ 621 w 698"/>
                <a:gd name="T35" fmla="*/ 258 h 907"/>
                <a:gd name="T36" fmla="*/ 613 w 698"/>
                <a:gd name="T37" fmla="*/ 247 h 907"/>
                <a:gd name="T38" fmla="*/ 586 w 698"/>
                <a:gd name="T39" fmla="*/ 160 h 907"/>
                <a:gd name="T40" fmla="*/ 550 w 698"/>
                <a:gd name="T41" fmla="*/ 111 h 907"/>
                <a:gd name="T42" fmla="*/ 495 w 698"/>
                <a:gd name="T43" fmla="*/ 82 h 907"/>
                <a:gd name="T44" fmla="*/ 436 w 698"/>
                <a:gd name="T45" fmla="*/ 75 h 907"/>
                <a:gd name="T46" fmla="*/ 383 w 698"/>
                <a:gd name="T47" fmla="*/ 87 h 907"/>
                <a:gd name="T48" fmla="*/ 342 w 698"/>
                <a:gd name="T49" fmla="*/ 114 h 907"/>
                <a:gd name="T50" fmla="*/ 285 w 698"/>
                <a:gd name="T51" fmla="*/ 206 h 907"/>
                <a:gd name="T52" fmla="*/ 256 w 698"/>
                <a:gd name="T53" fmla="*/ 321 h 907"/>
                <a:gd name="T54" fmla="*/ 247 w 698"/>
                <a:gd name="T55" fmla="*/ 424 h 907"/>
                <a:gd name="T56" fmla="*/ 257 w 698"/>
                <a:gd name="T57" fmla="*/ 596 h 907"/>
                <a:gd name="T58" fmla="*/ 290 w 698"/>
                <a:gd name="T59" fmla="*/ 722 h 907"/>
                <a:gd name="T60" fmla="*/ 338 w 698"/>
                <a:gd name="T61" fmla="*/ 792 h 907"/>
                <a:gd name="T62" fmla="*/ 383 w 698"/>
                <a:gd name="T63" fmla="*/ 820 h 907"/>
                <a:gd name="T64" fmla="*/ 441 w 698"/>
                <a:gd name="T65" fmla="*/ 831 h 907"/>
                <a:gd name="T66" fmla="*/ 503 w 698"/>
                <a:gd name="T67" fmla="*/ 823 h 907"/>
                <a:gd name="T68" fmla="*/ 562 w 698"/>
                <a:gd name="T69" fmla="*/ 794 h 907"/>
                <a:gd name="T70" fmla="*/ 598 w 698"/>
                <a:gd name="T71" fmla="*/ 743 h 907"/>
                <a:gd name="T72" fmla="*/ 621 w 698"/>
                <a:gd name="T73" fmla="*/ 658 h 907"/>
                <a:gd name="T74" fmla="*/ 631 w 698"/>
                <a:gd name="T75" fmla="*/ 646 h 907"/>
                <a:gd name="T76" fmla="*/ 689 w 698"/>
                <a:gd name="T77" fmla="*/ 648 h 907"/>
                <a:gd name="T78" fmla="*/ 698 w 698"/>
                <a:gd name="T79" fmla="*/ 887 h 907"/>
                <a:gd name="T80" fmla="*/ 689 w 698"/>
                <a:gd name="T81" fmla="*/ 898 h 907"/>
                <a:gd name="T82" fmla="*/ 629 w 698"/>
                <a:gd name="T83" fmla="*/ 900 h 907"/>
                <a:gd name="T84" fmla="*/ 621 w 698"/>
                <a:gd name="T85" fmla="*/ 892 h 907"/>
                <a:gd name="T86" fmla="*/ 599 w 698"/>
                <a:gd name="T87" fmla="*/ 877 h 907"/>
                <a:gd name="T88" fmla="*/ 534 w 698"/>
                <a:gd name="T89" fmla="*/ 892 h 907"/>
                <a:gd name="T90" fmla="*/ 403 w 698"/>
                <a:gd name="T91" fmla="*/ 907 h 907"/>
                <a:gd name="T92" fmla="*/ 334 w 698"/>
                <a:gd name="T93" fmla="*/ 902 h 907"/>
                <a:gd name="T94" fmla="*/ 249 w 698"/>
                <a:gd name="T95" fmla="*/ 877 h 907"/>
                <a:gd name="T96" fmla="*/ 177 w 698"/>
                <a:gd name="T97" fmla="*/ 838 h 907"/>
                <a:gd name="T98" fmla="*/ 118 w 698"/>
                <a:gd name="T99" fmla="*/ 784 h 907"/>
                <a:gd name="T100" fmla="*/ 59 w 698"/>
                <a:gd name="T101" fmla="*/ 702 h 907"/>
                <a:gd name="T102" fmla="*/ 7 w 698"/>
                <a:gd name="T103" fmla="*/ 5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8" h="907">
                  <a:moveTo>
                    <a:pt x="0" y="455"/>
                  </a:moveTo>
                  <a:lnTo>
                    <a:pt x="0" y="455"/>
                  </a:lnTo>
                  <a:lnTo>
                    <a:pt x="2" y="429"/>
                  </a:lnTo>
                  <a:lnTo>
                    <a:pt x="4" y="404"/>
                  </a:lnTo>
                  <a:lnTo>
                    <a:pt x="5" y="378"/>
                  </a:lnTo>
                  <a:lnTo>
                    <a:pt x="8" y="355"/>
                  </a:lnTo>
                  <a:lnTo>
                    <a:pt x="13" y="332"/>
                  </a:lnTo>
                  <a:lnTo>
                    <a:pt x="18" y="309"/>
                  </a:lnTo>
                  <a:lnTo>
                    <a:pt x="25" y="286"/>
                  </a:lnTo>
                  <a:lnTo>
                    <a:pt x="31" y="265"/>
                  </a:lnTo>
                  <a:lnTo>
                    <a:pt x="38" y="245"/>
                  </a:lnTo>
                  <a:lnTo>
                    <a:pt x="48" y="226"/>
                  </a:lnTo>
                  <a:lnTo>
                    <a:pt x="56" y="206"/>
                  </a:lnTo>
                  <a:lnTo>
                    <a:pt x="67" y="188"/>
                  </a:lnTo>
                  <a:lnTo>
                    <a:pt x="77" y="170"/>
                  </a:lnTo>
                  <a:lnTo>
                    <a:pt x="89" y="154"/>
                  </a:lnTo>
                  <a:lnTo>
                    <a:pt x="102" y="137"/>
                  </a:lnTo>
                  <a:lnTo>
                    <a:pt x="115" y="123"/>
                  </a:lnTo>
                  <a:lnTo>
                    <a:pt x="128" y="108"/>
                  </a:lnTo>
                  <a:lnTo>
                    <a:pt x="143" y="95"/>
                  </a:lnTo>
                  <a:lnTo>
                    <a:pt x="157" y="82"/>
                  </a:lnTo>
                  <a:lnTo>
                    <a:pt x="174" y="70"/>
                  </a:lnTo>
                  <a:lnTo>
                    <a:pt x="190" y="59"/>
                  </a:lnTo>
                  <a:lnTo>
                    <a:pt x="207" y="49"/>
                  </a:lnTo>
                  <a:lnTo>
                    <a:pt x="225" y="39"/>
                  </a:lnTo>
                  <a:lnTo>
                    <a:pt x="243" y="31"/>
                  </a:lnTo>
                  <a:lnTo>
                    <a:pt x="261" y="24"/>
                  </a:lnTo>
                  <a:lnTo>
                    <a:pt x="279" y="18"/>
                  </a:lnTo>
                  <a:lnTo>
                    <a:pt x="298" y="11"/>
                  </a:lnTo>
                  <a:lnTo>
                    <a:pt x="318" y="8"/>
                  </a:lnTo>
                  <a:lnTo>
                    <a:pt x="339" y="3"/>
                  </a:lnTo>
                  <a:lnTo>
                    <a:pt x="359" y="1"/>
                  </a:lnTo>
                  <a:lnTo>
                    <a:pt x="380" y="0"/>
                  </a:lnTo>
                  <a:lnTo>
                    <a:pt x="401" y="0"/>
                  </a:lnTo>
                  <a:lnTo>
                    <a:pt x="401" y="0"/>
                  </a:lnTo>
                  <a:lnTo>
                    <a:pt x="428" y="0"/>
                  </a:lnTo>
                  <a:lnTo>
                    <a:pt x="452" y="1"/>
                  </a:lnTo>
                  <a:lnTo>
                    <a:pt x="472" y="5"/>
                  </a:lnTo>
                  <a:lnTo>
                    <a:pt x="490" y="8"/>
                  </a:lnTo>
                  <a:lnTo>
                    <a:pt x="519" y="16"/>
                  </a:lnTo>
                  <a:lnTo>
                    <a:pt x="541" y="24"/>
                  </a:lnTo>
                  <a:lnTo>
                    <a:pt x="541" y="24"/>
                  </a:lnTo>
                  <a:lnTo>
                    <a:pt x="563" y="34"/>
                  </a:lnTo>
                  <a:lnTo>
                    <a:pt x="573" y="37"/>
                  </a:lnTo>
                  <a:lnTo>
                    <a:pt x="583" y="39"/>
                  </a:lnTo>
                  <a:lnTo>
                    <a:pt x="583" y="39"/>
                  </a:lnTo>
                  <a:lnTo>
                    <a:pt x="588" y="39"/>
                  </a:lnTo>
                  <a:lnTo>
                    <a:pt x="593" y="37"/>
                  </a:lnTo>
                  <a:lnTo>
                    <a:pt x="598" y="36"/>
                  </a:lnTo>
                  <a:lnTo>
                    <a:pt x="601" y="33"/>
                  </a:lnTo>
                  <a:lnTo>
                    <a:pt x="608" y="24"/>
                  </a:lnTo>
                  <a:lnTo>
                    <a:pt x="611" y="16"/>
                  </a:lnTo>
                  <a:lnTo>
                    <a:pt x="611" y="16"/>
                  </a:lnTo>
                  <a:lnTo>
                    <a:pt x="614" y="11"/>
                  </a:lnTo>
                  <a:lnTo>
                    <a:pt x="617" y="8"/>
                  </a:lnTo>
                  <a:lnTo>
                    <a:pt x="621" y="6"/>
                  </a:lnTo>
                  <a:lnTo>
                    <a:pt x="624" y="5"/>
                  </a:lnTo>
                  <a:lnTo>
                    <a:pt x="676" y="5"/>
                  </a:lnTo>
                  <a:lnTo>
                    <a:pt x="676" y="5"/>
                  </a:lnTo>
                  <a:lnTo>
                    <a:pt x="681" y="6"/>
                  </a:lnTo>
                  <a:lnTo>
                    <a:pt x="686" y="8"/>
                  </a:lnTo>
                  <a:lnTo>
                    <a:pt x="688" y="13"/>
                  </a:lnTo>
                  <a:lnTo>
                    <a:pt x="689" y="18"/>
                  </a:lnTo>
                  <a:lnTo>
                    <a:pt x="689" y="245"/>
                  </a:lnTo>
                  <a:lnTo>
                    <a:pt x="689" y="245"/>
                  </a:lnTo>
                  <a:lnTo>
                    <a:pt x="688" y="250"/>
                  </a:lnTo>
                  <a:lnTo>
                    <a:pt x="686" y="255"/>
                  </a:lnTo>
                  <a:lnTo>
                    <a:pt x="681" y="258"/>
                  </a:lnTo>
                  <a:lnTo>
                    <a:pt x="676" y="258"/>
                  </a:lnTo>
                  <a:lnTo>
                    <a:pt x="626" y="258"/>
                  </a:lnTo>
                  <a:lnTo>
                    <a:pt x="626" y="258"/>
                  </a:lnTo>
                  <a:lnTo>
                    <a:pt x="621" y="258"/>
                  </a:lnTo>
                  <a:lnTo>
                    <a:pt x="617" y="257"/>
                  </a:lnTo>
                  <a:lnTo>
                    <a:pt x="614" y="252"/>
                  </a:lnTo>
                  <a:lnTo>
                    <a:pt x="613" y="247"/>
                  </a:lnTo>
                  <a:lnTo>
                    <a:pt x="613" y="247"/>
                  </a:lnTo>
                  <a:lnTo>
                    <a:pt x="604" y="209"/>
                  </a:lnTo>
                  <a:lnTo>
                    <a:pt x="599" y="191"/>
                  </a:lnTo>
                  <a:lnTo>
                    <a:pt x="593" y="175"/>
                  </a:lnTo>
                  <a:lnTo>
                    <a:pt x="586" y="160"/>
                  </a:lnTo>
                  <a:lnTo>
                    <a:pt x="580" y="145"/>
                  </a:lnTo>
                  <a:lnTo>
                    <a:pt x="572" y="132"/>
                  </a:lnTo>
                  <a:lnTo>
                    <a:pt x="562" y="121"/>
                  </a:lnTo>
                  <a:lnTo>
                    <a:pt x="550" y="111"/>
                  </a:lnTo>
                  <a:lnTo>
                    <a:pt x="539" y="101"/>
                  </a:lnTo>
                  <a:lnTo>
                    <a:pt x="526" y="93"/>
                  </a:lnTo>
                  <a:lnTo>
                    <a:pt x="511" y="87"/>
                  </a:lnTo>
                  <a:lnTo>
                    <a:pt x="495" y="82"/>
                  </a:lnTo>
                  <a:lnTo>
                    <a:pt x="477" y="78"/>
                  </a:lnTo>
                  <a:lnTo>
                    <a:pt x="457" y="77"/>
                  </a:lnTo>
                  <a:lnTo>
                    <a:pt x="436" y="75"/>
                  </a:lnTo>
                  <a:lnTo>
                    <a:pt x="436" y="75"/>
                  </a:lnTo>
                  <a:lnTo>
                    <a:pt x="421" y="77"/>
                  </a:lnTo>
                  <a:lnTo>
                    <a:pt x="408" y="78"/>
                  </a:lnTo>
                  <a:lnTo>
                    <a:pt x="395" y="82"/>
                  </a:lnTo>
                  <a:lnTo>
                    <a:pt x="383" y="87"/>
                  </a:lnTo>
                  <a:lnTo>
                    <a:pt x="372" y="91"/>
                  </a:lnTo>
                  <a:lnTo>
                    <a:pt x="362" y="98"/>
                  </a:lnTo>
                  <a:lnTo>
                    <a:pt x="352" y="105"/>
                  </a:lnTo>
                  <a:lnTo>
                    <a:pt x="342" y="114"/>
                  </a:lnTo>
                  <a:lnTo>
                    <a:pt x="324" y="132"/>
                  </a:lnTo>
                  <a:lnTo>
                    <a:pt x="310" y="155"/>
                  </a:lnTo>
                  <a:lnTo>
                    <a:pt x="297" y="180"/>
                  </a:lnTo>
                  <a:lnTo>
                    <a:pt x="285" y="206"/>
                  </a:lnTo>
                  <a:lnTo>
                    <a:pt x="275" y="234"/>
                  </a:lnTo>
                  <a:lnTo>
                    <a:pt x="267" y="263"/>
                  </a:lnTo>
                  <a:lnTo>
                    <a:pt x="261" y="291"/>
                  </a:lnTo>
                  <a:lnTo>
                    <a:pt x="256" y="321"/>
                  </a:lnTo>
                  <a:lnTo>
                    <a:pt x="252" y="348"/>
                  </a:lnTo>
                  <a:lnTo>
                    <a:pt x="249" y="375"/>
                  </a:lnTo>
                  <a:lnTo>
                    <a:pt x="247" y="424"/>
                  </a:lnTo>
                  <a:lnTo>
                    <a:pt x="247" y="424"/>
                  </a:lnTo>
                  <a:lnTo>
                    <a:pt x="249" y="491"/>
                  </a:lnTo>
                  <a:lnTo>
                    <a:pt x="251" y="525"/>
                  </a:lnTo>
                  <a:lnTo>
                    <a:pt x="254" y="561"/>
                  </a:lnTo>
                  <a:lnTo>
                    <a:pt x="257" y="596"/>
                  </a:lnTo>
                  <a:lnTo>
                    <a:pt x="264" y="628"/>
                  </a:lnTo>
                  <a:lnTo>
                    <a:pt x="270" y="661"/>
                  </a:lnTo>
                  <a:lnTo>
                    <a:pt x="280" y="692"/>
                  </a:lnTo>
                  <a:lnTo>
                    <a:pt x="290" y="722"/>
                  </a:lnTo>
                  <a:lnTo>
                    <a:pt x="303" y="748"/>
                  </a:lnTo>
                  <a:lnTo>
                    <a:pt x="320" y="772"/>
                  </a:lnTo>
                  <a:lnTo>
                    <a:pt x="328" y="782"/>
                  </a:lnTo>
                  <a:lnTo>
                    <a:pt x="338" y="792"/>
                  </a:lnTo>
                  <a:lnTo>
                    <a:pt x="347" y="800"/>
                  </a:lnTo>
                  <a:lnTo>
                    <a:pt x="359" y="808"/>
                  </a:lnTo>
                  <a:lnTo>
                    <a:pt x="370" y="815"/>
                  </a:lnTo>
                  <a:lnTo>
                    <a:pt x="383" y="820"/>
                  </a:lnTo>
                  <a:lnTo>
                    <a:pt x="396" y="825"/>
                  </a:lnTo>
                  <a:lnTo>
                    <a:pt x="411" y="828"/>
                  </a:lnTo>
                  <a:lnTo>
                    <a:pt x="426" y="830"/>
                  </a:lnTo>
                  <a:lnTo>
                    <a:pt x="441" y="831"/>
                  </a:lnTo>
                  <a:lnTo>
                    <a:pt x="441" y="831"/>
                  </a:lnTo>
                  <a:lnTo>
                    <a:pt x="464" y="830"/>
                  </a:lnTo>
                  <a:lnTo>
                    <a:pt x="485" y="828"/>
                  </a:lnTo>
                  <a:lnTo>
                    <a:pt x="503" y="823"/>
                  </a:lnTo>
                  <a:lnTo>
                    <a:pt x="521" y="818"/>
                  </a:lnTo>
                  <a:lnTo>
                    <a:pt x="536" y="812"/>
                  </a:lnTo>
                  <a:lnTo>
                    <a:pt x="549" y="803"/>
                  </a:lnTo>
                  <a:lnTo>
                    <a:pt x="562" y="794"/>
                  </a:lnTo>
                  <a:lnTo>
                    <a:pt x="572" y="782"/>
                  </a:lnTo>
                  <a:lnTo>
                    <a:pt x="581" y="771"/>
                  </a:lnTo>
                  <a:lnTo>
                    <a:pt x="590" y="758"/>
                  </a:lnTo>
                  <a:lnTo>
                    <a:pt x="598" y="743"/>
                  </a:lnTo>
                  <a:lnTo>
                    <a:pt x="603" y="728"/>
                  </a:lnTo>
                  <a:lnTo>
                    <a:pt x="609" y="712"/>
                  </a:lnTo>
                  <a:lnTo>
                    <a:pt x="614" y="695"/>
                  </a:lnTo>
                  <a:lnTo>
                    <a:pt x="621" y="658"/>
                  </a:lnTo>
                  <a:lnTo>
                    <a:pt x="621" y="658"/>
                  </a:lnTo>
                  <a:lnTo>
                    <a:pt x="622" y="653"/>
                  </a:lnTo>
                  <a:lnTo>
                    <a:pt x="626" y="648"/>
                  </a:lnTo>
                  <a:lnTo>
                    <a:pt x="631" y="646"/>
                  </a:lnTo>
                  <a:lnTo>
                    <a:pt x="634" y="646"/>
                  </a:lnTo>
                  <a:lnTo>
                    <a:pt x="685" y="646"/>
                  </a:lnTo>
                  <a:lnTo>
                    <a:pt x="685" y="646"/>
                  </a:lnTo>
                  <a:lnTo>
                    <a:pt x="689" y="648"/>
                  </a:lnTo>
                  <a:lnTo>
                    <a:pt x="694" y="650"/>
                  </a:lnTo>
                  <a:lnTo>
                    <a:pt x="696" y="654"/>
                  </a:lnTo>
                  <a:lnTo>
                    <a:pt x="698" y="659"/>
                  </a:lnTo>
                  <a:lnTo>
                    <a:pt x="698" y="887"/>
                  </a:lnTo>
                  <a:lnTo>
                    <a:pt x="698" y="887"/>
                  </a:lnTo>
                  <a:lnTo>
                    <a:pt x="696" y="892"/>
                  </a:lnTo>
                  <a:lnTo>
                    <a:pt x="694" y="897"/>
                  </a:lnTo>
                  <a:lnTo>
                    <a:pt x="689" y="898"/>
                  </a:lnTo>
                  <a:lnTo>
                    <a:pt x="685" y="900"/>
                  </a:lnTo>
                  <a:lnTo>
                    <a:pt x="632" y="900"/>
                  </a:lnTo>
                  <a:lnTo>
                    <a:pt x="632" y="900"/>
                  </a:lnTo>
                  <a:lnTo>
                    <a:pt x="629" y="900"/>
                  </a:lnTo>
                  <a:lnTo>
                    <a:pt x="626" y="898"/>
                  </a:lnTo>
                  <a:lnTo>
                    <a:pt x="622" y="895"/>
                  </a:lnTo>
                  <a:lnTo>
                    <a:pt x="621" y="892"/>
                  </a:lnTo>
                  <a:lnTo>
                    <a:pt x="621" y="892"/>
                  </a:lnTo>
                  <a:lnTo>
                    <a:pt x="617" y="887"/>
                  </a:lnTo>
                  <a:lnTo>
                    <a:pt x="613" y="882"/>
                  </a:lnTo>
                  <a:lnTo>
                    <a:pt x="608" y="877"/>
                  </a:lnTo>
                  <a:lnTo>
                    <a:pt x="599" y="877"/>
                  </a:lnTo>
                  <a:lnTo>
                    <a:pt x="599" y="877"/>
                  </a:lnTo>
                  <a:lnTo>
                    <a:pt x="588" y="877"/>
                  </a:lnTo>
                  <a:lnTo>
                    <a:pt x="573" y="880"/>
                  </a:lnTo>
                  <a:lnTo>
                    <a:pt x="534" y="892"/>
                  </a:lnTo>
                  <a:lnTo>
                    <a:pt x="509" y="897"/>
                  </a:lnTo>
                  <a:lnTo>
                    <a:pt x="478" y="902"/>
                  </a:lnTo>
                  <a:lnTo>
                    <a:pt x="444" y="905"/>
                  </a:lnTo>
                  <a:lnTo>
                    <a:pt x="403" y="907"/>
                  </a:lnTo>
                  <a:lnTo>
                    <a:pt x="403" y="907"/>
                  </a:lnTo>
                  <a:lnTo>
                    <a:pt x="380" y="907"/>
                  </a:lnTo>
                  <a:lnTo>
                    <a:pt x="356" y="903"/>
                  </a:lnTo>
                  <a:lnTo>
                    <a:pt x="334" y="902"/>
                  </a:lnTo>
                  <a:lnTo>
                    <a:pt x="311" y="897"/>
                  </a:lnTo>
                  <a:lnTo>
                    <a:pt x="290" y="892"/>
                  </a:lnTo>
                  <a:lnTo>
                    <a:pt x="270" y="885"/>
                  </a:lnTo>
                  <a:lnTo>
                    <a:pt x="249" y="877"/>
                  </a:lnTo>
                  <a:lnTo>
                    <a:pt x="231" y="869"/>
                  </a:lnTo>
                  <a:lnTo>
                    <a:pt x="213" y="859"/>
                  </a:lnTo>
                  <a:lnTo>
                    <a:pt x="195" y="849"/>
                  </a:lnTo>
                  <a:lnTo>
                    <a:pt x="177" y="838"/>
                  </a:lnTo>
                  <a:lnTo>
                    <a:pt x="162" y="826"/>
                  </a:lnTo>
                  <a:lnTo>
                    <a:pt x="146" y="813"/>
                  </a:lnTo>
                  <a:lnTo>
                    <a:pt x="131" y="799"/>
                  </a:lnTo>
                  <a:lnTo>
                    <a:pt x="118" y="784"/>
                  </a:lnTo>
                  <a:lnTo>
                    <a:pt x="105" y="769"/>
                  </a:lnTo>
                  <a:lnTo>
                    <a:pt x="92" y="753"/>
                  </a:lnTo>
                  <a:lnTo>
                    <a:pt x="81" y="736"/>
                  </a:lnTo>
                  <a:lnTo>
                    <a:pt x="59" y="702"/>
                  </a:lnTo>
                  <a:lnTo>
                    <a:pt x="41" y="664"/>
                  </a:lnTo>
                  <a:lnTo>
                    <a:pt x="26" y="625"/>
                  </a:lnTo>
                  <a:lnTo>
                    <a:pt x="15" y="584"/>
                  </a:lnTo>
                  <a:lnTo>
                    <a:pt x="7" y="542"/>
                  </a:lnTo>
                  <a:lnTo>
                    <a:pt x="2" y="499"/>
                  </a:lnTo>
                  <a:lnTo>
                    <a:pt x="0"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6" name="Freeform 20"/>
            <p:cNvSpPr>
              <a:spLocks noEditPoints="1"/>
            </p:cNvSpPr>
            <p:nvPr/>
          </p:nvSpPr>
          <p:spPr bwMode="auto">
            <a:xfrm>
              <a:off x="8051289" y="5957319"/>
              <a:ext cx="137357" cy="129032"/>
            </a:xfrm>
            <a:custGeom>
              <a:avLst/>
              <a:gdLst>
                <a:gd name="T0" fmla="*/ 345 w 461"/>
                <a:gd name="T1" fmla="*/ 187 h 436"/>
                <a:gd name="T2" fmla="*/ 339 w 461"/>
                <a:gd name="T3" fmla="*/ 194 h 436"/>
                <a:gd name="T4" fmla="*/ 291 w 461"/>
                <a:gd name="T5" fmla="*/ 290 h 436"/>
                <a:gd name="T6" fmla="*/ 263 w 461"/>
                <a:gd name="T7" fmla="*/ 179 h 436"/>
                <a:gd name="T8" fmla="*/ 316 w 461"/>
                <a:gd name="T9" fmla="*/ 128 h 436"/>
                <a:gd name="T10" fmla="*/ 325 w 461"/>
                <a:gd name="T11" fmla="*/ 94 h 436"/>
                <a:gd name="T12" fmla="*/ 321 w 461"/>
                <a:gd name="T13" fmla="*/ 64 h 436"/>
                <a:gd name="T14" fmla="*/ 299 w 461"/>
                <a:gd name="T15" fmla="*/ 32 h 436"/>
                <a:gd name="T16" fmla="*/ 257 w 461"/>
                <a:gd name="T17" fmla="*/ 7 h 436"/>
                <a:gd name="T18" fmla="*/ 186 w 461"/>
                <a:gd name="T19" fmla="*/ 2 h 436"/>
                <a:gd name="T20" fmla="*/ 131 w 461"/>
                <a:gd name="T21" fmla="*/ 22 h 436"/>
                <a:gd name="T22" fmla="*/ 98 w 461"/>
                <a:gd name="T23" fmla="*/ 51 h 436"/>
                <a:gd name="T24" fmla="*/ 83 w 461"/>
                <a:gd name="T25" fmla="*/ 97 h 436"/>
                <a:gd name="T26" fmla="*/ 85 w 461"/>
                <a:gd name="T27" fmla="*/ 133 h 436"/>
                <a:gd name="T28" fmla="*/ 111 w 461"/>
                <a:gd name="T29" fmla="*/ 187 h 436"/>
                <a:gd name="T30" fmla="*/ 54 w 461"/>
                <a:gd name="T31" fmla="*/ 217 h 436"/>
                <a:gd name="T32" fmla="*/ 10 w 461"/>
                <a:gd name="T33" fmla="*/ 269 h 436"/>
                <a:gd name="T34" fmla="*/ 0 w 461"/>
                <a:gd name="T35" fmla="*/ 315 h 436"/>
                <a:gd name="T36" fmla="*/ 8 w 461"/>
                <a:gd name="T37" fmla="*/ 354 h 436"/>
                <a:gd name="T38" fmla="*/ 36 w 461"/>
                <a:gd name="T39" fmla="*/ 395 h 436"/>
                <a:gd name="T40" fmla="*/ 80 w 461"/>
                <a:gd name="T41" fmla="*/ 423 h 436"/>
                <a:gd name="T42" fmla="*/ 137 w 461"/>
                <a:gd name="T43" fmla="*/ 434 h 436"/>
                <a:gd name="T44" fmla="*/ 195 w 461"/>
                <a:gd name="T45" fmla="*/ 431 h 436"/>
                <a:gd name="T46" fmla="*/ 255 w 461"/>
                <a:gd name="T47" fmla="*/ 410 h 436"/>
                <a:gd name="T48" fmla="*/ 294 w 461"/>
                <a:gd name="T49" fmla="*/ 416 h 436"/>
                <a:gd name="T50" fmla="*/ 350 w 461"/>
                <a:gd name="T51" fmla="*/ 426 h 436"/>
                <a:gd name="T52" fmla="*/ 401 w 461"/>
                <a:gd name="T53" fmla="*/ 424 h 436"/>
                <a:gd name="T54" fmla="*/ 416 w 461"/>
                <a:gd name="T55" fmla="*/ 388 h 436"/>
                <a:gd name="T56" fmla="*/ 416 w 461"/>
                <a:gd name="T57" fmla="*/ 380 h 436"/>
                <a:gd name="T58" fmla="*/ 389 w 461"/>
                <a:gd name="T59" fmla="*/ 379 h 436"/>
                <a:gd name="T60" fmla="*/ 343 w 461"/>
                <a:gd name="T61" fmla="*/ 362 h 436"/>
                <a:gd name="T62" fmla="*/ 327 w 461"/>
                <a:gd name="T63" fmla="*/ 344 h 436"/>
                <a:gd name="T64" fmla="*/ 375 w 461"/>
                <a:gd name="T65" fmla="*/ 289 h 436"/>
                <a:gd name="T66" fmla="*/ 404 w 461"/>
                <a:gd name="T67" fmla="*/ 243 h 436"/>
                <a:gd name="T68" fmla="*/ 435 w 461"/>
                <a:gd name="T69" fmla="*/ 233 h 436"/>
                <a:gd name="T70" fmla="*/ 445 w 461"/>
                <a:gd name="T71" fmla="*/ 228 h 436"/>
                <a:gd name="T72" fmla="*/ 461 w 461"/>
                <a:gd name="T73" fmla="*/ 190 h 436"/>
                <a:gd name="T74" fmla="*/ 452 w 461"/>
                <a:gd name="T75" fmla="*/ 187 h 436"/>
                <a:gd name="T76" fmla="*/ 226 w 461"/>
                <a:gd name="T77" fmla="*/ 43 h 436"/>
                <a:gd name="T78" fmla="*/ 244 w 461"/>
                <a:gd name="T79" fmla="*/ 68 h 436"/>
                <a:gd name="T80" fmla="*/ 244 w 461"/>
                <a:gd name="T81" fmla="*/ 95 h 436"/>
                <a:gd name="T82" fmla="*/ 226 w 461"/>
                <a:gd name="T83" fmla="*/ 135 h 436"/>
                <a:gd name="T84" fmla="*/ 196 w 461"/>
                <a:gd name="T85" fmla="*/ 158 h 436"/>
                <a:gd name="T86" fmla="*/ 170 w 461"/>
                <a:gd name="T87" fmla="*/ 84 h 436"/>
                <a:gd name="T88" fmla="*/ 175 w 461"/>
                <a:gd name="T89" fmla="*/ 59 h 436"/>
                <a:gd name="T90" fmla="*/ 201 w 461"/>
                <a:gd name="T91" fmla="*/ 40 h 436"/>
                <a:gd name="T92" fmla="*/ 167 w 461"/>
                <a:gd name="T93" fmla="*/ 388 h 436"/>
                <a:gd name="T94" fmla="*/ 113 w 461"/>
                <a:gd name="T95" fmla="*/ 367 h 436"/>
                <a:gd name="T96" fmla="*/ 91 w 461"/>
                <a:gd name="T97" fmla="*/ 310 h 436"/>
                <a:gd name="T98" fmla="*/ 100 w 461"/>
                <a:gd name="T99" fmla="*/ 275 h 436"/>
                <a:gd name="T100" fmla="*/ 127 w 461"/>
                <a:gd name="T101" fmla="*/ 235 h 436"/>
                <a:gd name="T102" fmla="*/ 217 w 461"/>
                <a:gd name="T103" fmla="*/ 369 h 436"/>
                <a:gd name="T104" fmla="*/ 177 w 461"/>
                <a:gd name="T105" fmla="*/ 38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1" h="436">
                  <a:moveTo>
                    <a:pt x="452" y="187"/>
                  </a:moveTo>
                  <a:lnTo>
                    <a:pt x="350" y="187"/>
                  </a:lnTo>
                  <a:lnTo>
                    <a:pt x="350" y="187"/>
                  </a:lnTo>
                  <a:lnTo>
                    <a:pt x="345" y="187"/>
                  </a:lnTo>
                  <a:lnTo>
                    <a:pt x="340" y="189"/>
                  </a:lnTo>
                  <a:lnTo>
                    <a:pt x="339" y="190"/>
                  </a:lnTo>
                  <a:lnTo>
                    <a:pt x="339" y="194"/>
                  </a:lnTo>
                  <a:lnTo>
                    <a:pt x="339" y="194"/>
                  </a:lnTo>
                  <a:lnTo>
                    <a:pt x="330" y="218"/>
                  </a:lnTo>
                  <a:lnTo>
                    <a:pt x="321" y="241"/>
                  </a:lnTo>
                  <a:lnTo>
                    <a:pt x="307" y="266"/>
                  </a:lnTo>
                  <a:lnTo>
                    <a:pt x="291" y="290"/>
                  </a:lnTo>
                  <a:lnTo>
                    <a:pt x="229" y="197"/>
                  </a:lnTo>
                  <a:lnTo>
                    <a:pt x="229" y="197"/>
                  </a:lnTo>
                  <a:lnTo>
                    <a:pt x="245" y="189"/>
                  </a:lnTo>
                  <a:lnTo>
                    <a:pt x="263" y="179"/>
                  </a:lnTo>
                  <a:lnTo>
                    <a:pt x="280" y="169"/>
                  </a:lnTo>
                  <a:lnTo>
                    <a:pt x="294" y="156"/>
                  </a:lnTo>
                  <a:lnTo>
                    <a:pt x="306" y="143"/>
                  </a:lnTo>
                  <a:lnTo>
                    <a:pt x="316" y="128"/>
                  </a:lnTo>
                  <a:lnTo>
                    <a:pt x="321" y="122"/>
                  </a:lnTo>
                  <a:lnTo>
                    <a:pt x="322" y="112"/>
                  </a:lnTo>
                  <a:lnTo>
                    <a:pt x="324" y="104"/>
                  </a:lnTo>
                  <a:lnTo>
                    <a:pt x="325" y="94"/>
                  </a:lnTo>
                  <a:lnTo>
                    <a:pt x="325" y="94"/>
                  </a:lnTo>
                  <a:lnTo>
                    <a:pt x="324" y="84"/>
                  </a:lnTo>
                  <a:lnTo>
                    <a:pt x="322" y="74"/>
                  </a:lnTo>
                  <a:lnTo>
                    <a:pt x="321" y="64"/>
                  </a:lnTo>
                  <a:lnTo>
                    <a:pt x="317" y="56"/>
                  </a:lnTo>
                  <a:lnTo>
                    <a:pt x="312" y="46"/>
                  </a:lnTo>
                  <a:lnTo>
                    <a:pt x="306" y="40"/>
                  </a:lnTo>
                  <a:lnTo>
                    <a:pt x="299" y="32"/>
                  </a:lnTo>
                  <a:lnTo>
                    <a:pt x="293" y="25"/>
                  </a:lnTo>
                  <a:lnTo>
                    <a:pt x="285" y="20"/>
                  </a:lnTo>
                  <a:lnTo>
                    <a:pt x="276" y="15"/>
                  </a:lnTo>
                  <a:lnTo>
                    <a:pt x="257" y="7"/>
                  </a:lnTo>
                  <a:lnTo>
                    <a:pt x="235" y="2"/>
                  </a:lnTo>
                  <a:lnTo>
                    <a:pt x="211" y="0"/>
                  </a:lnTo>
                  <a:lnTo>
                    <a:pt x="211" y="0"/>
                  </a:lnTo>
                  <a:lnTo>
                    <a:pt x="186" y="2"/>
                  </a:lnTo>
                  <a:lnTo>
                    <a:pt x="163" y="7"/>
                  </a:lnTo>
                  <a:lnTo>
                    <a:pt x="152" y="10"/>
                  </a:lnTo>
                  <a:lnTo>
                    <a:pt x="141" y="15"/>
                  </a:lnTo>
                  <a:lnTo>
                    <a:pt x="131" y="22"/>
                  </a:lnTo>
                  <a:lnTo>
                    <a:pt x="123" y="28"/>
                  </a:lnTo>
                  <a:lnTo>
                    <a:pt x="113" y="35"/>
                  </a:lnTo>
                  <a:lnTo>
                    <a:pt x="106" y="43"/>
                  </a:lnTo>
                  <a:lnTo>
                    <a:pt x="98" y="51"/>
                  </a:lnTo>
                  <a:lnTo>
                    <a:pt x="93" y="61"/>
                  </a:lnTo>
                  <a:lnTo>
                    <a:pt x="88" y="72"/>
                  </a:lnTo>
                  <a:lnTo>
                    <a:pt x="85" y="84"/>
                  </a:lnTo>
                  <a:lnTo>
                    <a:pt x="83" y="97"/>
                  </a:lnTo>
                  <a:lnTo>
                    <a:pt x="82" y="110"/>
                  </a:lnTo>
                  <a:lnTo>
                    <a:pt x="82" y="110"/>
                  </a:lnTo>
                  <a:lnTo>
                    <a:pt x="83" y="122"/>
                  </a:lnTo>
                  <a:lnTo>
                    <a:pt x="85" y="133"/>
                  </a:lnTo>
                  <a:lnTo>
                    <a:pt x="86" y="143"/>
                  </a:lnTo>
                  <a:lnTo>
                    <a:pt x="91" y="153"/>
                  </a:lnTo>
                  <a:lnTo>
                    <a:pt x="100" y="171"/>
                  </a:lnTo>
                  <a:lnTo>
                    <a:pt x="111" y="187"/>
                  </a:lnTo>
                  <a:lnTo>
                    <a:pt x="111" y="187"/>
                  </a:lnTo>
                  <a:lnTo>
                    <a:pt x="91" y="194"/>
                  </a:lnTo>
                  <a:lnTo>
                    <a:pt x="72" y="203"/>
                  </a:lnTo>
                  <a:lnTo>
                    <a:pt x="54" y="217"/>
                  </a:lnTo>
                  <a:lnTo>
                    <a:pt x="36" y="231"/>
                  </a:lnTo>
                  <a:lnTo>
                    <a:pt x="21" y="249"/>
                  </a:lnTo>
                  <a:lnTo>
                    <a:pt x="14" y="259"/>
                  </a:lnTo>
                  <a:lnTo>
                    <a:pt x="10" y="269"/>
                  </a:lnTo>
                  <a:lnTo>
                    <a:pt x="5" y="279"/>
                  </a:lnTo>
                  <a:lnTo>
                    <a:pt x="1" y="290"/>
                  </a:lnTo>
                  <a:lnTo>
                    <a:pt x="0" y="302"/>
                  </a:lnTo>
                  <a:lnTo>
                    <a:pt x="0" y="315"/>
                  </a:lnTo>
                  <a:lnTo>
                    <a:pt x="0" y="315"/>
                  </a:lnTo>
                  <a:lnTo>
                    <a:pt x="1" y="328"/>
                  </a:lnTo>
                  <a:lnTo>
                    <a:pt x="3" y="341"/>
                  </a:lnTo>
                  <a:lnTo>
                    <a:pt x="8" y="354"/>
                  </a:lnTo>
                  <a:lnTo>
                    <a:pt x="13" y="365"/>
                  </a:lnTo>
                  <a:lnTo>
                    <a:pt x="19" y="377"/>
                  </a:lnTo>
                  <a:lnTo>
                    <a:pt x="28" y="387"/>
                  </a:lnTo>
                  <a:lnTo>
                    <a:pt x="36" y="395"/>
                  </a:lnTo>
                  <a:lnTo>
                    <a:pt x="46" y="403"/>
                  </a:lnTo>
                  <a:lnTo>
                    <a:pt x="57" y="411"/>
                  </a:lnTo>
                  <a:lnTo>
                    <a:pt x="68" y="418"/>
                  </a:lnTo>
                  <a:lnTo>
                    <a:pt x="80" y="423"/>
                  </a:lnTo>
                  <a:lnTo>
                    <a:pt x="95" y="428"/>
                  </a:lnTo>
                  <a:lnTo>
                    <a:pt x="108" y="431"/>
                  </a:lnTo>
                  <a:lnTo>
                    <a:pt x="123" y="433"/>
                  </a:lnTo>
                  <a:lnTo>
                    <a:pt x="137" y="434"/>
                  </a:lnTo>
                  <a:lnTo>
                    <a:pt x="154" y="436"/>
                  </a:lnTo>
                  <a:lnTo>
                    <a:pt x="154" y="436"/>
                  </a:lnTo>
                  <a:lnTo>
                    <a:pt x="180" y="434"/>
                  </a:lnTo>
                  <a:lnTo>
                    <a:pt x="195" y="431"/>
                  </a:lnTo>
                  <a:lnTo>
                    <a:pt x="209" y="428"/>
                  </a:lnTo>
                  <a:lnTo>
                    <a:pt x="226" y="423"/>
                  </a:lnTo>
                  <a:lnTo>
                    <a:pt x="240" y="418"/>
                  </a:lnTo>
                  <a:lnTo>
                    <a:pt x="255" y="410"/>
                  </a:lnTo>
                  <a:lnTo>
                    <a:pt x="270" y="400"/>
                  </a:lnTo>
                  <a:lnTo>
                    <a:pt x="270" y="400"/>
                  </a:lnTo>
                  <a:lnTo>
                    <a:pt x="281" y="410"/>
                  </a:lnTo>
                  <a:lnTo>
                    <a:pt x="294" y="416"/>
                  </a:lnTo>
                  <a:lnTo>
                    <a:pt x="309" y="421"/>
                  </a:lnTo>
                  <a:lnTo>
                    <a:pt x="321" y="424"/>
                  </a:lnTo>
                  <a:lnTo>
                    <a:pt x="342" y="426"/>
                  </a:lnTo>
                  <a:lnTo>
                    <a:pt x="350" y="426"/>
                  </a:lnTo>
                  <a:lnTo>
                    <a:pt x="391" y="426"/>
                  </a:lnTo>
                  <a:lnTo>
                    <a:pt x="391" y="426"/>
                  </a:lnTo>
                  <a:lnTo>
                    <a:pt x="396" y="426"/>
                  </a:lnTo>
                  <a:lnTo>
                    <a:pt x="401" y="424"/>
                  </a:lnTo>
                  <a:lnTo>
                    <a:pt x="402" y="421"/>
                  </a:lnTo>
                  <a:lnTo>
                    <a:pt x="404" y="418"/>
                  </a:lnTo>
                  <a:lnTo>
                    <a:pt x="416" y="388"/>
                  </a:lnTo>
                  <a:lnTo>
                    <a:pt x="416" y="388"/>
                  </a:lnTo>
                  <a:lnTo>
                    <a:pt x="417" y="385"/>
                  </a:lnTo>
                  <a:lnTo>
                    <a:pt x="417" y="382"/>
                  </a:lnTo>
                  <a:lnTo>
                    <a:pt x="416" y="380"/>
                  </a:lnTo>
                  <a:lnTo>
                    <a:pt x="416" y="380"/>
                  </a:lnTo>
                  <a:lnTo>
                    <a:pt x="411" y="379"/>
                  </a:lnTo>
                  <a:lnTo>
                    <a:pt x="407" y="379"/>
                  </a:lnTo>
                  <a:lnTo>
                    <a:pt x="389" y="379"/>
                  </a:lnTo>
                  <a:lnTo>
                    <a:pt x="389" y="379"/>
                  </a:lnTo>
                  <a:lnTo>
                    <a:pt x="375" y="377"/>
                  </a:lnTo>
                  <a:lnTo>
                    <a:pt x="361" y="374"/>
                  </a:lnTo>
                  <a:lnTo>
                    <a:pt x="352" y="367"/>
                  </a:lnTo>
                  <a:lnTo>
                    <a:pt x="343" y="362"/>
                  </a:lnTo>
                  <a:lnTo>
                    <a:pt x="337" y="356"/>
                  </a:lnTo>
                  <a:lnTo>
                    <a:pt x="332" y="351"/>
                  </a:lnTo>
                  <a:lnTo>
                    <a:pt x="327" y="344"/>
                  </a:lnTo>
                  <a:lnTo>
                    <a:pt x="327" y="344"/>
                  </a:lnTo>
                  <a:lnTo>
                    <a:pt x="343" y="328"/>
                  </a:lnTo>
                  <a:lnTo>
                    <a:pt x="355" y="316"/>
                  </a:lnTo>
                  <a:lnTo>
                    <a:pt x="375" y="289"/>
                  </a:lnTo>
                  <a:lnTo>
                    <a:pt x="375" y="289"/>
                  </a:lnTo>
                  <a:lnTo>
                    <a:pt x="391" y="264"/>
                  </a:lnTo>
                  <a:lnTo>
                    <a:pt x="399" y="249"/>
                  </a:lnTo>
                  <a:lnTo>
                    <a:pt x="399" y="249"/>
                  </a:lnTo>
                  <a:lnTo>
                    <a:pt x="404" y="243"/>
                  </a:lnTo>
                  <a:lnTo>
                    <a:pt x="409" y="238"/>
                  </a:lnTo>
                  <a:lnTo>
                    <a:pt x="414" y="235"/>
                  </a:lnTo>
                  <a:lnTo>
                    <a:pt x="420" y="233"/>
                  </a:lnTo>
                  <a:lnTo>
                    <a:pt x="435" y="233"/>
                  </a:lnTo>
                  <a:lnTo>
                    <a:pt x="435" y="233"/>
                  </a:lnTo>
                  <a:lnTo>
                    <a:pt x="438" y="233"/>
                  </a:lnTo>
                  <a:lnTo>
                    <a:pt x="442" y="231"/>
                  </a:lnTo>
                  <a:lnTo>
                    <a:pt x="445" y="228"/>
                  </a:lnTo>
                  <a:lnTo>
                    <a:pt x="447" y="225"/>
                  </a:lnTo>
                  <a:lnTo>
                    <a:pt x="460" y="197"/>
                  </a:lnTo>
                  <a:lnTo>
                    <a:pt x="460" y="197"/>
                  </a:lnTo>
                  <a:lnTo>
                    <a:pt x="461" y="190"/>
                  </a:lnTo>
                  <a:lnTo>
                    <a:pt x="460" y="187"/>
                  </a:lnTo>
                  <a:lnTo>
                    <a:pt x="455" y="187"/>
                  </a:lnTo>
                  <a:lnTo>
                    <a:pt x="452" y="187"/>
                  </a:lnTo>
                  <a:lnTo>
                    <a:pt x="452" y="187"/>
                  </a:lnTo>
                  <a:close/>
                  <a:moveTo>
                    <a:pt x="209" y="40"/>
                  </a:moveTo>
                  <a:lnTo>
                    <a:pt x="209" y="40"/>
                  </a:lnTo>
                  <a:lnTo>
                    <a:pt x="217" y="40"/>
                  </a:lnTo>
                  <a:lnTo>
                    <a:pt x="226" y="43"/>
                  </a:lnTo>
                  <a:lnTo>
                    <a:pt x="232" y="48"/>
                  </a:lnTo>
                  <a:lnTo>
                    <a:pt x="237" y="53"/>
                  </a:lnTo>
                  <a:lnTo>
                    <a:pt x="240" y="59"/>
                  </a:lnTo>
                  <a:lnTo>
                    <a:pt x="244" y="68"/>
                  </a:lnTo>
                  <a:lnTo>
                    <a:pt x="244" y="76"/>
                  </a:lnTo>
                  <a:lnTo>
                    <a:pt x="245" y="84"/>
                  </a:lnTo>
                  <a:lnTo>
                    <a:pt x="245" y="84"/>
                  </a:lnTo>
                  <a:lnTo>
                    <a:pt x="244" y="95"/>
                  </a:lnTo>
                  <a:lnTo>
                    <a:pt x="242" y="107"/>
                  </a:lnTo>
                  <a:lnTo>
                    <a:pt x="239" y="117"/>
                  </a:lnTo>
                  <a:lnTo>
                    <a:pt x="234" y="127"/>
                  </a:lnTo>
                  <a:lnTo>
                    <a:pt x="226" y="135"/>
                  </a:lnTo>
                  <a:lnTo>
                    <a:pt x="217" y="143"/>
                  </a:lnTo>
                  <a:lnTo>
                    <a:pt x="208" y="151"/>
                  </a:lnTo>
                  <a:lnTo>
                    <a:pt x="196" y="158"/>
                  </a:lnTo>
                  <a:lnTo>
                    <a:pt x="196" y="158"/>
                  </a:lnTo>
                  <a:lnTo>
                    <a:pt x="185" y="138"/>
                  </a:lnTo>
                  <a:lnTo>
                    <a:pt x="177" y="122"/>
                  </a:lnTo>
                  <a:lnTo>
                    <a:pt x="172" y="104"/>
                  </a:lnTo>
                  <a:lnTo>
                    <a:pt x="170" y="84"/>
                  </a:lnTo>
                  <a:lnTo>
                    <a:pt x="170" y="84"/>
                  </a:lnTo>
                  <a:lnTo>
                    <a:pt x="170" y="76"/>
                  </a:lnTo>
                  <a:lnTo>
                    <a:pt x="172" y="68"/>
                  </a:lnTo>
                  <a:lnTo>
                    <a:pt x="175" y="59"/>
                  </a:lnTo>
                  <a:lnTo>
                    <a:pt x="180" y="53"/>
                  </a:lnTo>
                  <a:lnTo>
                    <a:pt x="186" y="48"/>
                  </a:lnTo>
                  <a:lnTo>
                    <a:pt x="193" y="43"/>
                  </a:lnTo>
                  <a:lnTo>
                    <a:pt x="201" y="40"/>
                  </a:lnTo>
                  <a:lnTo>
                    <a:pt x="209" y="40"/>
                  </a:lnTo>
                  <a:lnTo>
                    <a:pt x="209" y="40"/>
                  </a:lnTo>
                  <a:close/>
                  <a:moveTo>
                    <a:pt x="167" y="388"/>
                  </a:moveTo>
                  <a:lnTo>
                    <a:pt x="167" y="388"/>
                  </a:lnTo>
                  <a:lnTo>
                    <a:pt x="150" y="387"/>
                  </a:lnTo>
                  <a:lnTo>
                    <a:pt x="136" y="383"/>
                  </a:lnTo>
                  <a:lnTo>
                    <a:pt x="123" y="377"/>
                  </a:lnTo>
                  <a:lnTo>
                    <a:pt x="113" y="367"/>
                  </a:lnTo>
                  <a:lnTo>
                    <a:pt x="103" y="357"/>
                  </a:lnTo>
                  <a:lnTo>
                    <a:pt x="96" y="343"/>
                  </a:lnTo>
                  <a:lnTo>
                    <a:pt x="93" y="328"/>
                  </a:lnTo>
                  <a:lnTo>
                    <a:pt x="91" y="310"/>
                  </a:lnTo>
                  <a:lnTo>
                    <a:pt x="91" y="310"/>
                  </a:lnTo>
                  <a:lnTo>
                    <a:pt x="93" y="298"/>
                  </a:lnTo>
                  <a:lnTo>
                    <a:pt x="95" y="287"/>
                  </a:lnTo>
                  <a:lnTo>
                    <a:pt x="100" y="275"/>
                  </a:lnTo>
                  <a:lnTo>
                    <a:pt x="104" y="264"/>
                  </a:lnTo>
                  <a:lnTo>
                    <a:pt x="111" y="253"/>
                  </a:lnTo>
                  <a:lnTo>
                    <a:pt x="119" y="244"/>
                  </a:lnTo>
                  <a:lnTo>
                    <a:pt x="127" y="235"/>
                  </a:lnTo>
                  <a:lnTo>
                    <a:pt x="137" y="228"/>
                  </a:lnTo>
                  <a:lnTo>
                    <a:pt x="231" y="357"/>
                  </a:lnTo>
                  <a:lnTo>
                    <a:pt x="231" y="357"/>
                  </a:lnTo>
                  <a:lnTo>
                    <a:pt x="217" y="369"/>
                  </a:lnTo>
                  <a:lnTo>
                    <a:pt x="203" y="380"/>
                  </a:lnTo>
                  <a:lnTo>
                    <a:pt x="195" y="383"/>
                  </a:lnTo>
                  <a:lnTo>
                    <a:pt x="186" y="387"/>
                  </a:lnTo>
                  <a:lnTo>
                    <a:pt x="177" y="388"/>
                  </a:lnTo>
                  <a:lnTo>
                    <a:pt x="167" y="388"/>
                  </a:lnTo>
                  <a:lnTo>
                    <a:pt x="167"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7" name="Freeform 21"/>
            <p:cNvSpPr>
              <a:spLocks noEditPoints="1"/>
            </p:cNvSpPr>
            <p:nvPr/>
          </p:nvSpPr>
          <p:spPr bwMode="auto">
            <a:xfrm>
              <a:off x="8136319" y="5909749"/>
              <a:ext cx="269362" cy="266388"/>
            </a:xfrm>
            <a:custGeom>
              <a:avLst/>
              <a:gdLst>
                <a:gd name="T0" fmla="*/ 878 w 905"/>
                <a:gd name="T1" fmla="*/ 818 h 895"/>
                <a:gd name="T2" fmla="*/ 865 w 905"/>
                <a:gd name="T3" fmla="*/ 818 h 895"/>
                <a:gd name="T4" fmla="*/ 845 w 905"/>
                <a:gd name="T5" fmla="*/ 813 h 895"/>
                <a:gd name="T6" fmla="*/ 830 w 905"/>
                <a:gd name="T7" fmla="*/ 803 h 895"/>
                <a:gd name="T8" fmla="*/ 820 w 905"/>
                <a:gd name="T9" fmla="*/ 787 h 895"/>
                <a:gd name="T10" fmla="*/ 817 w 905"/>
                <a:gd name="T11" fmla="*/ 776 h 895"/>
                <a:gd name="T12" fmla="*/ 549 w 905"/>
                <a:gd name="T13" fmla="*/ 11 h 895"/>
                <a:gd name="T14" fmla="*/ 542 w 905"/>
                <a:gd name="T15" fmla="*/ 3 h 895"/>
                <a:gd name="T16" fmla="*/ 532 w 905"/>
                <a:gd name="T17" fmla="*/ 0 h 895"/>
                <a:gd name="T18" fmla="*/ 429 w 905"/>
                <a:gd name="T19" fmla="*/ 0 h 895"/>
                <a:gd name="T20" fmla="*/ 419 w 905"/>
                <a:gd name="T21" fmla="*/ 3 h 895"/>
                <a:gd name="T22" fmla="*/ 413 w 905"/>
                <a:gd name="T23" fmla="*/ 11 h 895"/>
                <a:gd name="T24" fmla="*/ 92 w 905"/>
                <a:gd name="T25" fmla="*/ 779 h 895"/>
                <a:gd name="T26" fmla="*/ 80 w 905"/>
                <a:gd name="T27" fmla="*/ 798 h 895"/>
                <a:gd name="T28" fmla="*/ 64 w 905"/>
                <a:gd name="T29" fmla="*/ 812 h 895"/>
                <a:gd name="T30" fmla="*/ 51 w 905"/>
                <a:gd name="T31" fmla="*/ 816 h 895"/>
                <a:gd name="T32" fmla="*/ 21 w 905"/>
                <a:gd name="T33" fmla="*/ 818 h 895"/>
                <a:gd name="T34" fmla="*/ 13 w 905"/>
                <a:gd name="T35" fmla="*/ 818 h 895"/>
                <a:gd name="T36" fmla="*/ 3 w 905"/>
                <a:gd name="T37" fmla="*/ 823 h 895"/>
                <a:gd name="T38" fmla="*/ 0 w 905"/>
                <a:gd name="T39" fmla="*/ 831 h 895"/>
                <a:gd name="T40" fmla="*/ 0 w 905"/>
                <a:gd name="T41" fmla="*/ 882 h 895"/>
                <a:gd name="T42" fmla="*/ 3 w 905"/>
                <a:gd name="T43" fmla="*/ 892 h 895"/>
                <a:gd name="T44" fmla="*/ 13 w 905"/>
                <a:gd name="T45" fmla="*/ 895 h 895"/>
                <a:gd name="T46" fmla="*/ 264 w 905"/>
                <a:gd name="T47" fmla="*/ 895 h 895"/>
                <a:gd name="T48" fmla="*/ 274 w 905"/>
                <a:gd name="T49" fmla="*/ 890 h 895"/>
                <a:gd name="T50" fmla="*/ 277 w 905"/>
                <a:gd name="T51" fmla="*/ 882 h 895"/>
                <a:gd name="T52" fmla="*/ 277 w 905"/>
                <a:gd name="T53" fmla="*/ 831 h 895"/>
                <a:gd name="T54" fmla="*/ 274 w 905"/>
                <a:gd name="T55" fmla="*/ 821 h 895"/>
                <a:gd name="T56" fmla="*/ 264 w 905"/>
                <a:gd name="T57" fmla="*/ 818 h 895"/>
                <a:gd name="T58" fmla="*/ 236 w 905"/>
                <a:gd name="T59" fmla="*/ 818 h 895"/>
                <a:gd name="T60" fmla="*/ 211 w 905"/>
                <a:gd name="T61" fmla="*/ 816 h 895"/>
                <a:gd name="T62" fmla="*/ 198 w 905"/>
                <a:gd name="T63" fmla="*/ 812 h 895"/>
                <a:gd name="T64" fmla="*/ 190 w 905"/>
                <a:gd name="T65" fmla="*/ 800 h 895"/>
                <a:gd name="T66" fmla="*/ 188 w 905"/>
                <a:gd name="T67" fmla="*/ 792 h 895"/>
                <a:gd name="T68" fmla="*/ 197 w 905"/>
                <a:gd name="T69" fmla="*/ 762 h 895"/>
                <a:gd name="T70" fmla="*/ 537 w 905"/>
                <a:gd name="T71" fmla="*/ 641 h 895"/>
                <a:gd name="T72" fmla="*/ 560 w 905"/>
                <a:gd name="T73" fmla="*/ 710 h 895"/>
                <a:gd name="T74" fmla="*/ 573 w 905"/>
                <a:gd name="T75" fmla="*/ 749 h 895"/>
                <a:gd name="T76" fmla="*/ 583 w 905"/>
                <a:gd name="T77" fmla="*/ 782 h 895"/>
                <a:gd name="T78" fmla="*/ 585 w 905"/>
                <a:gd name="T79" fmla="*/ 795 h 895"/>
                <a:gd name="T80" fmla="*/ 583 w 905"/>
                <a:gd name="T81" fmla="*/ 803 h 895"/>
                <a:gd name="T82" fmla="*/ 578 w 905"/>
                <a:gd name="T83" fmla="*/ 810 h 895"/>
                <a:gd name="T84" fmla="*/ 568 w 905"/>
                <a:gd name="T85" fmla="*/ 816 h 895"/>
                <a:gd name="T86" fmla="*/ 553 w 905"/>
                <a:gd name="T87" fmla="*/ 818 h 895"/>
                <a:gd name="T88" fmla="*/ 524 w 905"/>
                <a:gd name="T89" fmla="*/ 818 h 895"/>
                <a:gd name="T90" fmla="*/ 514 w 905"/>
                <a:gd name="T91" fmla="*/ 823 h 895"/>
                <a:gd name="T92" fmla="*/ 511 w 905"/>
                <a:gd name="T93" fmla="*/ 831 h 895"/>
                <a:gd name="T94" fmla="*/ 511 w 905"/>
                <a:gd name="T95" fmla="*/ 882 h 895"/>
                <a:gd name="T96" fmla="*/ 514 w 905"/>
                <a:gd name="T97" fmla="*/ 890 h 895"/>
                <a:gd name="T98" fmla="*/ 524 w 905"/>
                <a:gd name="T99" fmla="*/ 895 h 895"/>
                <a:gd name="T100" fmla="*/ 892 w 905"/>
                <a:gd name="T101" fmla="*/ 895 h 895"/>
                <a:gd name="T102" fmla="*/ 902 w 905"/>
                <a:gd name="T103" fmla="*/ 892 h 895"/>
                <a:gd name="T104" fmla="*/ 905 w 905"/>
                <a:gd name="T105" fmla="*/ 882 h 895"/>
                <a:gd name="T106" fmla="*/ 905 w 905"/>
                <a:gd name="T107" fmla="*/ 831 h 895"/>
                <a:gd name="T108" fmla="*/ 902 w 905"/>
                <a:gd name="T109" fmla="*/ 823 h 895"/>
                <a:gd name="T110" fmla="*/ 892 w 905"/>
                <a:gd name="T111" fmla="*/ 818 h 895"/>
                <a:gd name="T112" fmla="*/ 272 w 905"/>
                <a:gd name="T113" fmla="*/ 573 h 895"/>
                <a:gd name="T114" fmla="*/ 517 w 905"/>
                <a:gd name="T115" fmla="*/ 573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95">
                  <a:moveTo>
                    <a:pt x="892" y="818"/>
                  </a:moveTo>
                  <a:lnTo>
                    <a:pt x="878" y="818"/>
                  </a:lnTo>
                  <a:lnTo>
                    <a:pt x="878" y="818"/>
                  </a:lnTo>
                  <a:lnTo>
                    <a:pt x="865" y="818"/>
                  </a:lnTo>
                  <a:lnTo>
                    <a:pt x="853" y="816"/>
                  </a:lnTo>
                  <a:lnTo>
                    <a:pt x="845" y="813"/>
                  </a:lnTo>
                  <a:lnTo>
                    <a:pt x="837" y="810"/>
                  </a:lnTo>
                  <a:lnTo>
                    <a:pt x="830" y="803"/>
                  </a:lnTo>
                  <a:lnTo>
                    <a:pt x="825" y="795"/>
                  </a:lnTo>
                  <a:lnTo>
                    <a:pt x="820" y="787"/>
                  </a:lnTo>
                  <a:lnTo>
                    <a:pt x="817" y="776"/>
                  </a:lnTo>
                  <a:lnTo>
                    <a:pt x="817" y="776"/>
                  </a:lnTo>
                  <a:lnTo>
                    <a:pt x="549" y="11"/>
                  </a:lnTo>
                  <a:lnTo>
                    <a:pt x="549" y="11"/>
                  </a:lnTo>
                  <a:lnTo>
                    <a:pt x="547" y="6"/>
                  </a:lnTo>
                  <a:lnTo>
                    <a:pt x="542" y="3"/>
                  </a:lnTo>
                  <a:lnTo>
                    <a:pt x="537" y="1"/>
                  </a:lnTo>
                  <a:lnTo>
                    <a:pt x="532" y="0"/>
                  </a:lnTo>
                  <a:lnTo>
                    <a:pt x="429" y="0"/>
                  </a:lnTo>
                  <a:lnTo>
                    <a:pt x="429" y="0"/>
                  </a:lnTo>
                  <a:lnTo>
                    <a:pt x="424" y="1"/>
                  </a:lnTo>
                  <a:lnTo>
                    <a:pt x="419" y="3"/>
                  </a:lnTo>
                  <a:lnTo>
                    <a:pt x="416" y="6"/>
                  </a:lnTo>
                  <a:lnTo>
                    <a:pt x="413" y="11"/>
                  </a:lnTo>
                  <a:lnTo>
                    <a:pt x="92" y="779"/>
                  </a:lnTo>
                  <a:lnTo>
                    <a:pt x="92" y="779"/>
                  </a:lnTo>
                  <a:lnTo>
                    <a:pt x="87" y="790"/>
                  </a:lnTo>
                  <a:lnTo>
                    <a:pt x="80" y="798"/>
                  </a:lnTo>
                  <a:lnTo>
                    <a:pt x="74" y="805"/>
                  </a:lnTo>
                  <a:lnTo>
                    <a:pt x="64" y="812"/>
                  </a:lnTo>
                  <a:lnTo>
                    <a:pt x="64" y="812"/>
                  </a:lnTo>
                  <a:lnTo>
                    <a:pt x="51" y="816"/>
                  </a:lnTo>
                  <a:lnTo>
                    <a:pt x="38" y="818"/>
                  </a:lnTo>
                  <a:lnTo>
                    <a:pt x="21" y="818"/>
                  </a:lnTo>
                  <a:lnTo>
                    <a:pt x="13" y="818"/>
                  </a:lnTo>
                  <a:lnTo>
                    <a:pt x="13" y="818"/>
                  </a:lnTo>
                  <a:lnTo>
                    <a:pt x="8" y="820"/>
                  </a:lnTo>
                  <a:lnTo>
                    <a:pt x="3" y="823"/>
                  </a:lnTo>
                  <a:lnTo>
                    <a:pt x="2" y="826"/>
                  </a:lnTo>
                  <a:lnTo>
                    <a:pt x="0" y="831"/>
                  </a:lnTo>
                  <a:lnTo>
                    <a:pt x="0" y="882"/>
                  </a:lnTo>
                  <a:lnTo>
                    <a:pt x="0" y="882"/>
                  </a:lnTo>
                  <a:lnTo>
                    <a:pt x="2" y="887"/>
                  </a:lnTo>
                  <a:lnTo>
                    <a:pt x="3" y="892"/>
                  </a:lnTo>
                  <a:lnTo>
                    <a:pt x="8" y="893"/>
                  </a:lnTo>
                  <a:lnTo>
                    <a:pt x="13" y="895"/>
                  </a:lnTo>
                  <a:lnTo>
                    <a:pt x="264" y="895"/>
                  </a:lnTo>
                  <a:lnTo>
                    <a:pt x="264" y="895"/>
                  </a:lnTo>
                  <a:lnTo>
                    <a:pt x="269" y="893"/>
                  </a:lnTo>
                  <a:lnTo>
                    <a:pt x="274" y="890"/>
                  </a:lnTo>
                  <a:lnTo>
                    <a:pt x="275" y="887"/>
                  </a:lnTo>
                  <a:lnTo>
                    <a:pt x="277" y="882"/>
                  </a:lnTo>
                  <a:lnTo>
                    <a:pt x="277" y="831"/>
                  </a:lnTo>
                  <a:lnTo>
                    <a:pt x="277" y="831"/>
                  </a:lnTo>
                  <a:lnTo>
                    <a:pt x="275" y="826"/>
                  </a:lnTo>
                  <a:lnTo>
                    <a:pt x="274" y="821"/>
                  </a:lnTo>
                  <a:lnTo>
                    <a:pt x="269" y="820"/>
                  </a:lnTo>
                  <a:lnTo>
                    <a:pt x="264" y="818"/>
                  </a:lnTo>
                  <a:lnTo>
                    <a:pt x="236" y="818"/>
                  </a:lnTo>
                  <a:lnTo>
                    <a:pt x="236" y="818"/>
                  </a:lnTo>
                  <a:lnTo>
                    <a:pt x="218" y="818"/>
                  </a:lnTo>
                  <a:lnTo>
                    <a:pt x="211" y="816"/>
                  </a:lnTo>
                  <a:lnTo>
                    <a:pt x="203" y="815"/>
                  </a:lnTo>
                  <a:lnTo>
                    <a:pt x="198" y="812"/>
                  </a:lnTo>
                  <a:lnTo>
                    <a:pt x="193" y="807"/>
                  </a:lnTo>
                  <a:lnTo>
                    <a:pt x="190" y="800"/>
                  </a:lnTo>
                  <a:lnTo>
                    <a:pt x="188" y="792"/>
                  </a:lnTo>
                  <a:lnTo>
                    <a:pt x="188" y="792"/>
                  </a:lnTo>
                  <a:lnTo>
                    <a:pt x="190" y="779"/>
                  </a:lnTo>
                  <a:lnTo>
                    <a:pt x="197" y="762"/>
                  </a:lnTo>
                  <a:lnTo>
                    <a:pt x="246" y="641"/>
                  </a:lnTo>
                  <a:lnTo>
                    <a:pt x="537" y="641"/>
                  </a:lnTo>
                  <a:lnTo>
                    <a:pt x="537" y="641"/>
                  </a:lnTo>
                  <a:lnTo>
                    <a:pt x="560" y="710"/>
                  </a:lnTo>
                  <a:lnTo>
                    <a:pt x="573" y="749"/>
                  </a:lnTo>
                  <a:lnTo>
                    <a:pt x="573" y="749"/>
                  </a:lnTo>
                  <a:lnTo>
                    <a:pt x="583" y="782"/>
                  </a:lnTo>
                  <a:lnTo>
                    <a:pt x="583" y="782"/>
                  </a:lnTo>
                  <a:lnTo>
                    <a:pt x="583" y="789"/>
                  </a:lnTo>
                  <a:lnTo>
                    <a:pt x="585" y="795"/>
                  </a:lnTo>
                  <a:lnTo>
                    <a:pt x="585" y="795"/>
                  </a:lnTo>
                  <a:lnTo>
                    <a:pt x="583" y="803"/>
                  </a:lnTo>
                  <a:lnTo>
                    <a:pt x="581" y="807"/>
                  </a:lnTo>
                  <a:lnTo>
                    <a:pt x="578" y="810"/>
                  </a:lnTo>
                  <a:lnTo>
                    <a:pt x="575" y="813"/>
                  </a:lnTo>
                  <a:lnTo>
                    <a:pt x="568" y="816"/>
                  </a:lnTo>
                  <a:lnTo>
                    <a:pt x="562" y="818"/>
                  </a:lnTo>
                  <a:lnTo>
                    <a:pt x="553" y="818"/>
                  </a:lnTo>
                  <a:lnTo>
                    <a:pt x="524" y="818"/>
                  </a:lnTo>
                  <a:lnTo>
                    <a:pt x="524" y="818"/>
                  </a:lnTo>
                  <a:lnTo>
                    <a:pt x="517" y="820"/>
                  </a:lnTo>
                  <a:lnTo>
                    <a:pt x="514" y="823"/>
                  </a:lnTo>
                  <a:lnTo>
                    <a:pt x="511" y="826"/>
                  </a:lnTo>
                  <a:lnTo>
                    <a:pt x="511" y="831"/>
                  </a:lnTo>
                  <a:lnTo>
                    <a:pt x="511" y="882"/>
                  </a:lnTo>
                  <a:lnTo>
                    <a:pt x="511" y="882"/>
                  </a:lnTo>
                  <a:lnTo>
                    <a:pt x="511" y="887"/>
                  </a:lnTo>
                  <a:lnTo>
                    <a:pt x="514" y="890"/>
                  </a:lnTo>
                  <a:lnTo>
                    <a:pt x="517" y="893"/>
                  </a:lnTo>
                  <a:lnTo>
                    <a:pt x="524" y="895"/>
                  </a:lnTo>
                  <a:lnTo>
                    <a:pt x="892" y="895"/>
                  </a:lnTo>
                  <a:lnTo>
                    <a:pt x="892" y="895"/>
                  </a:lnTo>
                  <a:lnTo>
                    <a:pt x="897" y="893"/>
                  </a:lnTo>
                  <a:lnTo>
                    <a:pt x="902" y="892"/>
                  </a:lnTo>
                  <a:lnTo>
                    <a:pt x="905" y="887"/>
                  </a:lnTo>
                  <a:lnTo>
                    <a:pt x="905" y="882"/>
                  </a:lnTo>
                  <a:lnTo>
                    <a:pt x="905" y="831"/>
                  </a:lnTo>
                  <a:lnTo>
                    <a:pt x="905" y="831"/>
                  </a:lnTo>
                  <a:lnTo>
                    <a:pt x="905" y="826"/>
                  </a:lnTo>
                  <a:lnTo>
                    <a:pt x="902" y="823"/>
                  </a:lnTo>
                  <a:lnTo>
                    <a:pt x="897" y="820"/>
                  </a:lnTo>
                  <a:lnTo>
                    <a:pt x="892" y="818"/>
                  </a:lnTo>
                  <a:lnTo>
                    <a:pt x="892" y="818"/>
                  </a:lnTo>
                  <a:close/>
                  <a:moveTo>
                    <a:pt x="272" y="573"/>
                  </a:moveTo>
                  <a:lnTo>
                    <a:pt x="413" y="226"/>
                  </a:lnTo>
                  <a:lnTo>
                    <a:pt x="517" y="573"/>
                  </a:lnTo>
                  <a:lnTo>
                    <a:pt x="272" y="5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grpSp>
      <p:sp>
        <p:nvSpPr>
          <p:cNvPr id="4" name="Datumsplatzhalter 3"/>
          <p:cNvSpPr>
            <a:spLocks noGrp="1"/>
          </p:cNvSpPr>
          <p:nvPr>
            <p:ph type="dt" sz="half" idx="14"/>
          </p:nvPr>
        </p:nvSpPr>
        <p:spPr>
          <a:xfrm>
            <a:off x="747184" y="6597536"/>
            <a:ext cx="1057790" cy="139590"/>
          </a:xfrm>
        </p:spPr>
        <p:txBody>
          <a:bodyPr/>
          <a:lstStyle/>
          <a:p>
            <a:fld id="{692DCB8F-5B12-43D2-8048-292B9BAD52CE}" type="datetime4">
              <a:rPr lang="en-GB" smtClean="0"/>
              <a:t>15 February 2024</a:t>
            </a:fld>
            <a:endParaRPr lang="en-GB"/>
          </a:p>
        </p:txBody>
      </p:sp>
      <p:sp>
        <p:nvSpPr>
          <p:cNvPr id="18" name="Foliennummernplatzhalter 4"/>
          <p:cNvSpPr txBox="1">
            <a:spLocks/>
          </p:cNvSpPr>
          <p:nvPr userDrawn="1"/>
        </p:nvSpPr>
        <p:spPr>
          <a:xfrm>
            <a:off x="331601" y="6597536"/>
            <a:ext cx="210955" cy="139590"/>
          </a:xfrm>
          <a:prstGeom prst="rect">
            <a:avLst/>
          </a:prstGeom>
        </p:spPr>
        <p:txBody>
          <a:bodyPr vert="horz" wrap="none" lIns="0" tIns="0" rIns="0" bIns="0" rtlCol="0" anchor="ctr" anchorCtr="0">
            <a:spAutoFit/>
          </a:bodyPr>
          <a:lstStyle>
            <a:defPPr>
              <a:defRPr lang="de-DE"/>
            </a:defPPr>
            <a:lvl1pPr marL="0" algn="r" defTabSz="1043056" rtl="0" eaLnBrk="1" latinLnBrk="0" hangingPunct="1">
              <a:defRPr lang="de-AT" sz="1000" b="0" kern="1200" spc="190" baseline="0">
                <a:solidFill>
                  <a:schemeClr val="tx1"/>
                </a:solidFill>
                <a:latin typeface="CA Sans" pitchFamily="50" charset="0"/>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fld id="{30272582-AA89-4A5B-9BA7-B311A460C225}" type="slidenum">
              <a:rPr lang="en-GB" sz="907" smtClean="0"/>
              <a:pPr/>
              <a:t>‹#›</a:t>
            </a:fld>
            <a:endParaRPr lang="en-GB" sz="907"/>
          </a:p>
        </p:txBody>
      </p:sp>
    </p:spTree>
    <p:extLst>
      <p:ext uri="{BB962C8B-B14F-4D97-AF65-F5344CB8AC3E}">
        <p14:creationId xmlns:p14="http://schemas.microsoft.com/office/powerpoint/2010/main" val="182808936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E AGENDA OPTION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E3177B9-1765-CC87-DAC7-824DEE9050E0}"/>
              </a:ext>
            </a:extLst>
          </p:cNvPr>
          <p:cNvSpPr>
            <a:spLocks noGrp="1"/>
          </p:cNvSpPr>
          <p:nvPr>
            <p:ph type="title" hasCustomPrompt="1"/>
          </p:nvPr>
        </p:nvSpPr>
        <p:spPr>
          <a:xfrm>
            <a:off x="1455738" y="1455911"/>
            <a:ext cx="3028492" cy="843340"/>
          </a:xfrm>
          <a:prstGeom prst="rect">
            <a:avLst/>
          </a:prstGeom>
        </p:spPr>
        <p:txBody>
          <a:bodyPr anchor="ctr">
            <a:normAutofit/>
          </a:bodyPr>
          <a:lstStyle>
            <a:lvl1pPr marL="0" algn="l" defTabSz="914400" rtl="0" eaLnBrk="1" latinLnBrk="0" hangingPunct="1">
              <a:lnSpc>
                <a:spcPct val="90000"/>
              </a:lnSpc>
              <a:spcBef>
                <a:spcPct val="0"/>
              </a:spcBef>
              <a:buNone/>
              <a:defRPr lang="en-BE" sz="3200" b="1" i="0" kern="1200" dirty="0">
                <a:solidFill>
                  <a:schemeClr val="tx1"/>
                </a:solidFill>
                <a:latin typeface="AvenirNext LT Pro Bold" panose="020B0504020202020204" pitchFamily="34" charset="77"/>
                <a:ea typeface="+mj-ea"/>
                <a:cs typeface="+mj-cs"/>
              </a:defRPr>
            </a:lvl1pPr>
          </a:lstStyle>
          <a:p>
            <a:r>
              <a:rPr lang="en-GB"/>
              <a:t>Chapter title</a:t>
            </a:r>
            <a:endParaRPr lang="en-BE"/>
          </a:p>
        </p:txBody>
      </p:sp>
      <p:cxnSp>
        <p:nvCxnSpPr>
          <p:cNvPr id="8" name="Straight Connector 7">
            <a:extLst>
              <a:ext uri="{FF2B5EF4-FFF2-40B4-BE49-F238E27FC236}">
                <a16:creationId xmlns:a16="http://schemas.microsoft.com/office/drawing/2014/main" id="{ECB754D3-B723-90D5-F927-AE5F3979136D}"/>
              </a:ext>
            </a:extLst>
          </p:cNvPr>
          <p:cNvCxnSpPr>
            <a:cxnSpLocks/>
          </p:cNvCxnSpPr>
          <p:nvPr userDrawn="1"/>
        </p:nvCxnSpPr>
        <p:spPr>
          <a:xfrm>
            <a:off x="437390" y="587639"/>
            <a:ext cx="1675546" cy="0"/>
          </a:xfrm>
          <a:prstGeom prst="line">
            <a:avLst/>
          </a:prstGeom>
          <a:noFill/>
          <a:ln w="12700" cap="flat" cmpd="sng" algn="ctr">
            <a:solidFill>
              <a:srgbClr val="DCCF7F"/>
            </a:solidFill>
            <a:prstDash val="solid"/>
            <a:miter lim="800000"/>
          </a:ln>
          <a:effectLst/>
        </p:spPr>
      </p:cxnSp>
      <p:sp>
        <p:nvSpPr>
          <p:cNvPr id="10" name="Text Placeholder 5">
            <a:extLst>
              <a:ext uri="{FF2B5EF4-FFF2-40B4-BE49-F238E27FC236}">
                <a16:creationId xmlns:a16="http://schemas.microsoft.com/office/drawing/2014/main" id="{8D4E74AE-BE2A-555B-2C3C-E2E4528A13C1}"/>
              </a:ext>
            </a:extLst>
          </p:cNvPr>
          <p:cNvSpPr>
            <a:spLocks noGrp="1"/>
          </p:cNvSpPr>
          <p:nvPr>
            <p:ph type="body" sz="quarter" idx="10" hasCustomPrompt="1"/>
          </p:nvPr>
        </p:nvSpPr>
        <p:spPr>
          <a:xfrm>
            <a:off x="437390" y="304079"/>
            <a:ext cx="5363564" cy="228026"/>
          </a:xfrm>
          <a:prstGeom prst="rect">
            <a:avLst/>
          </a:prstGeom>
        </p:spPr>
        <p:txBody>
          <a:bodyPr>
            <a:noAutofit/>
          </a:bodyPr>
          <a:lstStyle>
            <a:lvl1pPr marL="0" inden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a:defRPr/>
            </a:lvl2pPr>
            <a:lvl3pPr>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tabLst/>
              <a:defRPr/>
            </a:pPr>
            <a:r>
              <a:rPr lang="en-GB"/>
              <a:t>THE AGENDA</a:t>
            </a:r>
            <a:endParaRPr lang="en-BE"/>
          </a:p>
        </p:txBody>
      </p:sp>
      <p:sp>
        <p:nvSpPr>
          <p:cNvPr id="36" name="Text Placeholder 35">
            <a:extLst>
              <a:ext uri="{FF2B5EF4-FFF2-40B4-BE49-F238E27FC236}">
                <a16:creationId xmlns:a16="http://schemas.microsoft.com/office/drawing/2014/main" id="{E0D22FC1-1B82-D4A0-832C-BA9733F4D600}"/>
              </a:ext>
            </a:extLst>
          </p:cNvPr>
          <p:cNvSpPr>
            <a:spLocks noGrp="1"/>
          </p:cNvSpPr>
          <p:nvPr>
            <p:ph type="body" sz="quarter" idx="11" hasCustomPrompt="1"/>
          </p:nvPr>
        </p:nvSpPr>
        <p:spPr>
          <a:xfrm>
            <a:off x="438150" y="1455359"/>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6000" b="0" i="0" kern="1200" dirty="0">
                <a:solidFill>
                  <a:srgbClr val="CEB36E"/>
                </a:solidFill>
                <a:latin typeface="Bodoni MT" panose="02070603080606020203" pitchFamily="18" charset="77"/>
                <a:ea typeface="+mn-ea"/>
                <a:cs typeface="+mn-cs"/>
              </a:defRPr>
            </a:lvl1pPr>
          </a:lstStyle>
          <a:p>
            <a:pPr lvl="0"/>
            <a:r>
              <a:rPr lang="en-GB"/>
              <a:t>01</a:t>
            </a:r>
          </a:p>
        </p:txBody>
      </p:sp>
      <p:sp>
        <p:nvSpPr>
          <p:cNvPr id="44" name="Text Placeholder 43">
            <a:extLst>
              <a:ext uri="{FF2B5EF4-FFF2-40B4-BE49-F238E27FC236}">
                <a16:creationId xmlns:a16="http://schemas.microsoft.com/office/drawing/2014/main" id="{2C33B690-4024-B18C-5813-1F81676020B8}"/>
              </a:ext>
            </a:extLst>
          </p:cNvPr>
          <p:cNvSpPr>
            <a:spLocks noGrp="1"/>
          </p:cNvSpPr>
          <p:nvPr>
            <p:ph type="body" sz="quarter" idx="12" hasCustomPrompt="1"/>
          </p:nvPr>
        </p:nvSpPr>
        <p:spPr>
          <a:xfrm>
            <a:off x="1455738" y="2585660"/>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45" name="Text Placeholder 35">
            <a:extLst>
              <a:ext uri="{FF2B5EF4-FFF2-40B4-BE49-F238E27FC236}">
                <a16:creationId xmlns:a16="http://schemas.microsoft.com/office/drawing/2014/main" id="{FCD1DC4A-E6B6-EE80-1E1F-8881A27E359C}"/>
              </a:ext>
            </a:extLst>
          </p:cNvPr>
          <p:cNvSpPr>
            <a:spLocks noGrp="1"/>
          </p:cNvSpPr>
          <p:nvPr>
            <p:ph type="body" sz="quarter" idx="13" hasCustomPrompt="1"/>
          </p:nvPr>
        </p:nvSpPr>
        <p:spPr>
          <a:xfrm>
            <a:off x="438150" y="2585659"/>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6000" b="0" i="0" kern="1200" dirty="0">
                <a:solidFill>
                  <a:srgbClr val="CEB36E"/>
                </a:solidFill>
                <a:latin typeface="Bodoni MT" panose="02070603080606020203" pitchFamily="18" charset="77"/>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GB"/>
              <a:t>02</a:t>
            </a:r>
          </a:p>
        </p:txBody>
      </p:sp>
      <p:sp>
        <p:nvSpPr>
          <p:cNvPr id="46" name="Text Placeholder 43">
            <a:extLst>
              <a:ext uri="{FF2B5EF4-FFF2-40B4-BE49-F238E27FC236}">
                <a16:creationId xmlns:a16="http://schemas.microsoft.com/office/drawing/2014/main" id="{11452F8C-DC1D-3A28-0048-4A6A33B75C89}"/>
              </a:ext>
            </a:extLst>
          </p:cNvPr>
          <p:cNvSpPr>
            <a:spLocks noGrp="1"/>
          </p:cNvSpPr>
          <p:nvPr>
            <p:ph type="body" sz="quarter" idx="14" hasCustomPrompt="1"/>
          </p:nvPr>
        </p:nvSpPr>
        <p:spPr>
          <a:xfrm>
            <a:off x="1455738" y="3715408"/>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47" name="Text Placeholder 35">
            <a:extLst>
              <a:ext uri="{FF2B5EF4-FFF2-40B4-BE49-F238E27FC236}">
                <a16:creationId xmlns:a16="http://schemas.microsoft.com/office/drawing/2014/main" id="{11868247-DD7B-AC5F-B819-4D86A08CE95B}"/>
              </a:ext>
            </a:extLst>
          </p:cNvPr>
          <p:cNvSpPr>
            <a:spLocks noGrp="1"/>
          </p:cNvSpPr>
          <p:nvPr>
            <p:ph type="body" sz="quarter" idx="15" hasCustomPrompt="1"/>
          </p:nvPr>
        </p:nvSpPr>
        <p:spPr>
          <a:xfrm>
            <a:off x="438150" y="3715407"/>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6000" b="0" i="0" kern="1200" dirty="0">
                <a:solidFill>
                  <a:srgbClr val="CEB36E"/>
                </a:solidFill>
                <a:latin typeface="Bodoni MT" panose="02070603080606020203" pitchFamily="18" charset="77"/>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GB"/>
              <a:t>03</a:t>
            </a:r>
          </a:p>
        </p:txBody>
      </p:sp>
      <p:sp>
        <p:nvSpPr>
          <p:cNvPr id="48" name="Text Placeholder 43">
            <a:extLst>
              <a:ext uri="{FF2B5EF4-FFF2-40B4-BE49-F238E27FC236}">
                <a16:creationId xmlns:a16="http://schemas.microsoft.com/office/drawing/2014/main" id="{033A2828-93D6-AE38-4904-EEC48DE99288}"/>
              </a:ext>
            </a:extLst>
          </p:cNvPr>
          <p:cNvSpPr>
            <a:spLocks noGrp="1"/>
          </p:cNvSpPr>
          <p:nvPr>
            <p:ph type="body" sz="quarter" idx="16" hasCustomPrompt="1"/>
          </p:nvPr>
        </p:nvSpPr>
        <p:spPr>
          <a:xfrm>
            <a:off x="1455738" y="4845155"/>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49" name="Text Placeholder 35">
            <a:extLst>
              <a:ext uri="{FF2B5EF4-FFF2-40B4-BE49-F238E27FC236}">
                <a16:creationId xmlns:a16="http://schemas.microsoft.com/office/drawing/2014/main" id="{4015985F-C691-248F-BA47-AF3BC5D72F10}"/>
              </a:ext>
            </a:extLst>
          </p:cNvPr>
          <p:cNvSpPr>
            <a:spLocks noGrp="1"/>
          </p:cNvSpPr>
          <p:nvPr>
            <p:ph type="body" sz="quarter" idx="17" hasCustomPrompt="1"/>
          </p:nvPr>
        </p:nvSpPr>
        <p:spPr>
          <a:xfrm>
            <a:off x="438150" y="4845154"/>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6000" b="0" i="0" kern="1200" dirty="0">
                <a:solidFill>
                  <a:srgbClr val="CEB36E"/>
                </a:solidFill>
                <a:latin typeface="Bodoni MT" panose="02070603080606020203" pitchFamily="18" charset="77"/>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GB"/>
              <a:t>04</a:t>
            </a:r>
          </a:p>
        </p:txBody>
      </p:sp>
      <p:sp>
        <p:nvSpPr>
          <p:cNvPr id="51" name="Text Placeholder 35">
            <a:extLst>
              <a:ext uri="{FF2B5EF4-FFF2-40B4-BE49-F238E27FC236}">
                <a16:creationId xmlns:a16="http://schemas.microsoft.com/office/drawing/2014/main" id="{7017D547-6A42-A890-55AE-F4A44405F755}"/>
              </a:ext>
            </a:extLst>
          </p:cNvPr>
          <p:cNvSpPr>
            <a:spLocks noGrp="1"/>
          </p:cNvSpPr>
          <p:nvPr>
            <p:ph type="body" sz="quarter" idx="18" hasCustomPrompt="1"/>
          </p:nvPr>
        </p:nvSpPr>
        <p:spPr>
          <a:xfrm>
            <a:off x="5267602" y="1455359"/>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6000" b="0" i="0" kern="1200" dirty="0">
                <a:solidFill>
                  <a:srgbClr val="CEB36E"/>
                </a:solidFill>
                <a:latin typeface="Bodoni MT" panose="02070603080606020203" pitchFamily="18" charset="77"/>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GB"/>
              <a:t>05</a:t>
            </a:r>
          </a:p>
        </p:txBody>
      </p:sp>
      <p:sp>
        <p:nvSpPr>
          <p:cNvPr id="52" name="Text Placeholder 43">
            <a:extLst>
              <a:ext uri="{FF2B5EF4-FFF2-40B4-BE49-F238E27FC236}">
                <a16:creationId xmlns:a16="http://schemas.microsoft.com/office/drawing/2014/main" id="{96C7732F-1EF7-3660-0A7B-D7A15A6390A1}"/>
              </a:ext>
            </a:extLst>
          </p:cNvPr>
          <p:cNvSpPr>
            <a:spLocks noGrp="1"/>
          </p:cNvSpPr>
          <p:nvPr>
            <p:ph type="body" sz="quarter" idx="19" hasCustomPrompt="1"/>
          </p:nvPr>
        </p:nvSpPr>
        <p:spPr>
          <a:xfrm>
            <a:off x="6285190" y="2585660"/>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53" name="Text Placeholder 35">
            <a:extLst>
              <a:ext uri="{FF2B5EF4-FFF2-40B4-BE49-F238E27FC236}">
                <a16:creationId xmlns:a16="http://schemas.microsoft.com/office/drawing/2014/main" id="{712600F8-D618-8E66-0159-98E1601D42F8}"/>
              </a:ext>
            </a:extLst>
          </p:cNvPr>
          <p:cNvSpPr>
            <a:spLocks noGrp="1"/>
          </p:cNvSpPr>
          <p:nvPr>
            <p:ph type="body" sz="quarter" idx="20" hasCustomPrompt="1"/>
          </p:nvPr>
        </p:nvSpPr>
        <p:spPr>
          <a:xfrm>
            <a:off x="5267602" y="2585659"/>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6000" b="0" i="0" kern="1200" dirty="0">
                <a:solidFill>
                  <a:srgbClr val="CEB36E"/>
                </a:solidFill>
                <a:latin typeface="Bodoni MT" panose="02070603080606020203" pitchFamily="18" charset="77"/>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GB"/>
              <a:t>06</a:t>
            </a:r>
          </a:p>
        </p:txBody>
      </p:sp>
      <p:sp>
        <p:nvSpPr>
          <p:cNvPr id="54" name="Text Placeholder 43">
            <a:extLst>
              <a:ext uri="{FF2B5EF4-FFF2-40B4-BE49-F238E27FC236}">
                <a16:creationId xmlns:a16="http://schemas.microsoft.com/office/drawing/2014/main" id="{9F7F3BA1-062B-20E6-8FFF-69B99F1BE645}"/>
              </a:ext>
            </a:extLst>
          </p:cNvPr>
          <p:cNvSpPr>
            <a:spLocks noGrp="1"/>
          </p:cNvSpPr>
          <p:nvPr>
            <p:ph type="body" sz="quarter" idx="21" hasCustomPrompt="1"/>
          </p:nvPr>
        </p:nvSpPr>
        <p:spPr>
          <a:xfrm>
            <a:off x="6285190" y="3715408"/>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55" name="Text Placeholder 35">
            <a:extLst>
              <a:ext uri="{FF2B5EF4-FFF2-40B4-BE49-F238E27FC236}">
                <a16:creationId xmlns:a16="http://schemas.microsoft.com/office/drawing/2014/main" id="{509D8F35-AAA0-92D2-5087-F637D5CC40A6}"/>
              </a:ext>
            </a:extLst>
          </p:cNvPr>
          <p:cNvSpPr>
            <a:spLocks noGrp="1"/>
          </p:cNvSpPr>
          <p:nvPr>
            <p:ph type="body" sz="quarter" idx="22" hasCustomPrompt="1"/>
          </p:nvPr>
        </p:nvSpPr>
        <p:spPr>
          <a:xfrm>
            <a:off x="5267602" y="3715407"/>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6000" b="0" i="0" kern="1200" dirty="0">
                <a:solidFill>
                  <a:srgbClr val="CEB36E"/>
                </a:solidFill>
                <a:latin typeface="Bodoni MT" panose="02070603080606020203" pitchFamily="18" charset="77"/>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GB"/>
              <a:t>07</a:t>
            </a:r>
          </a:p>
        </p:txBody>
      </p:sp>
      <p:sp>
        <p:nvSpPr>
          <p:cNvPr id="56" name="Text Placeholder 43">
            <a:extLst>
              <a:ext uri="{FF2B5EF4-FFF2-40B4-BE49-F238E27FC236}">
                <a16:creationId xmlns:a16="http://schemas.microsoft.com/office/drawing/2014/main" id="{B4BCE137-36D5-30F7-C22F-B6C97E1B15C7}"/>
              </a:ext>
            </a:extLst>
          </p:cNvPr>
          <p:cNvSpPr>
            <a:spLocks noGrp="1"/>
          </p:cNvSpPr>
          <p:nvPr>
            <p:ph type="body" sz="quarter" idx="23" hasCustomPrompt="1"/>
          </p:nvPr>
        </p:nvSpPr>
        <p:spPr>
          <a:xfrm>
            <a:off x="6285190" y="4845155"/>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57" name="Text Placeholder 35">
            <a:extLst>
              <a:ext uri="{FF2B5EF4-FFF2-40B4-BE49-F238E27FC236}">
                <a16:creationId xmlns:a16="http://schemas.microsoft.com/office/drawing/2014/main" id="{FFBF7E17-0C04-4665-FE41-0A4E15A900C9}"/>
              </a:ext>
            </a:extLst>
          </p:cNvPr>
          <p:cNvSpPr>
            <a:spLocks noGrp="1"/>
          </p:cNvSpPr>
          <p:nvPr>
            <p:ph type="body" sz="quarter" idx="24" hasCustomPrompt="1"/>
          </p:nvPr>
        </p:nvSpPr>
        <p:spPr>
          <a:xfrm>
            <a:off x="5267602" y="4845154"/>
            <a:ext cx="1017588" cy="843341"/>
          </a:xfrm>
          <a:prstGeom prst="rect">
            <a:avLst/>
          </a:prstGeom>
        </p:spPr>
        <p:txBody>
          <a:bodyPr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6000" b="0" i="0" kern="1200" dirty="0">
                <a:solidFill>
                  <a:srgbClr val="CEB36E"/>
                </a:solidFill>
                <a:latin typeface="Bodoni MT" panose="02070603080606020203" pitchFamily="18" charset="77"/>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08</a:t>
            </a:r>
          </a:p>
        </p:txBody>
      </p:sp>
      <p:sp>
        <p:nvSpPr>
          <p:cNvPr id="58" name="Text Placeholder 43">
            <a:extLst>
              <a:ext uri="{FF2B5EF4-FFF2-40B4-BE49-F238E27FC236}">
                <a16:creationId xmlns:a16="http://schemas.microsoft.com/office/drawing/2014/main" id="{0511C860-68F2-B7BB-CD30-D9320A52141C}"/>
              </a:ext>
            </a:extLst>
          </p:cNvPr>
          <p:cNvSpPr>
            <a:spLocks noGrp="1"/>
          </p:cNvSpPr>
          <p:nvPr>
            <p:ph type="body" sz="quarter" idx="25" hasCustomPrompt="1"/>
          </p:nvPr>
        </p:nvSpPr>
        <p:spPr>
          <a:xfrm>
            <a:off x="6285190" y="1455358"/>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pic>
        <p:nvPicPr>
          <p:cNvPr id="3" name="Picture 2">
            <a:extLst>
              <a:ext uri="{FF2B5EF4-FFF2-40B4-BE49-F238E27FC236}">
                <a16:creationId xmlns:a16="http://schemas.microsoft.com/office/drawing/2014/main" id="{DF6B7A1C-A321-194F-30B3-00FF33712EC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33043" y="5494852"/>
            <a:ext cx="877957" cy="1083131"/>
          </a:xfrm>
          <a:prstGeom prst="rect">
            <a:avLst/>
          </a:prstGeom>
        </p:spPr>
      </p:pic>
    </p:spTree>
    <p:extLst>
      <p:ext uri="{BB962C8B-B14F-4D97-AF65-F5344CB8AC3E}">
        <p14:creationId xmlns:p14="http://schemas.microsoft.com/office/powerpoint/2010/main" val="15177337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page grey with photo">
    <p:bg>
      <p:bgPr>
        <a:solidFill>
          <a:srgbClr val="D5D4D3"/>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657710930"/>
              </p:ext>
            </p:extLst>
          </p:nvPr>
        </p:nvGraphicFramePr>
        <p:xfrm>
          <a:off x="1812" y="1443"/>
          <a:ext cx="1809" cy="143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kt 6" hidden="1"/>
                      <p:cNvPicPr/>
                      <p:nvPr/>
                    </p:nvPicPr>
                    <p:blipFill>
                      <a:blip r:embed="rId4"/>
                      <a:stretch>
                        <a:fillRect/>
                      </a:stretch>
                    </p:blipFill>
                    <p:spPr>
                      <a:xfrm>
                        <a:off x="1812" y="1443"/>
                        <a:ext cx="1809" cy="1439"/>
                      </a:xfrm>
                      <a:prstGeom prst="rect">
                        <a:avLst/>
                      </a:prstGeom>
                    </p:spPr>
                  </p:pic>
                </p:oleObj>
              </mc:Fallback>
            </mc:AlternateContent>
          </a:graphicData>
        </a:graphic>
      </p:graphicFrame>
      <p:pic>
        <p:nvPicPr>
          <p:cNvPr id="4" name="Grafik 3"/>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097811" y="2"/>
            <a:ext cx="6094189" cy="6858000"/>
          </a:xfrm>
          <a:prstGeom prst="rect">
            <a:avLst/>
          </a:prstGeom>
        </p:spPr>
      </p:pic>
      <p:sp>
        <p:nvSpPr>
          <p:cNvPr id="28" name="Bildplatzhalter 27"/>
          <p:cNvSpPr>
            <a:spLocks noGrp="1"/>
          </p:cNvSpPr>
          <p:nvPr>
            <p:ph type="pic" sz="quarter" idx="17" hasCustomPrompt="1"/>
          </p:nvPr>
        </p:nvSpPr>
        <p:spPr>
          <a:xfrm>
            <a:off x="6124732" y="2"/>
            <a:ext cx="6067269" cy="6858000"/>
          </a:xfrm>
          <a:noFill/>
        </p:spPr>
        <p:txBody>
          <a:bodyPr wrap="none">
            <a:noAutofit/>
          </a:bodyPr>
          <a:lstStyle>
            <a:lvl1pPr marL="0" indent="0">
              <a:buNone/>
              <a:defRPr>
                <a:solidFill>
                  <a:schemeClr val="tx1"/>
                </a:solidFill>
              </a:defRPr>
            </a:lvl1pPr>
          </a:lstStyle>
          <a:p>
            <a:r>
              <a:rPr lang="en-US" noProof="0"/>
              <a:t>Example image. </a:t>
            </a:r>
            <a:br>
              <a:rPr lang="en-US" noProof="0"/>
            </a:br>
            <a:r>
              <a:rPr lang="en-US" noProof="0"/>
              <a:t>Use images of Brand Image Library (Brand Central).</a:t>
            </a:r>
            <a:endParaRPr lang="en-GB" noProof="0"/>
          </a:p>
        </p:txBody>
      </p:sp>
      <p:sp>
        <p:nvSpPr>
          <p:cNvPr id="34" name="Bildplatzhalter 32"/>
          <p:cNvSpPr>
            <a:spLocks noGrp="1"/>
          </p:cNvSpPr>
          <p:nvPr>
            <p:ph type="pic" sz="quarter" idx="18" hasCustomPrompt="1"/>
          </p:nvPr>
        </p:nvSpPr>
        <p:spPr>
          <a:xfrm>
            <a:off x="11522252" y="6541235"/>
            <a:ext cx="402243" cy="251236"/>
          </a:xfrm>
          <a:blipFill>
            <a:blip r:embed="rId6"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de-AT"/>
              <a:t> </a:t>
            </a:r>
          </a:p>
        </p:txBody>
      </p:sp>
      <p:sp>
        <p:nvSpPr>
          <p:cNvPr id="18" name="Textplatzhalter 8"/>
          <p:cNvSpPr>
            <a:spLocks noGrp="1"/>
          </p:cNvSpPr>
          <p:nvPr>
            <p:ph type="body" sz="quarter" idx="13" hasCustomPrompt="1"/>
          </p:nvPr>
        </p:nvSpPr>
        <p:spPr>
          <a:xfrm>
            <a:off x="2890531" y="1639128"/>
            <a:ext cx="320366" cy="192360"/>
          </a:xfrm>
        </p:spPr>
        <p:txBody>
          <a:bodyPr wrap="square" anchor="b"/>
          <a:lstStyle>
            <a:lvl1pPr marL="0" indent="0" algn="ctr">
              <a:lnSpc>
                <a:spcPts val="1542"/>
              </a:lnSpc>
              <a:buNone/>
              <a:defRPr sz="1270" cap="none" baseline="0">
                <a:solidFill>
                  <a:schemeClr val="bg1"/>
                </a:solidFill>
                <a:latin typeface="+mn-lt"/>
              </a:defRPr>
            </a:lvl1pPr>
            <a:lvl2pPr>
              <a:defRPr sz="1360" cap="all">
                <a:latin typeface="+mn-lt"/>
              </a:defRPr>
            </a:lvl2pPr>
            <a:lvl3pPr>
              <a:defRPr sz="1360" cap="all">
                <a:latin typeface="+mn-lt"/>
              </a:defRPr>
            </a:lvl3pPr>
            <a:lvl4pPr>
              <a:defRPr sz="1360" cap="all">
                <a:latin typeface="+mn-lt"/>
              </a:defRPr>
            </a:lvl4pPr>
            <a:lvl5pPr>
              <a:defRPr sz="1360" cap="all">
                <a:latin typeface="+mn-lt"/>
              </a:defRPr>
            </a:lvl5pPr>
          </a:lstStyle>
          <a:p>
            <a:pPr lvl="0"/>
            <a:r>
              <a:rPr lang="en-GB"/>
              <a:t>1</a:t>
            </a:r>
          </a:p>
        </p:txBody>
      </p:sp>
      <p:cxnSp>
        <p:nvCxnSpPr>
          <p:cNvPr id="19" name="Gerade Verbindung 18"/>
          <p:cNvCxnSpPr/>
          <p:nvPr userDrawn="1"/>
        </p:nvCxnSpPr>
        <p:spPr>
          <a:xfrm>
            <a:off x="2890531" y="1868204"/>
            <a:ext cx="32036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Untertitel 2"/>
          <p:cNvSpPr>
            <a:spLocks noGrp="1"/>
          </p:cNvSpPr>
          <p:nvPr>
            <p:ph type="subTitle" idx="1" hasCustomPrompt="1"/>
          </p:nvPr>
        </p:nvSpPr>
        <p:spPr>
          <a:xfrm>
            <a:off x="266069" y="2158382"/>
            <a:ext cx="5569293" cy="652515"/>
          </a:xfrm>
        </p:spPr>
        <p:txBody>
          <a:bodyPr/>
          <a:lstStyle>
            <a:lvl1pPr marL="0" indent="0" algn="ctr">
              <a:lnSpc>
                <a:spcPts val="4988"/>
              </a:lnSpc>
              <a:spcBef>
                <a:spcPts val="0"/>
              </a:spcBef>
              <a:buNone/>
              <a:defRPr sz="4988">
                <a:solidFill>
                  <a:schemeClr val="bg1"/>
                </a:solidFill>
                <a:latin typeface="+mn-lt"/>
              </a:defRPr>
            </a:lvl1pPr>
            <a:lvl2pPr marL="472974" indent="0" algn="ctr">
              <a:buNone/>
              <a:defRPr>
                <a:solidFill>
                  <a:schemeClr val="tx1">
                    <a:tint val="75000"/>
                  </a:schemeClr>
                </a:solidFill>
              </a:defRPr>
            </a:lvl2pPr>
            <a:lvl3pPr marL="945947" indent="0" algn="ctr">
              <a:buNone/>
              <a:defRPr>
                <a:solidFill>
                  <a:schemeClr val="tx1">
                    <a:tint val="75000"/>
                  </a:schemeClr>
                </a:solidFill>
              </a:defRPr>
            </a:lvl3pPr>
            <a:lvl4pPr marL="1418921" indent="0" algn="ctr">
              <a:buNone/>
              <a:defRPr>
                <a:solidFill>
                  <a:schemeClr val="tx1">
                    <a:tint val="75000"/>
                  </a:schemeClr>
                </a:solidFill>
              </a:defRPr>
            </a:lvl4pPr>
            <a:lvl5pPr marL="1891895" indent="0" algn="ctr">
              <a:buNone/>
              <a:defRPr>
                <a:solidFill>
                  <a:schemeClr val="tx1">
                    <a:tint val="75000"/>
                  </a:schemeClr>
                </a:solidFill>
              </a:defRPr>
            </a:lvl5pPr>
            <a:lvl6pPr marL="2364869" indent="0" algn="ctr">
              <a:buNone/>
              <a:defRPr>
                <a:solidFill>
                  <a:schemeClr val="tx1">
                    <a:tint val="75000"/>
                  </a:schemeClr>
                </a:solidFill>
              </a:defRPr>
            </a:lvl6pPr>
            <a:lvl7pPr marL="2837842" indent="0" algn="ctr">
              <a:buNone/>
              <a:defRPr>
                <a:solidFill>
                  <a:schemeClr val="tx1">
                    <a:tint val="75000"/>
                  </a:schemeClr>
                </a:solidFill>
              </a:defRPr>
            </a:lvl7pPr>
            <a:lvl8pPr marL="3310816" indent="0" algn="ctr">
              <a:buNone/>
              <a:defRPr>
                <a:solidFill>
                  <a:schemeClr val="tx1">
                    <a:tint val="75000"/>
                  </a:schemeClr>
                </a:solidFill>
              </a:defRPr>
            </a:lvl8pPr>
            <a:lvl9pPr marL="3783790" indent="0" algn="ctr">
              <a:buNone/>
              <a:defRPr>
                <a:solidFill>
                  <a:schemeClr val="tx1">
                    <a:tint val="75000"/>
                  </a:schemeClr>
                </a:solidFill>
              </a:defRPr>
            </a:lvl9pPr>
          </a:lstStyle>
          <a:p>
            <a:r>
              <a:rPr lang="en-GB"/>
              <a:t>Chapter title</a:t>
            </a:r>
          </a:p>
        </p:txBody>
      </p:sp>
      <p:sp>
        <p:nvSpPr>
          <p:cNvPr id="21" name="Textplatzhalter 8"/>
          <p:cNvSpPr>
            <a:spLocks noGrp="1"/>
          </p:cNvSpPr>
          <p:nvPr>
            <p:ph type="body" sz="quarter" idx="10" hasCustomPrompt="1"/>
          </p:nvPr>
        </p:nvSpPr>
        <p:spPr>
          <a:xfrm>
            <a:off x="266069" y="3619918"/>
            <a:ext cx="5569293" cy="276486"/>
          </a:xfrm>
        </p:spPr>
        <p:txBody>
          <a:bodyPr/>
          <a:lstStyle>
            <a:lvl1pPr marL="0" indent="0" algn="ctr">
              <a:lnSpc>
                <a:spcPts val="2267"/>
              </a:lnSpc>
              <a:spcBef>
                <a:spcPts val="0"/>
              </a:spcBef>
              <a:buNone/>
              <a:defRPr sz="1632" cap="none" baseline="0">
                <a:solidFill>
                  <a:schemeClr val="bg1"/>
                </a:solidFill>
                <a:latin typeface="+mn-lt"/>
              </a:defRPr>
            </a:lvl1pPr>
            <a:lvl2pPr>
              <a:defRPr sz="1360" cap="all">
                <a:latin typeface="+mn-lt"/>
              </a:defRPr>
            </a:lvl2pPr>
            <a:lvl3pPr>
              <a:defRPr sz="1360" cap="all">
                <a:latin typeface="+mn-lt"/>
              </a:defRPr>
            </a:lvl3pPr>
            <a:lvl4pPr>
              <a:defRPr sz="1360" cap="all">
                <a:latin typeface="+mn-lt"/>
              </a:defRPr>
            </a:lvl4pPr>
            <a:lvl5pPr>
              <a:defRPr sz="1360" cap="all">
                <a:latin typeface="+mn-lt"/>
              </a:defRPr>
            </a:lvl5pPr>
          </a:lstStyle>
          <a:p>
            <a:pPr lvl="0"/>
            <a:r>
              <a:rPr lang="en-GB"/>
              <a:t>Introduction text</a:t>
            </a:r>
          </a:p>
        </p:txBody>
      </p:sp>
      <p:sp>
        <p:nvSpPr>
          <p:cNvPr id="3" name="Datumsplatzhalter 2"/>
          <p:cNvSpPr>
            <a:spLocks noGrp="1"/>
          </p:cNvSpPr>
          <p:nvPr>
            <p:ph type="dt" sz="half" idx="19"/>
          </p:nvPr>
        </p:nvSpPr>
        <p:spPr>
          <a:xfrm>
            <a:off x="747184" y="6597536"/>
            <a:ext cx="1057790" cy="139590"/>
          </a:xfrm>
        </p:spPr>
        <p:txBody>
          <a:bodyPr/>
          <a:lstStyle/>
          <a:p>
            <a:fld id="{2119A603-2981-4D4B-A1FD-212857D4D245}" type="datetime4">
              <a:rPr lang="en-GB" smtClean="0"/>
              <a:t>15 February 2024</a:t>
            </a:fld>
            <a:endParaRPr lang="en-GB"/>
          </a:p>
        </p:txBody>
      </p:sp>
      <p:cxnSp>
        <p:nvCxnSpPr>
          <p:cNvPr id="13" name="Gerade Verbindung 12"/>
          <p:cNvCxnSpPr/>
          <p:nvPr userDrawn="1"/>
        </p:nvCxnSpPr>
        <p:spPr>
          <a:xfrm>
            <a:off x="632870" y="6617659"/>
            <a:ext cx="0" cy="993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liennummernplatzhalter 3"/>
          <p:cNvSpPr txBox="1">
            <a:spLocks/>
          </p:cNvSpPr>
          <p:nvPr userDrawn="1"/>
        </p:nvSpPr>
        <p:spPr>
          <a:xfrm>
            <a:off x="331601" y="6597536"/>
            <a:ext cx="210955" cy="139590"/>
          </a:xfrm>
          <a:prstGeom prst="rect">
            <a:avLst/>
          </a:prstGeom>
        </p:spPr>
        <p:txBody>
          <a:bodyPr vert="horz" wrap="none" lIns="0" tIns="0" rIns="0" bIns="0" rtlCol="0" anchor="ctr" anchorCtr="0">
            <a:spAutoFit/>
          </a:bodyPr>
          <a:lstStyle>
            <a:defPPr>
              <a:defRPr lang="de-DE"/>
            </a:defPPr>
            <a:lvl1pPr marL="0" algn="l" defTabSz="1043056" rtl="0" eaLnBrk="1" latinLnBrk="0" hangingPunct="1">
              <a:defRPr lang="de-AT" sz="1000" b="0" kern="1200" spc="190" baseline="0" smtClean="0">
                <a:solidFill>
                  <a:schemeClr val="tx1"/>
                </a:solidFill>
                <a:latin typeface="CA Sans" pitchFamily="50" charset="0"/>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fld id="{30272582-AA89-4A5B-9BA7-B311A460C225}" type="slidenum">
              <a:rPr lang="en-GB" sz="907" smtClean="0"/>
              <a:pPr algn="r"/>
              <a:t>‹#›</a:t>
            </a:fld>
            <a:endParaRPr lang="en-GB" sz="907"/>
          </a:p>
        </p:txBody>
      </p:sp>
      <p:sp>
        <p:nvSpPr>
          <p:cNvPr id="2" name="Rechteck 1"/>
          <p:cNvSpPr/>
          <p:nvPr userDrawn="1"/>
        </p:nvSpPr>
        <p:spPr>
          <a:xfrm>
            <a:off x="6067269" y="0"/>
            <a:ext cx="57463" cy="68568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2"/>
          </a:p>
        </p:txBody>
      </p:sp>
    </p:spTree>
    <p:extLst>
      <p:ext uri="{BB962C8B-B14F-4D97-AF65-F5344CB8AC3E}">
        <p14:creationId xmlns:p14="http://schemas.microsoft.com/office/powerpoint/2010/main" val="3118974526"/>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w/ subheadlin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944010447"/>
              </p:ext>
            </p:extLst>
          </p:nvPr>
        </p:nvGraphicFramePr>
        <p:xfrm>
          <a:off x="1812" y="1443"/>
          <a:ext cx="1809" cy="143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kt 7" hidden="1"/>
                      <p:cNvPicPr/>
                      <p:nvPr/>
                    </p:nvPicPr>
                    <p:blipFill>
                      <a:blip r:embed="rId4"/>
                      <a:stretch>
                        <a:fillRect/>
                      </a:stretch>
                    </p:blipFill>
                    <p:spPr>
                      <a:xfrm>
                        <a:off x="1812" y="1443"/>
                        <a:ext cx="1809" cy="1439"/>
                      </a:xfrm>
                      <a:prstGeom prst="rect">
                        <a:avLst/>
                      </a:prstGeom>
                    </p:spPr>
                  </p:pic>
                </p:oleObj>
              </mc:Fallback>
            </mc:AlternateContent>
          </a:graphicData>
        </a:graphic>
      </p:graphicFrame>
      <p:sp>
        <p:nvSpPr>
          <p:cNvPr id="7" name="Rechteck 6"/>
          <p:cNvSpPr/>
          <p:nvPr userDrawn="1"/>
        </p:nvSpPr>
        <p:spPr>
          <a:xfrm>
            <a:off x="1" y="6470680"/>
            <a:ext cx="12192000" cy="387320"/>
          </a:xfrm>
          <a:prstGeom prst="rect">
            <a:avLst/>
          </a:prstGeom>
          <a:solidFill>
            <a:srgbClr val="D5D4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904"/>
          </a:p>
        </p:txBody>
      </p:sp>
      <p:sp>
        <p:nvSpPr>
          <p:cNvPr id="2" name="Titel 1"/>
          <p:cNvSpPr>
            <a:spLocks noGrp="1"/>
          </p:cNvSpPr>
          <p:nvPr>
            <p:ph type="title" hasCustomPrompt="1"/>
          </p:nvPr>
        </p:nvSpPr>
        <p:spPr>
          <a:xfrm>
            <a:off x="259912" y="143890"/>
            <a:ext cx="11666020" cy="418726"/>
          </a:xfrm>
        </p:spPr>
        <p:txBody>
          <a:bodyPr/>
          <a:lstStyle>
            <a:lvl1pPr>
              <a:lnSpc>
                <a:spcPts val="3265"/>
              </a:lnSpc>
              <a:defRPr/>
            </a:lvl1pPr>
          </a:lstStyle>
          <a:p>
            <a:r>
              <a:rPr lang="en-GB"/>
              <a:t>Page title</a:t>
            </a:r>
          </a:p>
        </p:txBody>
      </p:sp>
      <p:grpSp>
        <p:nvGrpSpPr>
          <p:cNvPr id="11" name="Gruppieren 10"/>
          <p:cNvGrpSpPr>
            <a:grpSpLocks noChangeAspect="1"/>
          </p:cNvGrpSpPr>
          <p:nvPr userDrawn="1"/>
        </p:nvGrpSpPr>
        <p:grpSpPr>
          <a:xfrm>
            <a:off x="11522251" y="6541937"/>
            <a:ext cx="401810" cy="244888"/>
            <a:chOff x="7680842" y="5709958"/>
            <a:chExt cx="884790" cy="677863"/>
          </a:xfrm>
          <a:solidFill>
            <a:schemeClr val="bg1"/>
          </a:solidFill>
        </p:grpSpPr>
        <p:sp>
          <p:nvSpPr>
            <p:cNvPr id="12" name="Freeform 17"/>
            <p:cNvSpPr>
              <a:spLocks noEditPoints="1"/>
            </p:cNvSpPr>
            <p:nvPr/>
          </p:nvSpPr>
          <p:spPr bwMode="auto">
            <a:xfrm>
              <a:off x="7680842" y="5709958"/>
              <a:ext cx="884790" cy="677863"/>
            </a:xfrm>
            <a:custGeom>
              <a:avLst/>
              <a:gdLst>
                <a:gd name="T0" fmla="*/ 2771 w 2976"/>
                <a:gd name="T1" fmla="*/ 570 h 2280"/>
                <a:gd name="T2" fmla="*/ 2686 w 2976"/>
                <a:gd name="T3" fmla="*/ 444 h 2280"/>
                <a:gd name="T4" fmla="*/ 2469 w 2976"/>
                <a:gd name="T5" fmla="*/ 363 h 2280"/>
                <a:gd name="T6" fmla="*/ 2333 w 2976"/>
                <a:gd name="T7" fmla="*/ 272 h 2280"/>
                <a:gd name="T8" fmla="*/ 2172 w 2976"/>
                <a:gd name="T9" fmla="*/ 119 h 2280"/>
                <a:gd name="T10" fmla="*/ 2025 w 2976"/>
                <a:gd name="T11" fmla="*/ 100 h 2280"/>
                <a:gd name="T12" fmla="*/ 1804 w 2976"/>
                <a:gd name="T13" fmla="*/ 118 h 2280"/>
                <a:gd name="T14" fmla="*/ 1591 w 2976"/>
                <a:gd name="T15" fmla="*/ 23 h 2280"/>
                <a:gd name="T16" fmla="*/ 1488 w 2976"/>
                <a:gd name="T17" fmla="*/ 0 h 2280"/>
                <a:gd name="T18" fmla="*/ 1305 w 2976"/>
                <a:gd name="T19" fmla="*/ 69 h 2280"/>
                <a:gd name="T20" fmla="*/ 1120 w 2976"/>
                <a:gd name="T21" fmla="*/ 121 h 2280"/>
                <a:gd name="T22" fmla="*/ 891 w 2976"/>
                <a:gd name="T23" fmla="*/ 98 h 2280"/>
                <a:gd name="T24" fmla="*/ 753 w 2976"/>
                <a:gd name="T25" fmla="*/ 152 h 2280"/>
                <a:gd name="T26" fmla="*/ 593 w 2976"/>
                <a:gd name="T27" fmla="*/ 318 h 2280"/>
                <a:gd name="T28" fmla="*/ 404 w 2976"/>
                <a:gd name="T29" fmla="*/ 396 h 2280"/>
                <a:gd name="T30" fmla="*/ 254 w 2976"/>
                <a:gd name="T31" fmla="*/ 473 h 2280"/>
                <a:gd name="T32" fmla="*/ 178 w 2976"/>
                <a:gd name="T33" fmla="*/ 719 h 2280"/>
                <a:gd name="T34" fmla="*/ 106 w 2976"/>
                <a:gd name="T35" fmla="*/ 907 h 2280"/>
                <a:gd name="T36" fmla="*/ 2 w 2976"/>
                <a:gd name="T37" fmla="*/ 1115 h 2280"/>
                <a:gd name="T38" fmla="*/ 34 w 2976"/>
                <a:gd name="T39" fmla="*/ 1265 h 2280"/>
                <a:gd name="T40" fmla="*/ 154 w 2976"/>
                <a:gd name="T41" fmla="*/ 1462 h 2280"/>
                <a:gd name="T42" fmla="*/ 219 w 2976"/>
                <a:gd name="T43" fmla="*/ 1750 h 2280"/>
                <a:gd name="T44" fmla="*/ 326 w 2976"/>
                <a:gd name="T45" fmla="*/ 1856 h 2280"/>
                <a:gd name="T46" fmla="*/ 550 w 2976"/>
                <a:gd name="T47" fmla="*/ 1935 h 2280"/>
                <a:gd name="T48" fmla="*/ 699 w 2976"/>
                <a:gd name="T49" fmla="*/ 2070 h 2280"/>
                <a:gd name="T50" fmla="*/ 823 w 2976"/>
                <a:gd name="T51" fmla="*/ 2169 h 2280"/>
                <a:gd name="T52" fmla="*/ 1031 w 2976"/>
                <a:gd name="T53" fmla="*/ 2167 h 2280"/>
                <a:gd name="T54" fmla="*/ 1224 w 2976"/>
                <a:gd name="T55" fmla="*/ 2175 h 2280"/>
                <a:gd name="T56" fmla="*/ 1421 w 2976"/>
                <a:gd name="T57" fmla="*/ 2270 h 2280"/>
                <a:gd name="T58" fmla="*/ 1555 w 2976"/>
                <a:gd name="T59" fmla="*/ 2270 h 2280"/>
                <a:gd name="T60" fmla="*/ 1752 w 2976"/>
                <a:gd name="T61" fmla="*/ 2175 h 2280"/>
                <a:gd name="T62" fmla="*/ 1945 w 2976"/>
                <a:gd name="T63" fmla="*/ 2167 h 2280"/>
                <a:gd name="T64" fmla="*/ 2153 w 2976"/>
                <a:gd name="T65" fmla="*/ 2169 h 2280"/>
                <a:gd name="T66" fmla="*/ 2277 w 2976"/>
                <a:gd name="T67" fmla="*/ 2070 h 2280"/>
                <a:gd name="T68" fmla="*/ 2424 w 2976"/>
                <a:gd name="T69" fmla="*/ 1935 h 2280"/>
                <a:gd name="T70" fmla="*/ 2649 w 2976"/>
                <a:gd name="T71" fmla="*/ 1856 h 2280"/>
                <a:gd name="T72" fmla="*/ 2757 w 2976"/>
                <a:gd name="T73" fmla="*/ 1750 h 2280"/>
                <a:gd name="T74" fmla="*/ 2820 w 2976"/>
                <a:gd name="T75" fmla="*/ 1462 h 2280"/>
                <a:gd name="T76" fmla="*/ 2942 w 2976"/>
                <a:gd name="T77" fmla="*/ 1264 h 2280"/>
                <a:gd name="T78" fmla="*/ 2974 w 2976"/>
                <a:gd name="T79" fmla="*/ 1115 h 2280"/>
                <a:gd name="T80" fmla="*/ 2868 w 2976"/>
                <a:gd name="T81" fmla="*/ 907 h 2280"/>
                <a:gd name="T82" fmla="*/ 1419 w 2976"/>
                <a:gd name="T83" fmla="*/ 2028 h 2280"/>
                <a:gd name="T84" fmla="*/ 923 w 2976"/>
                <a:gd name="T85" fmla="*/ 1943 h 2280"/>
                <a:gd name="T86" fmla="*/ 547 w 2976"/>
                <a:gd name="T87" fmla="*/ 1742 h 2280"/>
                <a:gd name="T88" fmla="*/ 314 w 2976"/>
                <a:gd name="T89" fmla="*/ 1449 h 2280"/>
                <a:gd name="T90" fmla="*/ 246 w 2976"/>
                <a:gd name="T91" fmla="*/ 1139 h 2280"/>
                <a:gd name="T92" fmla="*/ 334 w 2976"/>
                <a:gd name="T93" fmla="*/ 791 h 2280"/>
                <a:gd name="T94" fmla="*/ 588 w 2976"/>
                <a:gd name="T95" fmla="*/ 507 h 2280"/>
                <a:gd name="T96" fmla="*/ 979 w 2976"/>
                <a:gd name="T97" fmla="*/ 319 h 2280"/>
                <a:gd name="T98" fmla="*/ 1488 w 2976"/>
                <a:gd name="T99" fmla="*/ 250 h 2280"/>
                <a:gd name="T100" fmla="*/ 1940 w 2976"/>
                <a:gd name="T101" fmla="*/ 303 h 2280"/>
                <a:gd name="T102" fmla="*/ 2347 w 2976"/>
                <a:gd name="T103" fmla="*/ 480 h 2280"/>
                <a:gd name="T104" fmla="*/ 2619 w 2976"/>
                <a:gd name="T105" fmla="*/ 751 h 2280"/>
                <a:gd name="T106" fmla="*/ 2729 w 2976"/>
                <a:gd name="T107" fmla="*/ 1093 h 2280"/>
                <a:gd name="T108" fmla="*/ 2680 w 2976"/>
                <a:gd name="T109" fmla="*/ 1408 h 2280"/>
                <a:gd name="T110" fmla="*/ 2465 w 2976"/>
                <a:gd name="T111" fmla="*/ 1709 h 2280"/>
                <a:gd name="T112" fmla="*/ 2107 w 2976"/>
                <a:gd name="T113" fmla="*/ 1923 h 2280"/>
                <a:gd name="T114" fmla="*/ 1624 w 2976"/>
                <a:gd name="T115" fmla="*/ 2025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76" h="2280">
                  <a:moveTo>
                    <a:pt x="2820" y="818"/>
                  </a:moveTo>
                  <a:lnTo>
                    <a:pt x="2820" y="818"/>
                  </a:lnTo>
                  <a:lnTo>
                    <a:pt x="2812" y="792"/>
                  </a:lnTo>
                  <a:lnTo>
                    <a:pt x="2806" y="768"/>
                  </a:lnTo>
                  <a:lnTo>
                    <a:pt x="2798" y="719"/>
                  </a:lnTo>
                  <a:lnTo>
                    <a:pt x="2784" y="630"/>
                  </a:lnTo>
                  <a:lnTo>
                    <a:pt x="2776" y="589"/>
                  </a:lnTo>
                  <a:lnTo>
                    <a:pt x="2771" y="570"/>
                  </a:lnTo>
                  <a:lnTo>
                    <a:pt x="2765" y="550"/>
                  </a:lnTo>
                  <a:lnTo>
                    <a:pt x="2757" y="530"/>
                  </a:lnTo>
                  <a:lnTo>
                    <a:pt x="2747" y="511"/>
                  </a:lnTo>
                  <a:lnTo>
                    <a:pt x="2735" y="493"/>
                  </a:lnTo>
                  <a:lnTo>
                    <a:pt x="2722" y="473"/>
                  </a:lnTo>
                  <a:lnTo>
                    <a:pt x="2722" y="473"/>
                  </a:lnTo>
                  <a:lnTo>
                    <a:pt x="2704" y="458"/>
                  </a:lnTo>
                  <a:lnTo>
                    <a:pt x="2686" y="444"/>
                  </a:lnTo>
                  <a:lnTo>
                    <a:pt x="2668" y="434"/>
                  </a:lnTo>
                  <a:lnTo>
                    <a:pt x="2649" y="424"/>
                  </a:lnTo>
                  <a:lnTo>
                    <a:pt x="2631" y="416"/>
                  </a:lnTo>
                  <a:lnTo>
                    <a:pt x="2611" y="408"/>
                  </a:lnTo>
                  <a:lnTo>
                    <a:pt x="2572" y="396"/>
                  </a:lnTo>
                  <a:lnTo>
                    <a:pt x="2531" y="385"/>
                  </a:lnTo>
                  <a:lnTo>
                    <a:pt x="2490" y="372"/>
                  </a:lnTo>
                  <a:lnTo>
                    <a:pt x="2469" y="363"/>
                  </a:lnTo>
                  <a:lnTo>
                    <a:pt x="2447" y="355"/>
                  </a:lnTo>
                  <a:lnTo>
                    <a:pt x="2424" y="345"/>
                  </a:lnTo>
                  <a:lnTo>
                    <a:pt x="2403" y="332"/>
                  </a:lnTo>
                  <a:lnTo>
                    <a:pt x="2403" y="332"/>
                  </a:lnTo>
                  <a:lnTo>
                    <a:pt x="2383" y="318"/>
                  </a:lnTo>
                  <a:lnTo>
                    <a:pt x="2364" y="303"/>
                  </a:lnTo>
                  <a:lnTo>
                    <a:pt x="2347" y="286"/>
                  </a:lnTo>
                  <a:lnTo>
                    <a:pt x="2333" y="272"/>
                  </a:lnTo>
                  <a:lnTo>
                    <a:pt x="2303" y="239"/>
                  </a:lnTo>
                  <a:lnTo>
                    <a:pt x="2277" y="208"/>
                  </a:lnTo>
                  <a:lnTo>
                    <a:pt x="2251" y="178"/>
                  </a:lnTo>
                  <a:lnTo>
                    <a:pt x="2238" y="165"/>
                  </a:lnTo>
                  <a:lnTo>
                    <a:pt x="2223" y="152"/>
                  </a:lnTo>
                  <a:lnTo>
                    <a:pt x="2207" y="139"/>
                  </a:lnTo>
                  <a:lnTo>
                    <a:pt x="2190" y="129"/>
                  </a:lnTo>
                  <a:lnTo>
                    <a:pt x="2172" y="119"/>
                  </a:lnTo>
                  <a:lnTo>
                    <a:pt x="2153" y="110"/>
                  </a:lnTo>
                  <a:lnTo>
                    <a:pt x="2153" y="110"/>
                  </a:lnTo>
                  <a:lnTo>
                    <a:pt x="2130" y="105"/>
                  </a:lnTo>
                  <a:lnTo>
                    <a:pt x="2107" y="100"/>
                  </a:lnTo>
                  <a:lnTo>
                    <a:pt x="2085" y="98"/>
                  </a:lnTo>
                  <a:lnTo>
                    <a:pt x="2064" y="98"/>
                  </a:lnTo>
                  <a:lnTo>
                    <a:pt x="2045" y="98"/>
                  </a:lnTo>
                  <a:lnTo>
                    <a:pt x="2025" y="100"/>
                  </a:lnTo>
                  <a:lnTo>
                    <a:pt x="1984" y="106"/>
                  </a:lnTo>
                  <a:lnTo>
                    <a:pt x="1945" y="113"/>
                  </a:lnTo>
                  <a:lnTo>
                    <a:pt x="1901" y="119"/>
                  </a:lnTo>
                  <a:lnTo>
                    <a:pt x="1879" y="121"/>
                  </a:lnTo>
                  <a:lnTo>
                    <a:pt x="1855" y="121"/>
                  </a:lnTo>
                  <a:lnTo>
                    <a:pt x="1830" y="119"/>
                  </a:lnTo>
                  <a:lnTo>
                    <a:pt x="1804" y="118"/>
                  </a:lnTo>
                  <a:lnTo>
                    <a:pt x="1804" y="118"/>
                  </a:lnTo>
                  <a:lnTo>
                    <a:pt x="1776" y="111"/>
                  </a:lnTo>
                  <a:lnTo>
                    <a:pt x="1752" y="105"/>
                  </a:lnTo>
                  <a:lnTo>
                    <a:pt x="1729" y="97"/>
                  </a:lnTo>
                  <a:lnTo>
                    <a:pt x="1707" y="87"/>
                  </a:lnTo>
                  <a:lnTo>
                    <a:pt x="1671" y="69"/>
                  </a:lnTo>
                  <a:lnTo>
                    <a:pt x="1639" y="49"/>
                  </a:lnTo>
                  <a:lnTo>
                    <a:pt x="1607" y="31"/>
                  </a:lnTo>
                  <a:lnTo>
                    <a:pt x="1591" y="23"/>
                  </a:lnTo>
                  <a:lnTo>
                    <a:pt x="1573" y="16"/>
                  </a:lnTo>
                  <a:lnTo>
                    <a:pt x="1555" y="10"/>
                  </a:lnTo>
                  <a:lnTo>
                    <a:pt x="1534" y="5"/>
                  </a:lnTo>
                  <a:lnTo>
                    <a:pt x="1513" y="2"/>
                  </a:lnTo>
                  <a:lnTo>
                    <a:pt x="1488" y="0"/>
                  </a:lnTo>
                  <a:lnTo>
                    <a:pt x="1488" y="0"/>
                  </a:lnTo>
                  <a:lnTo>
                    <a:pt x="1488" y="0"/>
                  </a:lnTo>
                  <a:lnTo>
                    <a:pt x="1488" y="0"/>
                  </a:lnTo>
                  <a:lnTo>
                    <a:pt x="1463" y="2"/>
                  </a:lnTo>
                  <a:lnTo>
                    <a:pt x="1441" y="5"/>
                  </a:lnTo>
                  <a:lnTo>
                    <a:pt x="1421" y="10"/>
                  </a:lnTo>
                  <a:lnTo>
                    <a:pt x="1403" y="16"/>
                  </a:lnTo>
                  <a:lnTo>
                    <a:pt x="1385" y="23"/>
                  </a:lnTo>
                  <a:lnTo>
                    <a:pt x="1369" y="31"/>
                  </a:lnTo>
                  <a:lnTo>
                    <a:pt x="1337" y="49"/>
                  </a:lnTo>
                  <a:lnTo>
                    <a:pt x="1305" y="69"/>
                  </a:lnTo>
                  <a:lnTo>
                    <a:pt x="1269" y="87"/>
                  </a:lnTo>
                  <a:lnTo>
                    <a:pt x="1247" y="97"/>
                  </a:lnTo>
                  <a:lnTo>
                    <a:pt x="1224" y="105"/>
                  </a:lnTo>
                  <a:lnTo>
                    <a:pt x="1200" y="111"/>
                  </a:lnTo>
                  <a:lnTo>
                    <a:pt x="1172" y="118"/>
                  </a:lnTo>
                  <a:lnTo>
                    <a:pt x="1172" y="118"/>
                  </a:lnTo>
                  <a:lnTo>
                    <a:pt x="1146" y="119"/>
                  </a:lnTo>
                  <a:lnTo>
                    <a:pt x="1120" y="121"/>
                  </a:lnTo>
                  <a:lnTo>
                    <a:pt x="1097" y="121"/>
                  </a:lnTo>
                  <a:lnTo>
                    <a:pt x="1074" y="119"/>
                  </a:lnTo>
                  <a:lnTo>
                    <a:pt x="1031" y="113"/>
                  </a:lnTo>
                  <a:lnTo>
                    <a:pt x="990" y="106"/>
                  </a:lnTo>
                  <a:lnTo>
                    <a:pt x="951" y="100"/>
                  </a:lnTo>
                  <a:lnTo>
                    <a:pt x="931" y="98"/>
                  </a:lnTo>
                  <a:lnTo>
                    <a:pt x="910" y="98"/>
                  </a:lnTo>
                  <a:lnTo>
                    <a:pt x="891" y="98"/>
                  </a:lnTo>
                  <a:lnTo>
                    <a:pt x="869" y="100"/>
                  </a:lnTo>
                  <a:lnTo>
                    <a:pt x="846" y="105"/>
                  </a:lnTo>
                  <a:lnTo>
                    <a:pt x="823" y="110"/>
                  </a:lnTo>
                  <a:lnTo>
                    <a:pt x="823" y="110"/>
                  </a:lnTo>
                  <a:lnTo>
                    <a:pt x="804" y="119"/>
                  </a:lnTo>
                  <a:lnTo>
                    <a:pt x="786" y="129"/>
                  </a:lnTo>
                  <a:lnTo>
                    <a:pt x="768" y="139"/>
                  </a:lnTo>
                  <a:lnTo>
                    <a:pt x="753" y="152"/>
                  </a:lnTo>
                  <a:lnTo>
                    <a:pt x="738" y="165"/>
                  </a:lnTo>
                  <a:lnTo>
                    <a:pt x="725" y="178"/>
                  </a:lnTo>
                  <a:lnTo>
                    <a:pt x="699" y="208"/>
                  </a:lnTo>
                  <a:lnTo>
                    <a:pt x="671" y="239"/>
                  </a:lnTo>
                  <a:lnTo>
                    <a:pt x="643" y="272"/>
                  </a:lnTo>
                  <a:lnTo>
                    <a:pt x="629" y="286"/>
                  </a:lnTo>
                  <a:lnTo>
                    <a:pt x="611" y="303"/>
                  </a:lnTo>
                  <a:lnTo>
                    <a:pt x="593" y="318"/>
                  </a:lnTo>
                  <a:lnTo>
                    <a:pt x="573" y="332"/>
                  </a:lnTo>
                  <a:lnTo>
                    <a:pt x="573" y="332"/>
                  </a:lnTo>
                  <a:lnTo>
                    <a:pt x="550" y="345"/>
                  </a:lnTo>
                  <a:lnTo>
                    <a:pt x="529" y="355"/>
                  </a:lnTo>
                  <a:lnTo>
                    <a:pt x="507" y="363"/>
                  </a:lnTo>
                  <a:lnTo>
                    <a:pt x="486" y="372"/>
                  </a:lnTo>
                  <a:lnTo>
                    <a:pt x="445" y="385"/>
                  </a:lnTo>
                  <a:lnTo>
                    <a:pt x="404" y="396"/>
                  </a:lnTo>
                  <a:lnTo>
                    <a:pt x="365" y="408"/>
                  </a:lnTo>
                  <a:lnTo>
                    <a:pt x="345" y="416"/>
                  </a:lnTo>
                  <a:lnTo>
                    <a:pt x="326" y="424"/>
                  </a:lnTo>
                  <a:lnTo>
                    <a:pt x="308" y="434"/>
                  </a:lnTo>
                  <a:lnTo>
                    <a:pt x="290" y="444"/>
                  </a:lnTo>
                  <a:lnTo>
                    <a:pt x="272" y="458"/>
                  </a:lnTo>
                  <a:lnTo>
                    <a:pt x="254" y="473"/>
                  </a:lnTo>
                  <a:lnTo>
                    <a:pt x="254" y="473"/>
                  </a:lnTo>
                  <a:lnTo>
                    <a:pt x="241" y="493"/>
                  </a:lnTo>
                  <a:lnTo>
                    <a:pt x="228" y="511"/>
                  </a:lnTo>
                  <a:lnTo>
                    <a:pt x="219" y="530"/>
                  </a:lnTo>
                  <a:lnTo>
                    <a:pt x="211" y="550"/>
                  </a:lnTo>
                  <a:lnTo>
                    <a:pt x="205" y="570"/>
                  </a:lnTo>
                  <a:lnTo>
                    <a:pt x="200" y="589"/>
                  </a:lnTo>
                  <a:lnTo>
                    <a:pt x="192" y="630"/>
                  </a:lnTo>
                  <a:lnTo>
                    <a:pt x="178" y="719"/>
                  </a:lnTo>
                  <a:lnTo>
                    <a:pt x="169" y="768"/>
                  </a:lnTo>
                  <a:lnTo>
                    <a:pt x="162" y="792"/>
                  </a:lnTo>
                  <a:lnTo>
                    <a:pt x="154" y="818"/>
                  </a:lnTo>
                  <a:lnTo>
                    <a:pt x="154" y="818"/>
                  </a:lnTo>
                  <a:lnTo>
                    <a:pt x="144" y="843"/>
                  </a:lnTo>
                  <a:lnTo>
                    <a:pt x="133" y="866"/>
                  </a:lnTo>
                  <a:lnTo>
                    <a:pt x="119" y="887"/>
                  </a:lnTo>
                  <a:lnTo>
                    <a:pt x="106" y="907"/>
                  </a:lnTo>
                  <a:lnTo>
                    <a:pt x="82" y="944"/>
                  </a:lnTo>
                  <a:lnTo>
                    <a:pt x="57" y="979"/>
                  </a:lnTo>
                  <a:lnTo>
                    <a:pt x="34" y="1013"/>
                  </a:lnTo>
                  <a:lnTo>
                    <a:pt x="25" y="1031"/>
                  </a:lnTo>
                  <a:lnTo>
                    <a:pt x="16" y="1051"/>
                  </a:lnTo>
                  <a:lnTo>
                    <a:pt x="10" y="1070"/>
                  </a:lnTo>
                  <a:lnTo>
                    <a:pt x="5" y="1092"/>
                  </a:lnTo>
                  <a:lnTo>
                    <a:pt x="2" y="1115"/>
                  </a:lnTo>
                  <a:lnTo>
                    <a:pt x="0" y="1139"/>
                  </a:lnTo>
                  <a:lnTo>
                    <a:pt x="0" y="1139"/>
                  </a:lnTo>
                  <a:lnTo>
                    <a:pt x="2" y="1164"/>
                  </a:lnTo>
                  <a:lnTo>
                    <a:pt x="5" y="1187"/>
                  </a:lnTo>
                  <a:lnTo>
                    <a:pt x="10" y="1208"/>
                  </a:lnTo>
                  <a:lnTo>
                    <a:pt x="16" y="1228"/>
                  </a:lnTo>
                  <a:lnTo>
                    <a:pt x="25" y="1247"/>
                  </a:lnTo>
                  <a:lnTo>
                    <a:pt x="34" y="1265"/>
                  </a:lnTo>
                  <a:lnTo>
                    <a:pt x="57" y="1300"/>
                  </a:lnTo>
                  <a:lnTo>
                    <a:pt x="82" y="1336"/>
                  </a:lnTo>
                  <a:lnTo>
                    <a:pt x="106" y="1373"/>
                  </a:lnTo>
                  <a:lnTo>
                    <a:pt x="119" y="1393"/>
                  </a:lnTo>
                  <a:lnTo>
                    <a:pt x="133" y="1414"/>
                  </a:lnTo>
                  <a:lnTo>
                    <a:pt x="144" y="1437"/>
                  </a:lnTo>
                  <a:lnTo>
                    <a:pt x="154" y="1462"/>
                  </a:lnTo>
                  <a:lnTo>
                    <a:pt x="154" y="1462"/>
                  </a:lnTo>
                  <a:lnTo>
                    <a:pt x="162" y="1488"/>
                  </a:lnTo>
                  <a:lnTo>
                    <a:pt x="169" y="1512"/>
                  </a:lnTo>
                  <a:lnTo>
                    <a:pt x="178" y="1560"/>
                  </a:lnTo>
                  <a:lnTo>
                    <a:pt x="192" y="1648"/>
                  </a:lnTo>
                  <a:lnTo>
                    <a:pt x="200" y="1689"/>
                  </a:lnTo>
                  <a:lnTo>
                    <a:pt x="205" y="1710"/>
                  </a:lnTo>
                  <a:lnTo>
                    <a:pt x="211" y="1730"/>
                  </a:lnTo>
                  <a:lnTo>
                    <a:pt x="219" y="1750"/>
                  </a:lnTo>
                  <a:lnTo>
                    <a:pt x="228" y="1768"/>
                  </a:lnTo>
                  <a:lnTo>
                    <a:pt x="241" y="1787"/>
                  </a:lnTo>
                  <a:lnTo>
                    <a:pt x="254" y="1807"/>
                  </a:lnTo>
                  <a:lnTo>
                    <a:pt x="254" y="1807"/>
                  </a:lnTo>
                  <a:lnTo>
                    <a:pt x="272" y="1822"/>
                  </a:lnTo>
                  <a:lnTo>
                    <a:pt x="290" y="1835"/>
                  </a:lnTo>
                  <a:lnTo>
                    <a:pt x="308" y="1846"/>
                  </a:lnTo>
                  <a:lnTo>
                    <a:pt x="326" y="1856"/>
                  </a:lnTo>
                  <a:lnTo>
                    <a:pt x="345" y="1864"/>
                  </a:lnTo>
                  <a:lnTo>
                    <a:pt x="365" y="1871"/>
                  </a:lnTo>
                  <a:lnTo>
                    <a:pt x="404" y="1884"/>
                  </a:lnTo>
                  <a:lnTo>
                    <a:pt x="445" y="1895"/>
                  </a:lnTo>
                  <a:lnTo>
                    <a:pt x="486" y="1908"/>
                  </a:lnTo>
                  <a:lnTo>
                    <a:pt x="507" y="1915"/>
                  </a:lnTo>
                  <a:lnTo>
                    <a:pt x="529" y="1925"/>
                  </a:lnTo>
                  <a:lnTo>
                    <a:pt x="550" y="1935"/>
                  </a:lnTo>
                  <a:lnTo>
                    <a:pt x="573" y="1946"/>
                  </a:lnTo>
                  <a:lnTo>
                    <a:pt x="573" y="1946"/>
                  </a:lnTo>
                  <a:lnTo>
                    <a:pt x="593" y="1962"/>
                  </a:lnTo>
                  <a:lnTo>
                    <a:pt x="611" y="1977"/>
                  </a:lnTo>
                  <a:lnTo>
                    <a:pt x="629" y="1992"/>
                  </a:lnTo>
                  <a:lnTo>
                    <a:pt x="643" y="2008"/>
                  </a:lnTo>
                  <a:lnTo>
                    <a:pt x="671" y="2039"/>
                  </a:lnTo>
                  <a:lnTo>
                    <a:pt x="699" y="2070"/>
                  </a:lnTo>
                  <a:lnTo>
                    <a:pt x="725" y="2100"/>
                  </a:lnTo>
                  <a:lnTo>
                    <a:pt x="738" y="2115"/>
                  </a:lnTo>
                  <a:lnTo>
                    <a:pt x="753" y="2128"/>
                  </a:lnTo>
                  <a:lnTo>
                    <a:pt x="768" y="2139"/>
                  </a:lnTo>
                  <a:lnTo>
                    <a:pt x="786" y="2151"/>
                  </a:lnTo>
                  <a:lnTo>
                    <a:pt x="804" y="2161"/>
                  </a:lnTo>
                  <a:lnTo>
                    <a:pt x="823" y="2169"/>
                  </a:lnTo>
                  <a:lnTo>
                    <a:pt x="823" y="2169"/>
                  </a:lnTo>
                  <a:lnTo>
                    <a:pt x="846" y="2175"/>
                  </a:lnTo>
                  <a:lnTo>
                    <a:pt x="869" y="2179"/>
                  </a:lnTo>
                  <a:lnTo>
                    <a:pt x="891" y="2182"/>
                  </a:lnTo>
                  <a:lnTo>
                    <a:pt x="910" y="2182"/>
                  </a:lnTo>
                  <a:lnTo>
                    <a:pt x="931" y="2180"/>
                  </a:lnTo>
                  <a:lnTo>
                    <a:pt x="951" y="2179"/>
                  </a:lnTo>
                  <a:lnTo>
                    <a:pt x="990" y="2174"/>
                  </a:lnTo>
                  <a:lnTo>
                    <a:pt x="1031" y="2167"/>
                  </a:lnTo>
                  <a:lnTo>
                    <a:pt x="1074" y="2161"/>
                  </a:lnTo>
                  <a:lnTo>
                    <a:pt x="1097" y="2159"/>
                  </a:lnTo>
                  <a:lnTo>
                    <a:pt x="1120" y="2159"/>
                  </a:lnTo>
                  <a:lnTo>
                    <a:pt x="1146" y="2159"/>
                  </a:lnTo>
                  <a:lnTo>
                    <a:pt x="1172" y="2162"/>
                  </a:lnTo>
                  <a:lnTo>
                    <a:pt x="1172" y="2162"/>
                  </a:lnTo>
                  <a:lnTo>
                    <a:pt x="1200" y="2169"/>
                  </a:lnTo>
                  <a:lnTo>
                    <a:pt x="1224" y="2175"/>
                  </a:lnTo>
                  <a:lnTo>
                    <a:pt x="1247" y="2183"/>
                  </a:lnTo>
                  <a:lnTo>
                    <a:pt x="1269" y="2193"/>
                  </a:lnTo>
                  <a:lnTo>
                    <a:pt x="1305" y="2211"/>
                  </a:lnTo>
                  <a:lnTo>
                    <a:pt x="1337" y="2231"/>
                  </a:lnTo>
                  <a:lnTo>
                    <a:pt x="1369" y="2249"/>
                  </a:lnTo>
                  <a:lnTo>
                    <a:pt x="1385" y="2257"/>
                  </a:lnTo>
                  <a:lnTo>
                    <a:pt x="1403" y="2264"/>
                  </a:lnTo>
                  <a:lnTo>
                    <a:pt x="1421" y="2270"/>
                  </a:lnTo>
                  <a:lnTo>
                    <a:pt x="1441" y="2275"/>
                  </a:lnTo>
                  <a:lnTo>
                    <a:pt x="1463" y="2278"/>
                  </a:lnTo>
                  <a:lnTo>
                    <a:pt x="1488" y="2280"/>
                  </a:lnTo>
                  <a:lnTo>
                    <a:pt x="1488" y="2280"/>
                  </a:lnTo>
                  <a:lnTo>
                    <a:pt x="1488" y="2280"/>
                  </a:lnTo>
                  <a:lnTo>
                    <a:pt x="1513" y="2278"/>
                  </a:lnTo>
                  <a:lnTo>
                    <a:pt x="1534" y="2275"/>
                  </a:lnTo>
                  <a:lnTo>
                    <a:pt x="1555" y="2270"/>
                  </a:lnTo>
                  <a:lnTo>
                    <a:pt x="1573" y="2264"/>
                  </a:lnTo>
                  <a:lnTo>
                    <a:pt x="1591" y="2257"/>
                  </a:lnTo>
                  <a:lnTo>
                    <a:pt x="1607" y="2249"/>
                  </a:lnTo>
                  <a:lnTo>
                    <a:pt x="1639" y="2231"/>
                  </a:lnTo>
                  <a:lnTo>
                    <a:pt x="1671" y="2211"/>
                  </a:lnTo>
                  <a:lnTo>
                    <a:pt x="1707" y="2193"/>
                  </a:lnTo>
                  <a:lnTo>
                    <a:pt x="1729" y="2183"/>
                  </a:lnTo>
                  <a:lnTo>
                    <a:pt x="1752" y="2175"/>
                  </a:lnTo>
                  <a:lnTo>
                    <a:pt x="1776" y="2169"/>
                  </a:lnTo>
                  <a:lnTo>
                    <a:pt x="1804" y="2162"/>
                  </a:lnTo>
                  <a:lnTo>
                    <a:pt x="1804" y="2162"/>
                  </a:lnTo>
                  <a:lnTo>
                    <a:pt x="1830" y="2159"/>
                  </a:lnTo>
                  <a:lnTo>
                    <a:pt x="1855" y="2159"/>
                  </a:lnTo>
                  <a:lnTo>
                    <a:pt x="1879" y="2159"/>
                  </a:lnTo>
                  <a:lnTo>
                    <a:pt x="1901" y="2161"/>
                  </a:lnTo>
                  <a:lnTo>
                    <a:pt x="1945" y="2167"/>
                  </a:lnTo>
                  <a:lnTo>
                    <a:pt x="1984" y="2174"/>
                  </a:lnTo>
                  <a:lnTo>
                    <a:pt x="2025" y="2179"/>
                  </a:lnTo>
                  <a:lnTo>
                    <a:pt x="2045" y="2180"/>
                  </a:lnTo>
                  <a:lnTo>
                    <a:pt x="2064" y="2182"/>
                  </a:lnTo>
                  <a:lnTo>
                    <a:pt x="2085" y="2182"/>
                  </a:lnTo>
                  <a:lnTo>
                    <a:pt x="2107" y="2179"/>
                  </a:lnTo>
                  <a:lnTo>
                    <a:pt x="2130" y="2175"/>
                  </a:lnTo>
                  <a:lnTo>
                    <a:pt x="2153" y="2169"/>
                  </a:lnTo>
                  <a:lnTo>
                    <a:pt x="2153" y="2169"/>
                  </a:lnTo>
                  <a:lnTo>
                    <a:pt x="2172" y="2161"/>
                  </a:lnTo>
                  <a:lnTo>
                    <a:pt x="2190" y="2151"/>
                  </a:lnTo>
                  <a:lnTo>
                    <a:pt x="2207" y="2139"/>
                  </a:lnTo>
                  <a:lnTo>
                    <a:pt x="2223" y="2128"/>
                  </a:lnTo>
                  <a:lnTo>
                    <a:pt x="2238" y="2115"/>
                  </a:lnTo>
                  <a:lnTo>
                    <a:pt x="2251" y="2100"/>
                  </a:lnTo>
                  <a:lnTo>
                    <a:pt x="2277" y="2070"/>
                  </a:lnTo>
                  <a:lnTo>
                    <a:pt x="2303" y="2039"/>
                  </a:lnTo>
                  <a:lnTo>
                    <a:pt x="2333" y="2008"/>
                  </a:lnTo>
                  <a:lnTo>
                    <a:pt x="2347" y="1992"/>
                  </a:lnTo>
                  <a:lnTo>
                    <a:pt x="2364" y="1977"/>
                  </a:lnTo>
                  <a:lnTo>
                    <a:pt x="2383" y="1962"/>
                  </a:lnTo>
                  <a:lnTo>
                    <a:pt x="2403" y="1946"/>
                  </a:lnTo>
                  <a:lnTo>
                    <a:pt x="2403" y="1946"/>
                  </a:lnTo>
                  <a:lnTo>
                    <a:pt x="2424" y="1935"/>
                  </a:lnTo>
                  <a:lnTo>
                    <a:pt x="2447" y="1925"/>
                  </a:lnTo>
                  <a:lnTo>
                    <a:pt x="2469" y="1915"/>
                  </a:lnTo>
                  <a:lnTo>
                    <a:pt x="2490" y="1908"/>
                  </a:lnTo>
                  <a:lnTo>
                    <a:pt x="2531" y="1895"/>
                  </a:lnTo>
                  <a:lnTo>
                    <a:pt x="2572" y="1884"/>
                  </a:lnTo>
                  <a:lnTo>
                    <a:pt x="2611" y="1871"/>
                  </a:lnTo>
                  <a:lnTo>
                    <a:pt x="2631" y="1864"/>
                  </a:lnTo>
                  <a:lnTo>
                    <a:pt x="2649" y="1856"/>
                  </a:lnTo>
                  <a:lnTo>
                    <a:pt x="2668" y="1846"/>
                  </a:lnTo>
                  <a:lnTo>
                    <a:pt x="2686" y="1835"/>
                  </a:lnTo>
                  <a:lnTo>
                    <a:pt x="2704" y="1822"/>
                  </a:lnTo>
                  <a:lnTo>
                    <a:pt x="2722" y="1807"/>
                  </a:lnTo>
                  <a:lnTo>
                    <a:pt x="2722" y="1807"/>
                  </a:lnTo>
                  <a:lnTo>
                    <a:pt x="2735" y="1787"/>
                  </a:lnTo>
                  <a:lnTo>
                    <a:pt x="2747" y="1768"/>
                  </a:lnTo>
                  <a:lnTo>
                    <a:pt x="2757" y="1750"/>
                  </a:lnTo>
                  <a:lnTo>
                    <a:pt x="2765" y="1730"/>
                  </a:lnTo>
                  <a:lnTo>
                    <a:pt x="2771" y="1710"/>
                  </a:lnTo>
                  <a:lnTo>
                    <a:pt x="2776" y="1689"/>
                  </a:lnTo>
                  <a:lnTo>
                    <a:pt x="2784" y="1648"/>
                  </a:lnTo>
                  <a:lnTo>
                    <a:pt x="2798" y="1560"/>
                  </a:lnTo>
                  <a:lnTo>
                    <a:pt x="2806" y="1512"/>
                  </a:lnTo>
                  <a:lnTo>
                    <a:pt x="2812" y="1488"/>
                  </a:lnTo>
                  <a:lnTo>
                    <a:pt x="2820" y="1462"/>
                  </a:lnTo>
                  <a:lnTo>
                    <a:pt x="2820" y="1462"/>
                  </a:lnTo>
                  <a:lnTo>
                    <a:pt x="2832" y="1437"/>
                  </a:lnTo>
                  <a:lnTo>
                    <a:pt x="2843" y="1414"/>
                  </a:lnTo>
                  <a:lnTo>
                    <a:pt x="2857" y="1393"/>
                  </a:lnTo>
                  <a:lnTo>
                    <a:pt x="2868" y="1372"/>
                  </a:lnTo>
                  <a:lnTo>
                    <a:pt x="2894" y="1336"/>
                  </a:lnTo>
                  <a:lnTo>
                    <a:pt x="2919" y="1300"/>
                  </a:lnTo>
                  <a:lnTo>
                    <a:pt x="2942" y="1264"/>
                  </a:lnTo>
                  <a:lnTo>
                    <a:pt x="2951" y="1246"/>
                  </a:lnTo>
                  <a:lnTo>
                    <a:pt x="2960" y="1228"/>
                  </a:lnTo>
                  <a:lnTo>
                    <a:pt x="2966" y="1208"/>
                  </a:lnTo>
                  <a:lnTo>
                    <a:pt x="2971" y="1187"/>
                  </a:lnTo>
                  <a:lnTo>
                    <a:pt x="2974" y="1164"/>
                  </a:lnTo>
                  <a:lnTo>
                    <a:pt x="2976" y="1139"/>
                  </a:lnTo>
                  <a:lnTo>
                    <a:pt x="2976" y="1139"/>
                  </a:lnTo>
                  <a:lnTo>
                    <a:pt x="2974" y="1115"/>
                  </a:lnTo>
                  <a:lnTo>
                    <a:pt x="2971" y="1092"/>
                  </a:lnTo>
                  <a:lnTo>
                    <a:pt x="2966" y="1070"/>
                  </a:lnTo>
                  <a:lnTo>
                    <a:pt x="2960" y="1051"/>
                  </a:lnTo>
                  <a:lnTo>
                    <a:pt x="2951" y="1031"/>
                  </a:lnTo>
                  <a:lnTo>
                    <a:pt x="2942" y="1013"/>
                  </a:lnTo>
                  <a:lnTo>
                    <a:pt x="2919" y="979"/>
                  </a:lnTo>
                  <a:lnTo>
                    <a:pt x="2894" y="943"/>
                  </a:lnTo>
                  <a:lnTo>
                    <a:pt x="2868" y="907"/>
                  </a:lnTo>
                  <a:lnTo>
                    <a:pt x="2857" y="887"/>
                  </a:lnTo>
                  <a:lnTo>
                    <a:pt x="2843" y="866"/>
                  </a:lnTo>
                  <a:lnTo>
                    <a:pt x="2832" y="843"/>
                  </a:lnTo>
                  <a:lnTo>
                    <a:pt x="2820" y="818"/>
                  </a:lnTo>
                  <a:lnTo>
                    <a:pt x="2820" y="818"/>
                  </a:lnTo>
                  <a:close/>
                  <a:moveTo>
                    <a:pt x="1488" y="2030"/>
                  </a:moveTo>
                  <a:lnTo>
                    <a:pt x="1488" y="2030"/>
                  </a:lnTo>
                  <a:lnTo>
                    <a:pt x="1419" y="2028"/>
                  </a:lnTo>
                  <a:lnTo>
                    <a:pt x="1350" y="2025"/>
                  </a:lnTo>
                  <a:lnTo>
                    <a:pt x="1285" y="2018"/>
                  </a:lnTo>
                  <a:lnTo>
                    <a:pt x="1221" y="2012"/>
                  </a:lnTo>
                  <a:lnTo>
                    <a:pt x="1157" y="2002"/>
                  </a:lnTo>
                  <a:lnTo>
                    <a:pt x="1097" y="1990"/>
                  </a:lnTo>
                  <a:lnTo>
                    <a:pt x="1036" y="1976"/>
                  </a:lnTo>
                  <a:lnTo>
                    <a:pt x="979" y="1961"/>
                  </a:lnTo>
                  <a:lnTo>
                    <a:pt x="923" y="1943"/>
                  </a:lnTo>
                  <a:lnTo>
                    <a:pt x="869" y="1923"/>
                  </a:lnTo>
                  <a:lnTo>
                    <a:pt x="817" y="1902"/>
                  </a:lnTo>
                  <a:lnTo>
                    <a:pt x="768" y="1879"/>
                  </a:lnTo>
                  <a:lnTo>
                    <a:pt x="719" y="1854"/>
                  </a:lnTo>
                  <a:lnTo>
                    <a:pt x="673" y="1828"/>
                  </a:lnTo>
                  <a:lnTo>
                    <a:pt x="629" y="1800"/>
                  </a:lnTo>
                  <a:lnTo>
                    <a:pt x="586" y="1771"/>
                  </a:lnTo>
                  <a:lnTo>
                    <a:pt x="547" y="1742"/>
                  </a:lnTo>
                  <a:lnTo>
                    <a:pt x="509" y="1709"/>
                  </a:lnTo>
                  <a:lnTo>
                    <a:pt x="475" y="1674"/>
                  </a:lnTo>
                  <a:lnTo>
                    <a:pt x="442" y="1640"/>
                  </a:lnTo>
                  <a:lnTo>
                    <a:pt x="411" y="1604"/>
                  </a:lnTo>
                  <a:lnTo>
                    <a:pt x="383" y="1566"/>
                  </a:lnTo>
                  <a:lnTo>
                    <a:pt x="357" y="1529"/>
                  </a:lnTo>
                  <a:lnTo>
                    <a:pt x="334" y="1489"/>
                  </a:lnTo>
                  <a:lnTo>
                    <a:pt x="314" y="1449"/>
                  </a:lnTo>
                  <a:lnTo>
                    <a:pt x="296" y="1408"/>
                  </a:lnTo>
                  <a:lnTo>
                    <a:pt x="280" y="1365"/>
                  </a:lnTo>
                  <a:lnTo>
                    <a:pt x="267" y="1321"/>
                  </a:lnTo>
                  <a:lnTo>
                    <a:pt x="257" y="1277"/>
                  </a:lnTo>
                  <a:lnTo>
                    <a:pt x="250" y="1232"/>
                  </a:lnTo>
                  <a:lnTo>
                    <a:pt x="246" y="1187"/>
                  </a:lnTo>
                  <a:lnTo>
                    <a:pt x="246" y="1139"/>
                  </a:lnTo>
                  <a:lnTo>
                    <a:pt x="246" y="1139"/>
                  </a:lnTo>
                  <a:lnTo>
                    <a:pt x="246" y="1093"/>
                  </a:lnTo>
                  <a:lnTo>
                    <a:pt x="250" y="1048"/>
                  </a:lnTo>
                  <a:lnTo>
                    <a:pt x="257" y="1002"/>
                  </a:lnTo>
                  <a:lnTo>
                    <a:pt x="267" y="958"/>
                  </a:lnTo>
                  <a:lnTo>
                    <a:pt x="280" y="915"/>
                  </a:lnTo>
                  <a:lnTo>
                    <a:pt x="296" y="872"/>
                  </a:lnTo>
                  <a:lnTo>
                    <a:pt x="314" y="831"/>
                  </a:lnTo>
                  <a:lnTo>
                    <a:pt x="334" y="791"/>
                  </a:lnTo>
                  <a:lnTo>
                    <a:pt x="357" y="751"/>
                  </a:lnTo>
                  <a:lnTo>
                    <a:pt x="383" y="712"/>
                  </a:lnTo>
                  <a:lnTo>
                    <a:pt x="411" y="674"/>
                  </a:lnTo>
                  <a:lnTo>
                    <a:pt x="442" y="638"/>
                  </a:lnTo>
                  <a:lnTo>
                    <a:pt x="475" y="604"/>
                  </a:lnTo>
                  <a:lnTo>
                    <a:pt x="509" y="571"/>
                  </a:lnTo>
                  <a:lnTo>
                    <a:pt x="547" y="538"/>
                  </a:lnTo>
                  <a:lnTo>
                    <a:pt x="588" y="507"/>
                  </a:lnTo>
                  <a:lnTo>
                    <a:pt x="629" y="480"/>
                  </a:lnTo>
                  <a:lnTo>
                    <a:pt x="673" y="452"/>
                  </a:lnTo>
                  <a:lnTo>
                    <a:pt x="719" y="426"/>
                  </a:lnTo>
                  <a:lnTo>
                    <a:pt x="768" y="401"/>
                  </a:lnTo>
                  <a:lnTo>
                    <a:pt x="817" y="378"/>
                  </a:lnTo>
                  <a:lnTo>
                    <a:pt x="869" y="357"/>
                  </a:lnTo>
                  <a:lnTo>
                    <a:pt x="923" y="337"/>
                  </a:lnTo>
                  <a:lnTo>
                    <a:pt x="979" y="319"/>
                  </a:lnTo>
                  <a:lnTo>
                    <a:pt x="1036" y="303"/>
                  </a:lnTo>
                  <a:lnTo>
                    <a:pt x="1097" y="290"/>
                  </a:lnTo>
                  <a:lnTo>
                    <a:pt x="1157" y="278"/>
                  </a:lnTo>
                  <a:lnTo>
                    <a:pt x="1221" y="268"/>
                  </a:lnTo>
                  <a:lnTo>
                    <a:pt x="1285" y="260"/>
                  </a:lnTo>
                  <a:lnTo>
                    <a:pt x="1350" y="255"/>
                  </a:lnTo>
                  <a:lnTo>
                    <a:pt x="1419" y="252"/>
                  </a:lnTo>
                  <a:lnTo>
                    <a:pt x="1488" y="250"/>
                  </a:lnTo>
                  <a:lnTo>
                    <a:pt x="1488" y="250"/>
                  </a:lnTo>
                  <a:lnTo>
                    <a:pt x="1557" y="252"/>
                  </a:lnTo>
                  <a:lnTo>
                    <a:pt x="1626" y="255"/>
                  </a:lnTo>
                  <a:lnTo>
                    <a:pt x="1691" y="260"/>
                  </a:lnTo>
                  <a:lnTo>
                    <a:pt x="1756" y="268"/>
                  </a:lnTo>
                  <a:lnTo>
                    <a:pt x="1819" y="278"/>
                  </a:lnTo>
                  <a:lnTo>
                    <a:pt x="1879" y="290"/>
                  </a:lnTo>
                  <a:lnTo>
                    <a:pt x="1940" y="303"/>
                  </a:lnTo>
                  <a:lnTo>
                    <a:pt x="1997" y="319"/>
                  </a:lnTo>
                  <a:lnTo>
                    <a:pt x="2053" y="337"/>
                  </a:lnTo>
                  <a:lnTo>
                    <a:pt x="2107" y="357"/>
                  </a:lnTo>
                  <a:lnTo>
                    <a:pt x="2159" y="378"/>
                  </a:lnTo>
                  <a:lnTo>
                    <a:pt x="2210" y="401"/>
                  </a:lnTo>
                  <a:lnTo>
                    <a:pt x="2257" y="426"/>
                  </a:lnTo>
                  <a:lnTo>
                    <a:pt x="2303" y="452"/>
                  </a:lnTo>
                  <a:lnTo>
                    <a:pt x="2347" y="480"/>
                  </a:lnTo>
                  <a:lnTo>
                    <a:pt x="2390" y="507"/>
                  </a:lnTo>
                  <a:lnTo>
                    <a:pt x="2429" y="538"/>
                  </a:lnTo>
                  <a:lnTo>
                    <a:pt x="2467" y="571"/>
                  </a:lnTo>
                  <a:lnTo>
                    <a:pt x="2501" y="604"/>
                  </a:lnTo>
                  <a:lnTo>
                    <a:pt x="2534" y="638"/>
                  </a:lnTo>
                  <a:lnTo>
                    <a:pt x="2565" y="674"/>
                  </a:lnTo>
                  <a:lnTo>
                    <a:pt x="2593" y="712"/>
                  </a:lnTo>
                  <a:lnTo>
                    <a:pt x="2619" y="751"/>
                  </a:lnTo>
                  <a:lnTo>
                    <a:pt x="2642" y="791"/>
                  </a:lnTo>
                  <a:lnTo>
                    <a:pt x="2662" y="831"/>
                  </a:lnTo>
                  <a:lnTo>
                    <a:pt x="2680" y="872"/>
                  </a:lnTo>
                  <a:lnTo>
                    <a:pt x="2696" y="915"/>
                  </a:lnTo>
                  <a:lnTo>
                    <a:pt x="2708" y="958"/>
                  </a:lnTo>
                  <a:lnTo>
                    <a:pt x="2717" y="1002"/>
                  </a:lnTo>
                  <a:lnTo>
                    <a:pt x="2726" y="1048"/>
                  </a:lnTo>
                  <a:lnTo>
                    <a:pt x="2729" y="1093"/>
                  </a:lnTo>
                  <a:lnTo>
                    <a:pt x="2730" y="1139"/>
                  </a:lnTo>
                  <a:lnTo>
                    <a:pt x="2730" y="1139"/>
                  </a:lnTo>
                  <a:lnTo>
                    <a:pt x="2729" y="1187"/>
                  </a:lnTo>
                  <a:lnTo>
                    <a:pt x="2726" y="1232"/>
                  </a:lnTo>
                  <a:lnTo>
                    <a:pt x="2717" y="1277"/>
                  </a:lnTo>
                  <a:lnTo>
                    <a:pt x="2708" y="1321"/>
                  </a:lnTo>
                  <a:lnTo>
                    <a:pt x="2696" y="1365"/>
                  </a:lnTo>
                  <a:lnTo>
                    <a:pt x="2680" y="1408"/>
                  </a:lnTo>
                  <a:lnTo>
                    <a:pt x="2662" y="1449"/>
                  </a:lnTo>
                  <a:lnTo>
                    <a:pt x="2642" y="1489"/>
                  </a:lnTo>
                  <a:lnTo>
                    <a:pt x="2619" y="1529"/>
                  </a:lnTo>
                  <a:lnTo>
                    <a:pt x="2593" y="1566"/>
                  </a:lnTo>
                  <a:lnTo>
                    <a:pt x="2565" y="1604"/>
                  </a:lnTo>
                  <a:lnTo>
                    <a:pt x="2534" y="1640"/>
                  </a:lnTo>
                  <a:lnTo>
                    <a:pt x="2501" y="1674"/>
                  </a:lnTo>
                  <a:lnTo>
                    <a:pt x="2465" y="1709"/>
                  </a:lnTo>
                  <a:lnTo>
                    <a:pt x="2429" y="1742"/>
                  </a:lnTo>
                  <a:lnTo>
                    <a:pt x="2388" y="1771"/>
                  </a:lnTo>
                  <a:lnTo>
                    <a:pt x="2347" y="1800"/>
                  </a:lnTo>
                  <a:lnTo>
                    <a:pt x="2303" y="1828"/>
                  </a:lnTo>
                  <a:lnTo>
                    <a:pt x="2257" y="1854"/>
                  </a:lnTo>
                  <a:lnTo>
                    <a:pt x="2208" y="1879"/>
                  </a:lnTo>
                  <a:lnTo>
                    <a:pt x="2159" y="1902"/>
                  </a:lnTo>
                  <a:lnTo>
                    <a:pt x="2107" y="1923"/>
                  </a:lnTo>
                  <a:lnTo>
                    <a:pt x="2053" y="1943"/>
                  </a:lnTo>
                  <a:lnTo>
                    <a:pt x="1997" y="1961"/>
                  </a:lnTo>
                  <a:lnTo>
                    <a:pt x="1938" y="1976"/>
                  </a:lnTo>
                  <a:lnTo>
                    <a:pt x="1879" y="1990"/>
                  </a:lnTo>
                  <a:lnTo>
                    <a:pt x="1819" y="2002"/>
                  </a:lnTo>
                  <a:lnTo>
                    <a:pt x="1755" y="2012"/>
                  </a:lnTo>
                  <a:lnTo>
                    <a:pt x="1691" y="2018"/>
                  </a:lnTo>
                  <a:lnTo>
                    <a:pt x="1624" y="2025"/>
                  </a:lnTo>
                  <a:lnTo>
                    <a:pt x="1557" y="2028"/>
                  </a:lnTo>
                  <a:lnTo>
                    <a:pt x="1488" y="2030"/>
                  </a:lnTo>
                  <a:lnTo>
                    <a:pt x="1488" y="20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5" name="Freeform 18"/>
            <p:cNvSpPr>
              <a:spLocks/>
            </p:cNvSpPr>
            <p:nvPr/>
          </p:nvSpPr>
          <p:spPr bwMode="auto">
            <a:xfrm>
              <a:off x="7856254" y="5908560"/>
              <a:ext cx="206927" cy="269362"/>
            </a:xfrm>
            <a:custGeom>
              <a:avLst/>
              <a:gdLst>
                <a:gd name="T0" fmla="*/ 4 w 698"/>
                <a:gd name="T1" fmla="*/ 404 h 907"/>
                <a:gd name="T2" fmla="*/ 18 w 698"/>
                <a:gd name="T3" fmla="*/ 309 h 907"/>
                <a:gd name="T4" fmla="*/ 48 w 698"/>
                <a:gd name="T5" fmla="*/ 226 h 907"/>
                <a:gd name="T6" fmla="*/ 89 w 698"/>
                <a:gd name="T7" fmla="*/ 154 h 907"/>
                <a:gd name="T8" fmla="*/ 143 w 698"/>
                <a:gd name="T9" fmla="*/ 95 h 907"/>
                <a:gd name="T10" fmla="*/ 207 w 698"/>
                <a:gd name="T11" fmla="*/ 49 h 907"/>
                <a:gd name="T12" fmla="*/ 279 w 698"/>
                <a:gd name="T13" fmla="*/ 18 h 907"/>
                <a:gd name="T14" fmla="*/ 359 w 698"/>
                <a:gd name="T15" fmla="*/ 1 h 907"/>
                <a:gd name="T16" fmla="*/ 428 w 698"/>
                <a:gd name="T17" fmla="*/ 0 h 907"/>
                <a:gd name="T18" fmla="*/ 519 w 698"/>
                <a:gd name="T19" fmla="*/ 16 h 907"/>
                <a:gd name="T20" fmla="*/ 573 w 698"/>
                <a:gd name="T21" fmla="*/ 37 h 907"/>
                <a:gd name="T22" fmla="*/ 593 w 698"/>
                <a:gd name="T23" fmla="*/ 37 h 907"/>
                <a:gd name="T24" fmla="*/ 611 w 698"/>
                <a:gd name="T25" fmla="*/ 16 h 907"/>
                <a:gd name="T26" fmla="*/ 621 w 698"/>
                <a:gd name="T27" fmla="*/ 6 h 907"/>
                <a:gd name="T28" fmla="*/ 681 w 698"/>
                <a:gd name="T29" fmla="*/ 6 h 907"/>
                <a:gd name="T30" fmla="*/ 689 w 698"/>
                <a:gd name="T31" fmla="*/ 245 h 907"/>
                <a:gd name="T32" fmla="*/ 681 w 698"/>
                <a:gd name="T33" fmla="*/ 258 h 907"/>
                <a:gd name="T34" fmla="*/ 621 w 698"/>
                <a:gd name="T35" fmla="*/ 258 h 907"/>
                <a:gd name="T36" fmla="*/ 613 w 698"/>
                <a:gd name="T37" fmla="*/ 247 h 907"/>
                <a:gd name="T38" fmla="*/ 586 w 698"/>
                <a:gd name="T39" fmla="*/ 160 h 907"/>
                <a:gd name="T40" fmla="*/ 550 w 698"/>
                <a:gd name="T41" fmla="*/ 111 h 907"/>
                <a:gd name="T42" fmla="*/ 495 w 698"/>
                <a:gd name="T43" fmla="*/ 82 h 907"/>
                <a:gd name="T44" fmla="*/ 436 w 698"/>
                <a:gd name="T45" fmla="*/ 75 h 907"/>
                <a:gd name="T46" fmla="*/ 383 w 698"/>
                <a:gd name="T47" fmla="*/ 87 h 907"/>
                <a:gd name="T48" fmla="*/ 342 w 698"/>
                <a:gd name="T49" fmla="*/ 114 h 907"/>
                <a:gd name="T50" fmla="*/ 285 w 698"/>
                <a:gd name="T51" fmla="*/ 206 h 907"/>
                <a:gd name="T52" fmla="*/ 256 w 698"/>
                <a:gd name="T53" fmla="*/ 321 h 907"/>
                <a:gd name="T54" fmla="*/ 247 w 698"/>
                <a:gd name="T55" fmla="*/ 424 h 907"/>
                <a:gd name="T56" fmla="*/ 257 w 698"/>
                <a:gd name="T57" fmla="*/ 596 h 907"/>
                <a:gd name="T58" fmla="*/ 290 w 698"/>
                <a:gd name="T59" fmla="*/ 722 h 907"/>
                <a:gd name="T60" fmla="*/ 338 w 698"/>
                <a:gd name="T61" fmla="*/ 792 h 907"/>
                <a:gd name="T62" fmla="*/ 383 w 698"/>
                <a:gd name="T63" fmla="*/ 820 h 907"/>
                <a:gd name="T64" fmla="*/ 441 w 698"/>
                <a:gd name="T65" fmla="*/ 831 h 907"/>
                <a:gd name="T66" fmla="*/ 503 w 698"/>
                <a:gd name="T67" fmla="*/ 823 h 907"/>
                <a:gd name="T68" fmla="*/ 562 w 698"/>
                <a:gd name="T69" fmla="*/ 794 h 907"/>
                <a:gd name="T70" fmla="*/ 598 w 698"/>
                <a:gd name="T71" fmla="*/ 743 h 907"/>
                <a:gd name="T72" fmla="*/ 621 w 698"/>
                <a:gd name="T73" fmla="*/ 658 h 907"/>
                <a:gd name="T74" fmla="*/ 631 w 698"/>
                <a:gd name="T75" fmla="*/ 646 h 907"/>
                <a:gd name="T76" fmla="*/ 689 w 698"/>
                <a:gd name="T77" fmla="*/ 648 h 907"/>
                <a:gd name="T78" fmla="*/ 698 w 698"/>
                <a:gd name="T79" fmla="*/ 887 h 907"/>
                <a:gd name="T80" fmla="*/ 689 w 698"/>
                <a:gd name="T81" fmla="*/ 898 h 907"/>
                <a:gd name="T82" fmla="*/ 629 w 698"/>
                <a:gd name="T83" fmla="*/ 900 h 907"/>
                <a:gd name="T84" fmla="*/ 621 w 698"/>
                <a:gd name="T85" fmla="*/ 892 h 907"/>
                <a:gd name="T86" fmla="*/ 599 w 698"/>
                <a:gd name="T87" fmla="*/ 877 h 907"/>
                <a:gd name="T88" fmla="*/ 534 w 698"/>
                <a:gd name="T89" fmla="*/ 892 h 907"/>
                <a:gd name="T90" fmla="*/ 403 w 698"/>
                <a:gd name="T91" fmla="*/ 907 h 907"/>
                <a:gd name="T92" fmla="*/ 334 w 698"/>
                <a:gd name="T93" fmla="*/ 902 h 907"/>
                <a:gd name="T94" fmla="*/ 249 w 698"/>
                <a:gd name="T95" fmla="*/ 877 h 907"/>
                <a:gd name="T96" fmla="*/ 177 w 698"/>
                <a:gd name="T97" fmla="*/ 838 h 907"/>
                <a:gd name="T98" fmla="*/ 118 w 698"/>
                <a:gd name="T99" fmla="*/ 784 h 907"/>
                <a:gd name="T100" fmla="*/ 59 w 698"/>
                <a:gd name="T101" fmla="*/ 702 h 907"/>
                <a:gd name="T102" fmla="*/ 7 w 698"/>
                <a:gd name="T103" fmla="*/ 5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8" h="907">
                  <a:moveTo>
                    <a:pt x="0" y="455"/>
                  </a:moveTo>
                  <a:lnTo>
                    <a:pt x="0" y="455"/>
                  </a:lnTo>
                  <a:lnTo>
                    <a:pt x="2" y="429"/>
                  </a:lnTo>
                  <a:lnTo>
                    <a:pt x="4" y="404"/>
                  </a:lnTo>
                  <a:lnTo>
                    <a:pt x="5" y="378"/>
                  </a:lnTo>
                  <a:lnTo>
                    <a:pt x="8" y="355"/>
                  </a:lnTo>
                  <a:lnTo>
                    <a:pt x="13" y="332"/>
                  </a:lnTo>
                  <a:lnTo>
                    <a:pt x="18" y="309"/>
                  </a:lnTo>
                  <a:lnTo>
                    <a:pt x="25" y="286"/>
                  </a:lnTo>
                  <a:lnTo>
                    <a:pt x="31" y="265"/>
                  </a:lnTo>
                  <a:lnTo>
                    <a:pt x="38" y="245"/>
                  </a:lnTo>
                  <a:lnTo>
                    <a:pt x="48" y="226"/>
                  </a:lnTo>
                  <a:lnTo>
                    <a:pt x="56" y="206"/>
                  </a:lnTo>
                  <a:lnTo>
                    <a:pt x="67" y="188"/>
                  </a:lnTo>
                  <a:lnTo>
                    <a:pt x="77" y="170"/>
                  </a:lnTo>
                  <a:lnTo>
                    <a:pt x="89" y="154"/>
                  </a:lnTo>
                  <a:lnTo>
                    <a:pt x="102" y="137"/>
                  </a:lnTo>
                  <a:lnTo>
                    <a:pt x="115" y="123"/>
                  </a:lnTo>
                  <a:lnTo>
                    <a:pt x="128" y="108"/>
                  </a:lnTo>
                  <a:lnTo>
                    <a:pt x="143" y="95"/>
                  </a:lnTo>
                  <a:lnTo>
                    <a:pt x="157" y="82"/>
                  </a:lnTo>
                  <a:lnTo>
                    <a:pt x="174" y="70"/>
                  </a:lnTo>
                  <a:lnTo>
                    <a:pt x="190" y="59"/>
                  </a:lnTo>
                  <a:lnTo>
                    <a:pt x="207" y="49"/>
                  </a:lnTo>
                  <a:lnTo>
                    <a:pt x="225" y="39"/>
                  </a:lnTo>
                  <a:lnTo>
                    <a:pt x="243" y="31"/>
                  </a:lnTo>
                  <a:lnTo>
                    <a:pt x="261" y="24"/>
                  </a:lnTo>
                  <a:lnTo>
                    <a:pt x="279" y="18"/>
                  </a:lnTo>
                  <a:lnTo>
                    <a:pt x="298" y="11"/>
                  </a:lnTo>
                  <a:lnTo>
                    <a:pt x="318" y="8"/>
                  </a:lnTo>
                  <a:lnTo>
                    <a:pt x="339" y="3"/>
                  </a:lnTo>
                  <a:lnTo>
                    <a:pt x="359" y="1"/>
                  </a:lnTo>
                  <a:lnTo>
                    <a:pt x="380" y="0"/>
                  </a:lnTo>
                  <a:lnTo>
                    <a:pt x="401" y="0"/>
                  </a:lnTo>
                  <a:lnTo>
                    <a:pt x="401" y="0"/>
                  </a:lnTo>
                  <a:lnTo>
                    <a:pt x="428" y="0"/>
                  </a:lnTo>
                  <a:lnTo>
                    <a:pt x="452" y="1"/>
                  </a:lnTo>
                  <a:lnTo>
                    <a:pt x="472" y="5"/>
                  </a:lnTo>
                  <a:lnTo>
                    <a:pt x="490" y="8"/>
                  </a:lnTo>
                  <a:lnTo>
                    <a:pt x="519" y="16"/>
                  </a:lnTo>
                  <a:lnTo>
                    <a:pt x="541" y="24"/>
                  </a:lnTo>
                  <a:lnTo>
                    <a:pt x="541" y="24"/>
                  </a:lnTo>
                  <a:lnTo>
                    <a:pt x="563" y="34"/>
                  </a:lnTo>
                  <a:lnTo>
                    <a:pt x="573" y="37"/>
                  </a:lnTo>
                  <a:lnTo>
                    <a:pt x="583" y="39"/>
                  </a:lnTo>
                  <a:lnTo>
                    <a:pt x="583" y="39"/>
                  </a:lnTo>
                  <a:lnTo>
                    <a:pt x="588" y="39"/>
                  </a:lnTo>
                  <a:lnTo>
                    <a:pt x="593" y="37"/>
                  </a:lnTo>
                  <a:lnTo>
                    <a:pt x="598" y="36"/>
                  </a:lnTo>
                  <a:lnTo>
                    <a:pt x="601" y="33"/>
                  </a:lnTo>
                  <a:lnTo>
                    <a:pt x="608" y="24"/>
                  </a:lnTo>
                  <a:lnTo>
                    <a:pt x="611" y="16"/>
                  </a:lnTo>
                  <a:lnTo>
                    <a:pt x="611" y="16"/>
                  </a:lnTo>
                  <a:lnTo>
                    <a:pt x="614" y="11"/>
                  </a:lnTo>
                  <a:lnTo>
                    <a:pt x="617" y="8"/>
                  </a:lnTo>
                  <a:lnTo>
                    <a:pt x="621" y="6"/>
                  </a:lnTo>
                  <a:lnTo>
                    <a:pt x="624" y="5"/>
                  </a:lnTo>
                  <a:lnTo>
                    <a:pt x="676" y="5"/>
                  </a:lnTo>
                  <a:lnTo>
                    <a:pt x="676" y="5"/>
                  </a:lnTo>
                  <a:lnTo>
                    <a:pt x="681" y="6"/>
                  </a:lnTo>
                  <a:lnTo>
                    <a:pt x="686" y="8"/>
                  </a:lnTo>
                  <a:lnTo>
                    <a:pt x="688" y="13"/>
                  </a:lnTo>
                  <a:lnTo>
                    <a:pt x="689" y="18"/>
                  </a:lnTo>
                  <a:lnTo>
                    <a:pt x="689" y="245"/>
                  </a:lnTo>
                  <a:lnTo>
                    <a:pt x="689" y="245"/>
                  </a:lnTo>
                  <a:lnTo>
                    <a:pt x="688" y="250"/>
                  </a:lnTo>
                  <a:lnTo>
                    <a:pt x="686" y="255"/>
                  </a:lnTo>
                  <a:lnTo>
                    <a:pt x="681" y="258"/>
                  </a:lnTo>
                  <a:lnTo>
                    <a:pt x="676" y="258"/>
                  </a:lnTo>
                  <a:lnTo>
                    <a:pt x="626" y="258"/>
                  </a:lnTo>
                  <a:lnTo>
                    <a:pt x="626" y="258"/>
                  </a:lnTo>
                  <a:lnTo>
                    <a:pt x="621" y="258"/>
                  </a:lnTo>
                  <a:lnTo>
                    <a:pt x="617" y="257"/>
                  </a:lnTo>
                  <a:lnTo>
                    <a:pt x="614" y="252"/>
                  </a:lnTo>
                  <a:lnTo>
                    <a:pt x="613" y="247"/>
                  </a:lnTo>
                  <a:lnTo>
                    <a:pt x="613" y="247"/>
                  </a:lnTo>
                  <a:lnTo>
                    <a:pt x="604" y="209"/>
                  </a:lnTo>
                  <a:lnTo>
                    <a:pt x="599" y="191"/>
                  </a:lnTo>
                  <a:lnTo>
                    <a:pt x="593" y="175"/>
                  </a:lnTo>
                  <a:lnTo>
                    <a:pt x="586" y="160"/>
                  </a:lnTo>
                  <a:lnTo>
                    <a:pt x="580" y="145"/>
                  </a:lnTo>
                  <a:lnTo>
                    <a:pt x="572" y="132"/>
                  </a:lnTo>
                  <a:lnTo>
                    <a:pt x="562" y="121"/>
                  </a:lnTo>
                  <a:lnTo>
                    <a:pt x="550" y="111"/>
                  </a:lnTo>
                  <a:lnTo>
                    <a:pt x="539" y="101"/>
                  </a:lnTo>
                  <a:lnTo>
                    <a:pt x="526" y="93"/>
                  </a:lnTo>
                  <a:lnTo>
                    <a:pt x="511" y="87"/>
                  </a:lnTo>
                  <a:lnTo>
                    <a:pt x="495" y="82"/>
                  </a:lnTo>
                  <a:lnTo>
                    <a:pt x="477" y="78"/>
                  </a:lnTo>
                  <a:lnTo>
                    <a:pt x="457" y="77"/>
                  </a:lnTo>
                  <a:lnTo>
                    <a:pt x="436" y="75"/>
                  </a:lnTo>
                  <a:lnTo>
                    <a:pt x="436" y="75"/>
                  </a:lnTo>
                  <a:lnTo>
                    <a:pt x="421" y="77"/>
                  </a:lnTo>
                  <a:lnTo>
                    <a:pt x="408" y="78"/>
                  </a:lnTo>
                  <a:lnTo>
                    <a:pt x="395" y="82"/>
                  </a:lnTo>
                  <a:lnTo>
                    <a:pt x="383" y="87"/>
                  </a:lnTo>
                  <a:lnTo>
                    <a:pt x="372" y="91"/>
                  </a:lnTo>
                  <a:lnTo>
                    <a:pt x="362" y="98"/>
                  </a:lnTo>
                  <a:lnTo>
                    <a:pt x="352" y="105"/>
                  </a:lnTo>
                  <a:lnTo>
                    <a:pt x="342" y="114"/>
                  </a:lnTo>
                  <a:lnTo>
                    <a:pt x="324" y="132"/>
                  </a:lnTo>
                  <a:lnTo>
                    <a:pt x="310" y="155"/>
                  </a:lnTo>
                  <a:lnTo>
                    <a:pt x="297" y="180"/>
                  </a:lnTo>
                  <a:lnTo>
                    <a:pt x="285" y="206"/>
                  </a:lnTo>
                  <a:lnTo>
                    <a:pt x="275" y="234"/>
                  </a:lnTo>
                  <a:lnTo>
                    <a:pt x="267" y="263"/>
                  </a:lnTo>
                  <a:lnTo>
                    <a:pt x="261" y="291"/>
                  </a:lnTo>
                  <a:lnTo>
                    <a:pt x="256" y="321"/>
                  </a:lnTo>
                  <a:lnTo>
                    <a:pt x="252" y="348"/>
                  </a:lnTo>
                  <a:lnTo>
                    <a:pt x="249" y="375"/>
                  </a:lnTo>
                  <a:lnTo>
                    <a:pt x="247" y="424"/>
                  </a:lnTo>
                  <a:lnTo>
                    <a:pt x="247" y="424"/>
                  </a:lnTo>
                  <a:lnTo>
                    <a:pt x="249" y="491"/>
                  </a:lnTo>
                  <a:lnTo>
                    <a:pt x="251" y="525"/>
                  </a:lnTo>
                  <a:lnTo>
                    <a:pt x="254" y="561"/>
                  </a:lnTo>
                  <a:lnTo>
                    <a:pt x="257" y="596"/>
                  </a:lnTo>
                  <a:lnTo>
                    <a:pt x="264" y="628"/>
                  </a:lnTo>
                  <a:lnTo>
                    <a:pt x="270" y="661"/>
                  </a:lnTo>
                  <a:lnTo>
                    <a:pt x="280" y="692"/>
                  </a:lnTo>
                  <a:lnTo>
                    <a:pt x="290" y="722"/>
                  </a:lnTo>
                  <a:lnTo>
                    <a:pt x="303" y="748"/>
                  </a:lnTo>
                  <a:lnTo>
                    <a:pt x="320" y="772"/>
                  </a:lnTo>
                  <a:lnTo>
                    <a:pt x="328" y="782"/>
                  </a:lnTo>
                  <a:lnTo>
                    <a:pt x="338" y="792"/>
                  </a:lnTo>
                  <a:lnTo>
                    <a:pt x="347" y="800"/>
                  </a:lnTo>
                  <a:lnTo>
                    <a:pt x="359" y="808"/>
                  </a:lnTo>
                  <a:lnTo>
                    <a:pt x="370" y="815"/>
                  </a:lnTo>
                  <a:lnTo>
                    <a:pt x="383" y="820"/>
                  </a:lnTo>
                  <a:lnTo>
                    <a:pt x="396" y="825"/>
                  </a:lnTo>
                  <a:lnTo>
                    <a:pt x="411" y="828"/>
                  </a:lnTo>
                  <a:lnTo>
                    <a:pt x="426" y="830"/>
                  </a:lnTo>
                  <a:lnTo>
                    <a:pt x="441" y="831"/>
                  </a:lnTo>
                  <a:lnTo>
                    <a:pt x="441" y="831"/>
                  </a:lnTo>
                  <a:lnTo>
                    <a:pt x="464" y="830"/>
                  </a:lnTo>
                  <a:lnTo>
                    <a:pt x="485" y="828"/>
                  </a:lnTo>
                  <a:lnTo>
                    <a:pt x="503" y="823"/>
                  </a:lnTo>
                  <a:lnTo>
                    <a:pt x="521" y="818"/>
                  </a:lnTo>
                  <a:lnTo>
                    <a:pt x="536" y="812"/>
                  </a:lnTo>
                  <a:lnTo>
                    <a:pt x="549" y="803"/>
                  </a:lnTo>
                  <a:lnTo>
                    <a:pt x="562" y="794"/>
                  </a:lnTo>
                  <a:lnTo>
                    <a:pt x="572" y="782"/>
                  </a:lnTo>
                  <a:lnTo>
                    <a:pt x="581" y="771"/>
                  </a:lnTo>
                  <a:lnTo>
                    <a:pt x="590" y="758"/>
                  </a:lnTo>
                  <a:lnTo>
                    <a:pt x="598" y="743"/>
                  </a:lnTo>
                  <a:lnTo>
                    <a:pt x="603" y="728"/>
                  </a:lnTo>
                  <a:lnTo>
                    <a:pt x="609" y="712"/>
                  </a:lnTo>
                  <a:lnTo>
                    <a:pt x="614" y="695"/>
                  </a:lnTo>
                  <a:lnTo>
                    <a:pt x="621" y="658"/>
                  </a:lnTo>
                  <a:lnTo>
                    <a:pt x="621" y="658"/>
                  </a:lnTo>
                  <a:lnTo>
                    <a:pt x="622" y="653"/>
                  </a:lnTo>
                  <a:lnTo>
                    <a:pt x="626" y="648"/>
                  </a:lnTo>
                  <a:lnTo>
                    <a:pt x="631" y="646"/>
                  </a:lnTo>
                  <a:lnTo>
                    <a:pt x="634" y="646"/>
                  </a:lnTo>
                  <a:lnTo>
                    <a:pt x="685" y="646"/>
                  </a:lnTo>
                  <a:lnTo>
                    <a:pt x="685" y="646"/>
                  </a:lnTo>
                  <a:lnTo>
                    <a:pt x="689" y="648"/>
                  </a:lnTo>
                  <a:lnTo>
                    <a:pt x="694" y="650"/>
                  </a:lnTo>
                  <a:lnTo>
                    <a:pt x="696" y="654"/>
                  </a:lnTo>
                  <a:lnTo>
                    <a:pt x="698" y="659"/>
                  </a:lnTo>
                  <a:lnTo>
                    <a:pt x="698" y="887"/>
                  </a:lnTo>
                  <a:lnTo>
                    <a:pt x="698" y="887"/>
                  </a:lnTo>
                  <a:lnTo>
                    <a:pt x="696" y="892"/>
                  </a:lnTo>
                  <a:lnTo>
                    <a:pt x="694" y="897"/>
                  </a:lnTo>
                  <a:lnTo>
                    <a:pt x="689" y="898"/>
                  </a:lnTo>
                  <a:lnTo>
                    <a:pt x="685" y="900"/>
                  </a:lnTo>
                  <a:lnTo>
                    <a:pt x="632" y="900"/>
                  </a:lnTo>
                  <a:lnTo>
                    <a:pt x="632" y="900"/>
                  </a:lnTo>
                  <a:lnTo>
                    <a:pt x="629" y="900"/>
                  </a:lnTo>
                  <a:lnTo>
                    <a:pt x="626" y="898"/>
                  </a:lnTo>
                  <a:lnTo>
                    <a:pt x="622" y="895"/>
                  </a:lnTo>
                  <a:lnTo>
                    <a:pt x="621" y="892"/>
                  </a:lnTo>
                  <a:lnTo>
                    <a:pt x="621" y="892"/>
                  </a:lnTo>
                  <a:lnTo>
                    <a:pt x="617" y="887"/>
                  </a:lnTo>
                  <a:lnTo>
                    <a:pt x="613" y="882"/>
                  </a:lnTo>
                  <a:lnTo>
                    <a:pt x="608" y="877"/>
                  </a:lnTo>
                  <a:lnTo>
                    <a:pt x="599" y="877"/>
                  </a:lnTo>
                  <a:lnTo>
                    <a:pt x="599" y="877"/>
                  </a:lnTo>
                  <a:lnTo>
                    <a:pt x="588" y="877"/>
                  </a:lnTo>
                  <a:lnTo>
                    <a:pt x="573" y="880"/>
                  </a:lnTo>
                  <a:lnTo>
                    <a:pt x="534" y="892"/>
                  </a:lnTo>
                  <a:lnTo>
                    <a:pt x="509" y="897"/>
                  </a:lnTo>
                  <a:lnTo>
                    <a:pt x="478" y="902"/>
                  </a:lnTo>
                  <a:lnTo>
                    <a:pt x="444" y="905"/>
                  </a:lnTo>
                  <a:lnTo>
                    <a:pt x="403" y="907"/>
                  </a:lnTo>
                  <a:lnTo>
                    <a:pt x="403" y="907"/>
                  </a:lnTo>
                  <a:lnTo>
                    <a:pt x="380" y="907"/>
                  </a:lnTo>
                  <a:lnTo>
                    <a:pt x="356" y="903"/>
                  </a:lnTo>
                  <a:lnTo>
                    <a:pt x="334" y="902"/>
                  </a:lnTo>
                  <a:lnTo>
                    <a:pt x="311" y="897"/>
                  </a:lnTo>
                  <a:lnTo>
                    <a:pt x="290" y="892"/>
                  </a:lnTo>
                  <a:lnTo>
                    <a:pt x="270" y="885"/>
                  </a:lnTo>
                  <a:lnTo>
                    <a:pt x="249" y="877"/>
                  </a:lnTo>
                  <a:lnTo>
                    <a:pt x="231" y="869"/>
                  </a:lnTo>
                  <a:lnTo>
                    <a:pt x="213" y="859"/>
                  </a:lnTo>
                  <a:lnTo>
                    <a:pt x="195" y="849"/>
                  </a:lnTo>
                  <a:lnTo>
                    <a:pt x="177" y="838"/>
                  </a:lnTo>
                  <a:lnTo>
                    <a:pt x="162" y="826"/>
                  </a:lnTo>
                  <a:lnTo>
                    <a:pt x="146" y="813"/>
                  </a:lnTo>
                  <a:lnTo>
                    <a:pt x="131" y="799"/>
                  </a:lnTo>
                  <a:lnTo>
                    <a:pt x="118" y="784"/>
                  </a:lnTo>
                  <a:lnTo>
                    <a:pt x="105" y="769"/>
                  </a:lnTo>
                  <a:lnTo>
                    <a:pt x="92" y="753"/>
                  </a:lnTo>
                  <a:lnTo>
                    <a:pt x="81" y="736"/>
                  </a:lnTo>
                  <a:lnTo>
                    <a:pt x="59" y="702"/>
                  </a:lnTo>
                  <a:lnTo>
                    <a:pt x="41" y="664"/>
                  </a:lnTo>
                  <a:lnTo>
                    <a:pt x="26" y="625"/>
                  </a:lnTo>
                  <a:lnTo>
                    <a:pt x="15" y="584"/>
                  </a:lnTo>
                  <a:lnTo>
                    <a:pt x="7" y="542"/>
                  </a:lnTo>
                  <a:lnTo>
                    <a:pt x="2" y="499"/>
                  </a:lnTo>
                  <a:lnTo>
                    <a:pt x="0"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6" name="Freeform 20"/>
            <p:cNvSpPr>
              <a:spLocks noEditPoints="1"/>
            </p:cNvSpPr>
            <p:nvPr/>
          </p:nvSpPr>
          <p:spPr bwMode="auto">
            <a:xfrm>
              <a:off x="8051289" y="5957319"/>
              <a:ext cx="137357" cy="129032"/>
            </a:xfrm>
            <a:custGeom>
              <a:avLst/>
              <a:gdLst>
                <a:gd name="T0" fmla="*/ 345 w 461"/>
                <a:gd name="T1" fmla="*/ 187 h 436"/>
                <a:gd name="T2" fmla="*/ 339 w 461"/>
                <a:gd name="T3" fmla="*/ 194 h 436"/>
                <a:gd name="T4" fmla="*/ 291 w 461"/>
                <a:gd name="T5" fmla="*/ 290 h 436"/>
                <a:gd name="T6" fmla="*/ 263 w 461"/>
                <a:gd name="T7" fmla="*/ 179 h 436"/>
                <a:gd name="T8" fmla="*/ 316 w 461"/>
                <a:gd name="T9" fmla="*/ 128 h 436"/>
                <a:gd name="T10" fmla="*/ 325 w 461"/>
                <a:gd name="T11" fmla="*/ 94 h 436"/>
                <a:gd name="T12" fmla="*/ 321 w 461"/>
                <a:gd name="T13" fmla="*/ 64 h 436"/>
                <a:gd name="T14" fmla="*/ 299 w 461"/>
                <a:gd name="T15" fmla="*/ 32 h 436"/>
                <a:gd name="T16" fmla="*/ 257 w 461"/>
                <a:gd name="T17" fmla="*/ 7 h 436"/>
                <a:gd name="T18" fmla="*/ 186 w 461"/>
                <a:gd name="T19" fmla="*/ 2 h 436"/>
                <a:gd name="T20" fmla="*/ 131 w 461"/>
                <a:gd name="T21" fmla="*/ 22 h 436"/>
                <a:gd name="T22" fmla="*/ 98 w 461"/>
                <a:gd name="T23" fmla="*/ 51 h 436"/>
                <a:gd name="T24" fmla="*/ 83 w 461"/>
                <a:gd name="T25" fmla="*/ 97 h 436"/>
                <a:gd name="T26" fmla="*/ 85 w 461"/>
                <a:gd name="T27" fmla="*/ 133 h 436"/>
                <a:gd name="T28" fmla="*/ 111 w 461"/>
                <a:gd name="T29" fmla="*/ 187 h 436"/>
                <a:gd name="T30" fmla="*/ 54 w 461"/>
                <a:gd name="T31" fmla="*/ 217 h 436"/>
                <a:gd name="T32" fmla="*/ 10 w 461"/>
                <a:gd name="T33" fmla="*/ 269 h 436"/>
                <a:gd name="T34" fmla="*/ 0 w 461"/>
                <a:gd name="T35" fmla="*/ 315 h 436"/>
                <a:gd name="T36" fmla="*/ 8 w 461"/>
                <a:gd name="T37" fmla="*/ 354 h 436"/>
                <a:gd name="T38" fmla="*/ 36 w 461"/>
                <a:gd name="T39" fmla="*/ 395 h 436"/>
                <a:gd name="T40" fmla="*/ 80 w 461"/>
                <a:gd name="T41" fmla="*/ 423 h 436"/>
                <a:gd name="T42" fmla="*/ 137 w 461"/>
                <a:gd name="T43" fmla="*/ 434 h 436"/>
                <a:gd name="T44" fmla="*/ 195 w 461"/>
                <a:gd name="T45" fmla="*/ 431 h 436"/>
                <a:gd name="T46" fmla="*/ 255 w 461"/>
                <a:gd name="T47" fmla="*/ 410 h 436"/>
                <a:gd name="T48" fmla="*/ 294 w 461"/>
                <a:gd name="T49" fmla="*/ 416 h 436"/>
                <a:gd name="T50" fmla="*/ 350 w 461"/>
                <a:gd name="T51" fmla="*/ 426 h 436"/>
                <a:gd name="T52" fmla="*/ 401 w 461"/>
                <a:gd name="T53" fmla="*/ 424 h 436"/>
                <a:gd name="T54" fmla="*/ 416 w 461"/>
                <a:gd name="T55" fmla="*/ 388 h 436"/>
                <a:gd name="T56" fmla="*/ 416 w 461"/>
                <a:gd name="T57" fmla="*/ 380 h 436"/>
                <a:gd name="T58" fmla="*/ 389 w 461"/>
                <a:gd name="T59" fmla="*/ 379 h 436"/>
                <a:gd name="T60" fmla="*/ 343 w 461"/>
                <a:gd name="T61" fmla="*/ 362 h 436"/>
                <a:gd name="T62" fmla="*/ 327 w 461"/>
                <a:gd name="T63" fmla="*/ 344 h 436"/>
                <a:gd name="T64" fmla="*/ 375 w 461"/>
                <a:gd name="T65" fmla="*/ 289 h 436"/>
                <a:gd name="T66" fmla="*/ 404 w 461"/>
                <a:gd name="T67" fmla="*/ 243 h 436"/>
                <a:gd name="T68" fmla="*/ 435 w 461"/>
                <a:gd name="T69" fmla="*/ 233 h 436"/>
                <a:gd name="T70" fmla="*/ 445 w 461"/>
                <a:gd name="T71" fmla="*/ 228 h 436"/>
                <a:gd name="T72" fmla="*/ 461 w 461"/>
                <a:gd name="T73" fmla="*/ 190 h 436"/>
                <a:gd name="T74" fmla="*/ 452 w 461"/>
                <a:gd name="T75" fmla="*/ 187 h 436"/>
                <a:gd name="T76" fmla="*/ 226 w 461"/>
                <a:gd name="T77" fmla="*/ 43 h 436"/>
                <a:gd name="T78" fmla="*/ 244 w 461"/>
                <a:gd name="T79" fmla="*/ 68 h 436"/>
                <a:gd name="T80" fmla="*/ 244 w 461"/>
                <a:gd name="T81" fmla="*/ 95 h 436"/>
                <a:gd name="T82" fmla="*/ 226 w 461"/>
                <a:gd name="T83" fmla="*/ 135 h 436"/>
                <a:gd name="T84" fmla="*/ 196 w 461"/>
                <a:gd name="T85" fmla="*/ 158 h 436"/>
                <a:gd name="T86" fmla="*/ 170 w 461"/>
                <a:gd name="T87" fmla="*/ 84 h 436"/>
                <a:gd name="T88" fmla="*/ 175 w 461"/>
                <a:gd name="T89" fmla="*/ 59 h 436"/>
                <a:gd name="T90" fmla="*/ 201 w 461"/>
                <a:gd name="T91" fmla="*/ 40 h 436"/>
                <a:gd name="T92" fmla="*/ 167 w 461"/>
                <a:gd name="T93" fmla="*/ 388 h 436"/>
                <a:gd name="T94" fmla="*/ 113 w 461"/>
                <a:gd name="T95" fmla="*/ 367 h 436"/>
                <a:gd name="T96" fmla="*/ 91 w 461"/>
                <a:gd name="T97" fmla="*/ 310 h 436"/>
                <a:gd name="T98" fmla="*/ 100 w 461"/>
                <a:gd name="T99" fmla="*/ 275 h 436"/>
                <a:gd name="T100" fmla="*/ 127 w 461"/>
                <a:gd name="T101" fmla="*/ 235 h 436"/>
                <a:gd name="T102" fmla="*/ 217 w 461"/>
                <a:gd name="T103" fmla="*/ 369 h 436"/>
                <a:gd name="T104" fmla="*/ 177 w 461"/>
                <a:gd name="T105" fmla="*/ 38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1" h="436">
                  <a:moveTo>
                    <a:pt x="452" y="187"/>
                  </a:moveTo>
                  <a:lnTo>
                    <a:pt x="350" y="187"/>
                  </a:lnTo>
                  <a:lnTo>
                    <a:pt x="350" y="187"/>
                  </a:lnTo>
                  <a:lnTo>
                    <a:pt x="345" y="187"/>
                  </a:lnTo>
                  <a:lnTo>
                    <a:pt x="340" y="189"/>
                  </a:lnTo>
                  <a:lnTo>
                    <a:pt x="339" y="190"/>
                  </a:lnTo>
                  <a:lnTo>
                    <a:pt x="339" y="194"/>
                  </a:lnTo>
                  <a:lnTo>
                    <a:pt x="339" y="194"/>
                  </a:lnTo>
                  <a:lnTo>
                    <a:pt x="330" y="218"/>
                  </a:lnTo>
                  <a:lnTo>
                    <a:pt x="321" y="241"/>
                  </a:lnTo>
                  <a:lnTo>
                    <a:pt x="307" y="266"/>
                  </a:lnTo>
                  <a:lnTo>
                    <a:pt x="291" y="290"/>
                  </a:lnTo>
                  <a:lnTo>
                    <a:pt x="229" y="197"/>
                  </a:lnTo>
                  <a:lnTo>
                    <a:pt x="229" y="197"/>
                  </a:lnTo>
                  <a:lnTo>
                    <a:pt x="245" y="189"/>
                  </a:lnTo>
                  <a:lnTo>
                    <a:pt x="263" y="179"/>
                  </a:lnTo>
                  <a:lnTo>
                    <a:pt x="280" y="169"/>
                  </a:lnTo>
                  <a:lnTo>
                    <a:pt x="294" y="156"/>
                  </a:lnTo>
                  <a:lnTo>
                    <a:pt x="306" y="143"/>
                  </a:lnTo>
                  <a:lnTo>
                    <a:pt x="316" y="128"/>
                  </a:lnTo>
                  <a:lnTo>
                    <a:pt x="321" y="122"/>
                  </a:lnTo>
                  <a:lnTo>
                    <a:pt x="322" y="112"/>
                  </a:lnTo>
                  <a:lnTo>
                    <a:pt x="324" y="104"/>
                  </a:lnTo>
                  <a:lnTo>
                    <a:pt x="325" y="94"/>
                  </a:lnTo>
                  <a:lnTo>
                    <a:pt x="325" y="94"/>
                  </a:lnTo>
                  <a:lnTo>
                    <a:pt x="324" y="84"/>
                  </a:lnTo>
                  <a:lnTo>
                    <a:pt x="322" y="74"/>
                  </a:lnTo>
                  <a:lnTo>
                    <a:pt x="321" y="64"/>
                  </a:lnTo>
                  <a:lnTo>
                    <a:pt x="317" y="56"/>
                  </a:lnTo>
                  <a:lnTo>
                    <a:pt x="312" y="46"/>
                  </a:lnTo>
                  <a:lnTo>
                    <a:pt x="306" y="40"/>
                  </a:lnTo>
                  <a:lnTo>
                    <a:pt x="299" y="32"/>
                  </a:lnTo>
                  <a:lnTo>
                    <a:pt x="293" y="25"/>
                  </a:lnTo>
                  <a:lnTo>
                    <a:pt x="285" y="20"/>
                  </a:lnTo>
                  <a:lnTo>
                    <a:pt x="276" y="15"/>
                  </a:lnTo>
                  <a:lnTo>
                    <a:pt x="257" y="7"/>
                  </a:lnTo>
                  <a:lnTo>
                    <a:pt x="235" y="2"/>
                  </a:lnTo>
                  <a:lnTo>
                    <a:pt x="211" y="0"/>
                  </a:lnTo>
                  <a:lnTo>
                    <a:pt x="211" y="0"/>
                  </a:lnTo>
                  <a:lnTo>
                    <a:pt x="186" y="2"/>
                  </a:lnTo>
                  <a:lnTo>
                    <a:pt x="163" y="7"/>
                  </a:lnTo>
                  <a:lnTo>
                    <a:pt x="152" y="10"/>
                  </a:lnTo>
                  <a:lnTo>
                    <a:pt x="141" y="15"/>
                  </a:lnTo>
                  <a:lnTo>
                    <a:pt x="131" y="22"/>
                  </a:lnTo>
                  <a:lnTo>
                    <a:pt x="123" y="28"/>
                  </a:lnTo>
                  <a:lnTo>
                    <a:pt x="113" y="35"/>
                  </a:lnTo>
                  <a:lnTo>
                    <a:pt x="106" y="43"/>
                  </a:lnTo>
                  <a:lnTo>
                    <a:pt x="98" y="51"/>
                  </a:lnTo>
                  <a:lnTo>
                    <a:pt x="93" y="61"/>
                  </a:lnTo>
                  <a:lnTo>
                    <a:pt x="88" y="72"/>
                  </a:lnTo>
                  <a:lnTo>
                    <a:pt x="85" y="84"/>
                  </a:lnTo>
                  <a:lnTo>
                    <a:pt x="83" y="97"/>
                  </a:lnTo>
                  <a:lnTo>
                    <a:pt x="82" y="110"/>
                  </a:lnTo>
                  <a:lnTo>
                    <a:pt x="82" y="110"/>
                  </a:lnTo>
                  <a:lnTo>
                    <a:pt x="83" y="122"/>
                  </a:lnTo>
                  <a:lnTo>
                    <a:pt x="85" y="133"/>
                  </a:lnTo>
                  <a:lnTo>
                    <a:pt x="86" y="143"/>
                  </a:lnTo>
                  <a:lnTo>
                    <a:pt x="91" y="153"/>
                  </a:lnTo>
                  <a:lnTo>
                    <a:pt x="100" y="171"/>
                  </a:lnTo>
                  <a:lnTo>
                    <a:pt x="111" y="187"/>
                  </a:lnTo>
                  <a:lnTo>
                    <a:pt x="111" y="187"/>
                  </a:lnTo>
                  <a:lnTo>
                    <a:pt x="91" y="194"/>
                  </a:lnTo>
                  <a:lnTo>
                    <a:pt x="72" y="203"/>
                  </a:lnTo>
                  <a:lnTo>
                    <a:pt x="54" y="217"/>
                  </a:lnTo>
                  <a:lnTo>
                    <a:pt x="36" y="231"/>
                  </a:lnTo>
                  <a:lnTo>
                    <a:pt x="21" y="249"/>
                  </a:lnTo>
                  <a:lnTo>
                    <a:pt x="14" y="259"/>
                  </a:lnTo>
                  <a:lnTo>
                    <a:pt x="10" y="269"/>
                  </a:lnTo>
                  <a:lnTo>
                    <a:pt x="5" y="279"/>
                  </a:lnTo>
                  <a:lnTo>
                    <a:pt x="1" y="290"/>
                  </a:lnTo>
                  <a:lnTo>
                    <a:pt x="0" y="302"/>
                  </a:lnTo>
                  <a:lnTo>
                    <a:pt x="0" y="315"/>
                  </a:lnTo>
                  <a:lnTo>
                    <a:pt x="0" y="315"/>
                  </a:lnTo>
                  <a:lnTo>
                    <a:pt x="1" y="328"/>
                  </a:lnTo>
                  <a:lnTo>
                    <a:pt x="3" y="341"/>
                  </a:lnTo>
                  <a:lnTo>
                    <a:pt x="8" y="354"/>
                  </a:lnTo>
                  <a:lnTo>
                    <a:pt x="13" y="365"/>
                  </a:lnTo>
                  <a:lnTo>
                    <a:pt x="19" y="377"/>
                  </a:lnTo>
                  <a:lnTo>
                    <a:pt x="28" y="387"/>
                  </a:lnTo>
                  <a:lnTo>
                    <a:pt x="36" y="395"/>
                  </a:lnTo>
                  <a:lnTo>
                    <a:pt x="46" y="403"/>
                  </a:lnTo>
                  <a:lnTo>
                    <a:pt x="57" y="411"/>
                  </a:lnTo>
                  <a:lnTo>
                    <a:pt x="68" y="418"/>
                  </a:lnTo>
                  <a:lnTo>
                    <a:pt x="80" y="423"/>
                  </a:lnTo>
                  <a:lnTo>
                    <a:pt x="95" y="428"/>
                  </a:lnTo>
                  <a:lnTo>
                    <a:pt x="108" y="431"/>
                  </a:lnTo>
                  <a:lnTo>
                    <a:pt x="123" y="433"/>
                  </a:lnTo>
                  <a:lnTo>
                    <a:pt x="137" y="434"/>
                  </a:lnTo>
                  <a:lnTo>
                    <a:pt x="154" y="436"/>
                  </a:lnTo>
                  <a:lnTo>
                    <a:pt x="154" y="436"/>
                  </a:lnTo>
                  <a:lnTo>
                    <a:pt x="180" y="434"/>
                  </a:lnTo>
                  <a:lnTo>
                    <a:pt x="195" y="431"/>
                  </a:lnTo>
                  <a:lnTo>
                    <a:pt x="209" y="428"/>
                  </a:lnTo>
                  <a:lnTo>
                    <a:pt x="226" y="423"/>
                  </a:lnTo>
                  <a:lnTo>
                    <a:pt x="240" y="418"/>
                  </a:lnTo>
                  <a:lnTo>
                    <a:pt x="255" y="410"/>
                  </a:lnTo>
                  <a:lnTo>
                    <a:pt x="270" y="400"/>
                  </a:lnTo>
                  <a:lnTo>
                    <a:pt x="270" y="400"/>
                  </a:lnTo>
                  <a:lnTo>
                    <a:pt x="281" y="410"/>
                  </a:lnTo>
                  <a:lnTo>
                    <a:pt x="294" y="416"/>
                  </a:lnTo>
                  <a:lnTo>
                    <a:pt x="309" y="421"/>
                  </a:lnTo>
                  <a:lnTo>
                    <a:pt x="321" y="424"/>
                  </a:lnTo>
                  <a:lnTo>
                    <a:pt x="342" y="426"/>
                  </a:lnTo>
                  <a:lnTo>
                    <a:pt x="350" y="426"/>
                  </a:lnTo>
                  <a:lnTo>
                    <a:pt x="391" y="426"/>
                  </a:lnTo>
                  <a:lnTo>
                    <a:pt x="391" y="426"/>
                  </a:lnTo>
                  <a:lnTo>
                    <a:pt x="396" y="426"/>
                  </a:lnTo>
                  <a:lnTo>
                    <a:pt x="401" y="424"/>
                  </a:lnTo>
                  <a:lnTo>
                    <a:pt x="402" y="421"/>
                  </a:lnTo>
                  <a:lnTo>
                    <a:pt x="404" y="418"/>
                  </a:lnTo>
                  <a:lnTo>
                    <a:pt x="416" y="388"/>
                  </a:lnTo>
                  <a:lnTo>
                    <a:pt x="416" y="388"/>
                  </a:lnTo>
                  <a:lnTo>
                    <a:pt x="417" y="385"/>
                  </a:lnTo>
                  <a:lnTo>
                    <a:pt x="417" y="382"/>
                  </a:lnTo>
                  <a:lnTo>
                    <a:pt x="416" y="380"/>
                  </a:lnTo>
                  <a:lnTo>
                    <a:pt x="416" y="380"/>
                  </a:lnTo>
                  <a:lnTo>
                    <a:pt x="411" y="379"/>
                  </a:lnTo>
                  <a:lnTo>
                    <a:pt x="407" y="379"/>
                  </a:lnTo>
                  <a:lnTo>
                    <a:pt x="389" y="379"/>
                  </a:lnTo>
                  <a:lnTo>
                    <a:pt x="389" y="379"/>
                  </a:lnTo>
                  <a:lnTo>
                    <a:pt x="375" y="377"/>
                  </a:lnTo>
                  <a:lnTo>
                    <a:pt x="361" y="374"/>
                  </a:lnTo>
                  <a:lnTo>
                    <a:pt x="352" y="367"/>
                  </a:lnTo>
                  <a:lnTo>
                    <a:pt x="343" y="362"/>
                  </a:lnTo>
                  <a:lnTo>
                    <a:pt x="337" y="356"/>
                  </a:lnTo>
                  <a:lnTo>
                    <a:pt x="332" y="351"/>
                  </a:lnTo>
                  <a:lnTo>
                    <a:pt x="327" y="344"/>
                  </a:lnTo>
                  <a:lnTo>
                    <a:pt x="327" y="344"/>
                  </a:lnTo>
                  <a:lnTo>
                    <a:pt x="343" y="328"/>
                  </a:lnTo>
                  <a:lnTo>
                    <a:pt x="355" y="316"/>
                  </a:lnTo>
                  <a:lnTo>
                    <a:pt x="375" y="289"/>
                  </a:lnTo>
                  <a:lnTo>
                    <a:pt x="375" y="289"/>
                  </a:lnTo>
                  <a:lnTo>
                    <a:pt x="391" y="264"/>
                  </a:lnTo>
                  <a:lnTo>
                    <a:pt x="399" y="249"/>
                  </a:lnTo>
                  <a:lnTo>
                    <a:pt x="399" y="249"/>
                  </a:lnTo>
                  <a:lnTo>
                    <a:pt x="404" y="243"/>
                  </a:lnTo>
                  <a:lnTo>
                    <a:pt x="409" y="238"/>
                  </a:lnTo>
                  <a:lnTo>
                    <a:pt x="414" y="235"/>
                  </a:lnTo>
                  <a:lnTo>
                    <a:pt x="420" y="233"/>
                  </a:lnTo>
                  <a:lnTo>
                    <a:pt x="435" y="233"/>
                  </a:lnTo>
                  <a:lnTo>
                    <a:pt x="435" y="233"/>
                  </a:lnTo>
                  <a:lnTo>
                    <a:pt x="438" y="233"/>
                  </a:lnTo>
                  <a:lnTo>
                    <a:pt x="442" y="231"/>
                  </a:lnTo>
                  <a:lnTo>
                    <a:pt x="445" y="228"/>
                  </a:lnTo>
                  <a:lnTo>
                    <a:pt x="447" y="225"/>
                  </a:lnTo>
                  <a:lnTo>
                    <a:pt x="460" y="197"/>
                  </a:lnTo>
                  <a:lnTo>
                    <a:pt x="460" y="197"/>
                  </a:lnTo>
                  <a:lnTo>
                    <a:pt x="461" y="190"/>
                  </a:lnTo>
                  <a:lnTo>
                    <a:pt x="460" y="187"/>
                  </a:lnTo>
                  <a:lnTo>
                    <a:pt x="455" y="187"/>
                  </a:lnTo>
                  <a:lnTo>
                    <a:pt x="452" y="187"/>
                  </a:lnTo>
                  <a:lnTo>
                    <a:pt x="452" y="187"/>
                  </a:lnTo>
                  <a:close/>
                  <a:moveTo>
                    <a:pt x="209" y="40"/>
                  </a:moveTo>
                  <a:lnTo>
                    <a:pt x="209" y="40"/>
                  </a:lnTo>
                  <a:lnTo>
                    <a:pt x="217" y="40"/>
                  </a:lnTo>
                  <a:lnTo>
                    <a:pt x="226" y="43"/>
                  </a:lnTo>
                  <a:lnTo>
                    <a:pt x="232" y="48"/>
                  </a:lnTo>
                  <a:lnTo>
                    <a:pt x="237" y="53"/>
                  </a:lnTo>
                  <a:lnTo>
                    <a:pt x="240" y="59"/>
                  </a:lnTo>
                  <a:lnTo>
                    <a:pt x="244" y="68"/>
                  </a:lnTo>
                  <a:lnTo>
                    <a:pt x="244" y="76"/>
                  </a:lnTo>
                  <a:lnTo>
                    <a:pt x="245" y="84"/>
                  </a:lnTo>
                  <a:lnTo>
                    <a:pt x="245" y="84"/>
                  </a:lnTo>
                  <a:lnTo>
                    <a:pt x="244" y="95"/>
                  </a:lnTo>
                  <a:lnTo>
                    <a:pt x="242" y="107"/>
                  </a:lnTo>
                  <a:lnTo>
                    <a:pt x="239" y="117"/>
                  </a:lnTo>
                  <a:lnTo>
                    <a:pt x="234" y="127"/>
                  </a:lnTo>
                  <a:lnTo>
                    <a:pt x="226" y="135"/>
                  </a:lnTo>
                  <a:lnTo>
                    <a:pt x="217" y="143"/>
                  </a:lnTo>
                  <a:lnTo>
                    <a:pt x="208" y="151"/>
                  </a:lnTo>
                  <a:lnTo>
                    <a:pt x="196" y="158"/>
                  </a:lnTo>
                  <a:lnTo>
                    <a:pt x="196" y="158"/>
                  </a:lnTo>
                  <a:lnTo>
                    <a:pt x="185" y="138"/>
                  </a:lnTo>
                  <a:lnTo>
                    <a:pt x="177" y="122"/>
                  </a:lnTo>
                  <a:lnTo>
                    <a:pt x="172" y="104"/>
                  </a:lnTo>
                  <a:lnTo>
                    <a:pt x="170" y="84"/>
                  </a:lnTo>
                  <a:lnTo>
                    <a:pt x="170" y="84"/>
                  </a:lnTo>
                  <a:lnTo>
                    <a:pt x="170" y="76"/>
                  </a:lnTo>
                  <a:lnTo>
                    <a:pt x="172" y="68"/>
                  </a:lnTo>
                  <a:lnTo>
                    <a:pt x="175" y="59"/>
                  </a:lnTo>
                  <a:lnTo>
                    <a:pt x="180" y="53"/>
                  </a:lnTo>
                  <a:lnTo>
                    <a:pt x="186" y="48"/>
                  </a:lnTo>
                  <a:lnTo>
                    <a:pt x="193" y="43"/>
                  </a:lnTo>
                  <a:lnTo>
                    <a:pt x="201" y="40"/>
                  </a:lnTo>
                  <a:lnTo>
                    <a:pt x="209" y="40"/>
                  </a:lnTo>
                  <a:lnTo>
                    <a:pt x="209" y="40"/>
                  </a:lnTo>
                  <a:close/>
                  <a:moveTo>
                    <a:pt x="167" y="388"/>
                  </a:moveTo>
                  <a:lnTo>
                    <a:pt x="167" y="388"/>
                  </a:lnTo>
                  <a:lnTo>
                    <a:pt x="150" y="387"/>
                  </a:lnTo>
                  <a:lnTo>
                    <a:pt x="136" y="383"/>
                  </a:lnTo>
                  <a:lnTo>
                    <a:pt x="123" y="377"/>
                  </a:lnTo>
                  <a:lnTo>
                    <a:pt x="113" y="367"/>
                  </a:lnTo>
                  <a:lnTo>
                    <a:pt x="103" y="357"/>
                  </a:lnTo>
                  <a:lnTo>
                    <a:pt x="96" y="343"/>
                  </a:lnTo>
                  <a:lnTo>
                    <a:pt x="93" y="328"/>
                  </a:lnTo>
                  <a:lnTo>
                    <a:pt x="91" y="310"/>
                  </a:lnTo>
                  <a:lnTo>
                    <a:pt x="91" y="310"/>
                  </a:lnTo>
                  <a:lnTo>
                    <a:pt x="93" y="298"/>
                  </a:lnTo>
                  <a:lnTo>
                    <a:pt x="95" y="287"/>
                  </a:lnTo>
                  <a:lnTo>
                    <a:pt x="100" y="275"/>
                  </a:lnTo>
                  <a:lnTo>
                    <a:pt x="104" y="264"/>
                  </a:lnTo>
                  <a:lnTo>
                    <a:pt x="111" y="253"/>
                  </a:lnTo>
                  <a:lnTo>
                    <a:pt x="119" y="244"/>
                  </a:lnTo>
                  <a:lnTo>
                    <a:pt x="127" y="235"/>
                  </a:lnTo>
                  <a:lnTo>
                    <a:pt x="137" y="228"/>
                  </a:lnTo>
                  <a:lnTo>
                    <a:pt x="231" y="357"/>
                  </a:lnTo>
                  <a:lnTo>
                    <a:pt x="231" y="357"/>
                  </a:lnTo>
                  <a:lnTo>
                    <a:pt x="217" y="369"/>
                  </a:lnTo>
                  <a:lnTo>
                    <a:pt x="203" y="380"/>
                  </a:lnTo>
                  <a:lnTo>
                    <a:pt x="195" y="383"/>
                  </a:lnTo>
                  <a:lnTo>
                    <a:pt x="186" y="387"/>
                  </a:lnTo>
                  <a:lnTo>
                    <a:pt x="177" y="388"/>
                  </a:lnTo>
                  <a:lnTo>
                    <a:pt x="167" y="388"/>
                  </a:lnTo>
                  <a:lnTo>
                    <a:pt x="167"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7" name="Freeform 21"/>
            <p:cNvSpPr>
              <a:spLocks noEditPoints="1"/>
            </p:cNvSpPr>
            <p:nvPr/>
          </p:nvSpPr>
          <p:spPr bwMode="auto">
            <a:xfrm>
              <a:off x="8136319" y="5909749"/>
              <a:ext cx="269362" cy="266388"/>
            </a:xfrm>
            <a:custGeom>
              <a:avLst/>
              <a:gdLst>
                <a:gd name="T0" fmla="*/ 878 w 905"/>
                <a:gd name="T1" fmla="*/ 818 h 895"/>
                <a:gd name="T2" fmla="*/ 865 w 905"/>
                <a:gd name="T3" fmla="*/ 818 h 895"/>
                <a:gd name="T4" fmla="*/ 845 w 905"/>
                <a:gd name="T5" fmla="*/ 813 h 895"/>
                <a:gd name="T6" fmla="*/ 830 w 905"/>
                <a:gd name="T7" fmla="*/ 803 h 895"/>
                <a:gd name="T8" fmla="*/ 820 w 905"/>
                <a:gd name="T9" fmla="*/ 787 h 895"/>
                <a:gd name="T10" fmla="*/ 817 w 905"/>
                <a:gd name="T11" fmla="*/ 776 h 895"/>
                <a:gd name="T12" fmla="*/ 549 w 905"/>
                <a:gd name="T13" fmla="*/ 11 h 895"/>
                <a:gd name="T14" fmla="*/ 542 w 905"/>
                <a:gd name="T15" fmla="*/ 3 h 895"/>
                <a:gd name="T16" fmla="*/ 532 w 905"/>
                <a:gd name="T17" fmla="*/ 0 h 895"/>
                <a:gd name="T18" fmla="*/ 429 w 905"/>
                <a:gd name="T19" fmla="*/ 0 h 895"/>
                <a:gd name="T20" fmla="*/ 419 w 905"/>
                <a:gd name="T21" fmla="*/ 3 h 895"/>
                <a:gd name="T22" fmla="*/ 413 w 905"/>
                <a:gd name="T23" fmla="*/ 11 h 895"/>
                <a:gd name="T24" fmla="*/ 92 w 905"/>
                <a:gd name="T25" fmla="*/ 779 h 895"/>
                <a:gd name="T26" fmla="*/ 80 w 905"/>
                <a:gd name="T27" fmla="*/ 798 h 895"/>
                <a:gd name="T28" fmla="*/ 64 w 905"/>
                <a:gd name="T29" fmla="*/ 812 h 895"/>
                <a:gd name="T30" fmla="*/ 51 w 905"/>
                <a:gd name="T31" fmla="*/ 816 h 895"/>
                <a:gd name="T32" fmla="*/ 21 w 905"/>
                <a:gd name="T33" fmla="*/ 818 h 895"/>
                <a:gd name="T34" fmla="*/ 13 w 905"/>
                <a:gd name="T35" fmla="*/ 818 h 895"/>
                <a:gd name="T36" fmla="*/ 3 w 905"/>
                <a:gd name="T37" fmla="*/ 823 h 895"/>
                <a:gd name="T38" fmla="*/ 0 w 905"/>
                <a:gd name="T39" fmla="*/ 831 h 895"/>
                <a:gd name="T40" fmla="*/ 0 w 905"/>
                <a:gd name="T41" fmla="*/ 882 h 895"/>
                <a:gd name="T42" fmla="*/ 3 w 905"/>
                <a:gd name="T43" fmla="*/ 892 h 895"/>
                <a:gd name="T44" fmla="*/ 13 w 905"/>
                <a:gd name="T45" fmla="*/ 895 h 895"/>
                <a:gd name="T46" fmla="*/ 264 w 905"/>
                <a:gd name="T47" fmla="*/ 895 h 895"/>
                <a:gd name="T48" fmla="*/ 274 w 905"/>
                <a:gd name="T49" fmla="*/ 890 h 895"/>
                <a:gd name="T50" fmla="*/ 277 w 905"/>
                <a:gd name="T51" fmla="*/ 882 h 895"/>
                <a:gd name="T52" fmla="*/ 277 w 905"/>
                <a:gd name="T53" fmla="*/ 831 h 895"/>
                <a:gd name="T54" fmla="*/ 274 w 905"/>
                <a:gd name="T55" fmla="*/ 821 h 895"/>
                <a:gd name="T56" fmla="*/ 264 w 905"/>
                <a:gd name="T57" fmla="*/ 818 h 895"/>
                <a:gd name="T58" fmla="*/ 236 w 905"/>
                <a:gd name="T59" fmla="*/ 818 h 895"/>
                <a:gd name="T60" fmla="*/ 211 w 905"/>
                <a:gd name="T61" fmla="*/ 816 h 895"/>
                <a:gd name="T62" fmla="*/ 198 w 905"/>
                <a:gd name="T63" fmla="*/ 812 h 895"/>
                <a:gd name="T64" fmla="*/ 190 w 905"/>
                <a:gd name="T65" fmla="*/ 800 h 895"/>
                <a:gd name="T66" fmla="*/ 188 w 905"/>
                <a:gd name="T67" fmla="*/ 792 h 895"/>
                <a:gd name="T68" fmla="*/ 197 w 905"/>
                <a:gd name="T69" fmla="*/ 762 h 895"/>
                <a:gd name="T70" fmla="*/ 537 w 905"/>
                <a:gd name="T71" fmla="*/ 641 h 895"/>
                <a:gd name="T72" fmla="*/ 560 w 905"/>
                <a:gd name="T73" fmla="*/ 710 h 895"/>
                <a:gd name="T74" fmla="*/ 573 w 905"/>
                <a:gd name="T75" fmla="*/ 749 h 895"/>
                <a:gd name="T76" fmla="*/ 583 w 905"/>
                <a:gd name="T77" fmla="*/ 782 h 895"/>
                <a:gd name="T78" fmla="*/ 585 w 905"/>
                <a:gd name="T79" fmla="*/ 795 h 895"/>
                <a:gd name="T80" fmla="*/ 583 w 905"/>
                <a:gd name="T81" fmla="*/ 803 h 895"/>
                <a:gd name="T82" fmla="*/ 578 w 905"/>
                <a:gd name="T83" fmla="*/ 810 h 895"/>
                <a:gd name="T84" fmla="*/ 568 w 905"/>
                <a:gd name="T85" fmla="*/ 816 h 895"/>
                <a:gd name="T86" fmla="*/ 553 w 905"/>
                <a:gd name="T87" fmla="*/ 818 h 895"/>
                <a:gd name="T88" fmla="*/ 524 w 905"/>
                <a:gd name="T89" fmla="*/ 818 h 895"/>
                <a:gd name="T90" fmla="*/ 514 w 905"/>
                <a:gd name="T91" fmla="*/ 823 h 895"/>
                <a:gd name="T92" fmla="*/ 511 w 905"/>
                <a:gd name="T93" fmla="*/ 831 h 895"/>
                <a:gd name="T94" fmla="*/ 511 w 905"/>
                <a:gd name="T95" fmla="*/ 882 h 895"/>
                <a:gd name="T96" fmla="*/ 514 w 905"/>
                <a:gd name="T97" fmla="*/ 890 h 895"/>
                <a:gd name="T98" fmla="*/ 524 w 905"/>
                <a:gd name="T99" fmla="*/ 895 h 895"/>
                <a:gd name="T100" fmla="*/ 892 w 905"/>
                <a:gd name="T101" fmla="*/ 895 h 895"/>
                <a:gd name="T102" fmla="*/ 902 w 905"/>
                <a:gd name="T103" fmla="*/ 892 h 895"/>
                <a:gd name="T104" fmla="*/ 905 w 905"/>
                <a:gd name="T105" fmla="*/ 882 h 895"/>
                <a:gd name="T106" fmla="*/ 905 w 905"/>
                <a:gd name="T107" fmla="*/ 831 h 895"/>
                <a:gd name="T108" fmla="*/ 902 w 905"/>
                <a:gd name="T109" fmla="*/ 823 h 895"/>
                <a:gd name="T110" fmla="*/ 892 w 905"/>
                <a:gd name="T111" fmla="*/ 818 h 895"/>
                <a:gd name="T112" fmla="*/ 272 w 905"/>
                <a:gd name="T113" fmla="*/ 573 h 895"/>
                <a:gd name="T114" fmla="*/ 517 w 905"/>
                <a:gd name="T115" fmla="*/ 573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95">
                  <a:moveTo>
                    <a:pt x="892" y="818"/>
                  </a:moveTo>
                  <a:lnTo>
                    <a:pt x="878" y="818"/>
                  </a:lnTo>
                  <a:lnTo>
                    <a:pt x="878" y="818"/>
                  </a:lnTo>
                  <a:lnTo>
                    <a:pt x="865" y="818"/>
                  </a:lnTo>
                  <a:lnTo>
                    <a:pt x="853" y="816"/>
                  </a:lnTo>
                  <a:lnTo>
                    <a:pt x="845" y="813"/>
                  </a:lnTo>
                  <a:lnTo>
                    <a:pt x="837" y="810"/>
                  </a:lnTo>
                  <a:lnTo>
                    <a:pt x="830" y="803"/>
                  </a:lnTo>
                  <a:lnTo>
                    <a:pt x="825" y="795"/>
                  </a:lnTo>
                  <a:lnTo>
                    <a:pt x="820" y="787"/>
                  </a:lnTo>
                  <a:lnTo>
                    <a:pt x="817" y="776"/>
                  </a:lnTo>
                  <a:lnTo>
                    <a:pt x="817" y="776"/>
                  </a:lnTo>
                  <a:lnTo>
                    <a:pt x="549" y="11"/>
                  </a:lnTo>
                  <a:lnTo>
                    <a:pt x="549" y="11"/>
                  </a:lnTo>
                  <a:lnTo>
                    <a:pt x="547" y="6"/>
                  </a:lnTo>
                  <a:lnTo>
                    <a:pt x="542" y="3"/>
                  </a:lnTo>
                  <a:lnTo>
                    <a:pt x="537" y="1"/>
                  </a:lnTo>
                  <a:lnTo>
                    <a:pt x="532" y="0"/>
                  </a:lnTo>
                  <a:lnTo>
                    <a:pt x="429" y="0"/>
                  </a:lnTo>
                  <a:lnTo>
                    <a:pt x="429" y="0"/>
                  </a:lnTo>
                  <a:lnTo>
                    <a:pt x="424" y="1"/>
                  </a:lnTo>
                  <a:lnTo>
                    <a:pt x="419" y="3"/>
                  </a:lnTo>
                  <a:lnTo>
                    <a:pt x="416" y="6"/>
                  </a:lnTo>
                  <a:lnTo>
                    <a:pt x="413" y="11"/>
                  </a:lnTo>
                  <a:lnTo>
                    <a:pt x="92" y="779"/>
                  </a:lnTo>
                  <a:lnTo>
                    <a:pt x="92" y="779"/>
                  </a:lnTo>
                  <a:lnTo>
                    <a:pt x="87" y="790"/>
                  </a:lnTo>
                  <a:lnTo>
                    <a:pt x="80" y="798"/>
                  </a:lnTo>
                  <a:lnTo>
                    <a:pt x="74" y="805"/>
                  </a:lnTo>
                  <a:lnTo>
                    <a:pt x="64" y="812"/>
                  </a:lnTo>
                  <a:lnTo>
                    <a:pt x="64" y="812"/>
                  </a:lnTo>
                  <a:lnTo>
                    <a:pt x="51" y="816"/>
                  </a:lnTo>
                  <a:lnTo>
                    <a:pt x="38" y="818"/>
                  </a:lnTo>
                  <a:lnTo>
                    <a:pt x="21" y="818"/>
                  </a:lnTo>
                  <a:lnTo>
                    <a:pt x="13" y="818"/>
                  </a:lnTo>
                  <a:lnTo>
                    <a:pt x="13" y="818"/>
                  </a:lnTo>
                  <a:lnTo>
                    <a:pt x="8" y="820"/>
                  </a:lnTo>
                  <a:lnTo>
                    <a:pt x="3" y="823"/>
                  </a:lnTo>
                  <a:lnTo>
                    <a:pt x="2" y="826"/>
                  </a:lnTo>
                  <a:lnTo>
                    <a:pt x="0" y="831"/>
                  </a:lnTo>
                  <a:lnTo>
                    <a:pt x="0" y="882"/>
                  </a:lnTo>
                  <a:lnTo>
                    <a:pt x="0" y="882"/>
                  </a:lnTo>
                  <a:lnTo>
                    <a:pt x="2" y="887"/>
                  </a:lnTo>
                  <a:lnTo>
                    <a:pt x="3" y="892"/>
                  </a:lnTo>
                  <a:lnTo>
                    <a:pt x="8" y="893"/>
                  </a:lnTo>
                  <a:lnTo>
                    <a:pt x="13" y="895"/>
                  </a:lnTo>
                  <a:lnTo>
                    <a:pt x="264" y="895"/>
                  </a:lnTo>
                  <a:lnTo>
                    <a:pt x="264" y="895"/>
                  </a:lnTo>
                  <a:lnTo>
                    <a:pt x="269" y="893"/>
                  </a:lnTo>
                  <a:lnTo>
                    <a:pt x="274" y="890"/>
                  </a:lnTo>
                  <a:lnTo>
                    <a:pt x="275" y="887"/>
                  </a:lnTo>
                  <a:lnTo>
                    <a:pt x="277" y="882"/>
                  </a:lnTo>
                  <a:lnTo>
                    <a:pt x="277" y="831"/>
                  </a:lnTo>
                  <a:lnTo>
                    <a:pt x="277" y="831"/>
                  </a:lnTo>
                  <a:lnTo>
                    <a:pt x="275" y="826"/>
                  </a:lnTo>
                  <a:lnTo>
                    <a:pt x="274" y="821"/>
                  </a:lnTo>
                  <a:lnTo>
                    <a:pt x="269" y="820"/>
                  </a:lnTo>
                  <a:lnTo>
                    <a:pt x="264" y="818"/>
                  </a:lnTo>
                  <a:lnTo>
                    <a:pt x="236" y="818"/>
                  </a:lnTo>
                  <a:lnTo>
                    <a:pt x="236" y="818"/>
                  </a:lnTo>
                  <a:lnTo>
                    <a:pt x="218" y="818"/>
                  </a:lnTo>
                  <a:lnTo>
                    <a:pt x="211" y="816"/>
                  </a:lnTo>
                  <a:lnTo>
                    <a:pt x="203" y="815"/>
                  </a:lnTo>
                  <a:lnTo>
                    <a:pt x="198" y="812"/>
                  </a:lnTo>
                  <a:lnTo>
                    <a:pt x="193" y="807"/>
                  </a:lnTo>
                  <a:lnTo>
                    <a:pt x="190" y="800"/>
                  </a:lnTo>
                  <a:lnTo>
                    <a:pt x="188" y="792"/>
                  </a:lnTo>
                  <a:lnTo>
                    <a:pt x="188" y="792"/>
                  </a:lnTo>
                  <a:lnTo>
                    <a:pt x="190" y="779"/>
                  </a:lnTo>
                  <a:lnTo>
                    <a:pt x="197" y="762"/>
                  </a:lnTo>
                  <a:lnTo>
                    <a:pt x="246" y="641"/>
                  </a:lnTo>
                  <a:lnTo>
                    <a:pt x="537" y="641"/>
                  </a:lnTo>
                  <a:lnTo>
                    <a:pt x="537" y="641"/>
                  </a:lnTo>
                  <a:lnTo>
                    <a:pt x="560" y="710"/>
                  </a:lnTo>
                  <a:lnTo>
                    <a:pt x="573" y="749"/>
                  </a:lnTo>
                  <a:lnTo>
                    <a:pt x="573" y="749"/>
                  </a:lnTo>
                  <a:lnTo>
                    <a:pt x="583" y="782"/>
                  </a:lnTo>
                  <a:lnTo>
                    <a:pt x="583" y="782"/>
                  </a:lnTo>
                  <a:lnTo>
                    <a:pt x="583" y="789"/>
                  </a:lnTo>
                  <a:lnTo>
                    <a:pt x="585" y="795"/>
                  </a:lnTo>
                  <a:lnTo>
                    <a:pt x="585" y="795"/>
                  </a:lnTo>
                  <a:lnTo>
                    <a:pt x="583" y="803"/>
                  </a:lnTo>
                  <a:lnTo>
                    <a:pt x="581" y="807"/>
                  </a:lnTo>
                  <a:lnTo>
                    <a:pt x="578" y="810"/>
                  </a:lnTo>
                  <a:lnTo>
                    <a:pt x="575" y="813"/>
                  </a:lnTo>
                  <a:lnTo>
                    <a:pt x="568" y="816"/>
                  </a:lnTo>
                  <a:lnTo>
                    <a:pt x="562" y="818"/>
                  </a:lnTo>
                  <a:lnTo>
                    <a:pt x="553" y="818"/>
                  </a:lnTo>
                  <a:lnTo>
                    <a:pt x="524" y="818"/>
                  </a:lnTo>
                  <a:lnTo>
                    <a:pt x="524" y="818"/>
                  </a:lnTo>
                  <a:lnTo>
                    <a:pt x="517" y="820"/>
                  </a:lnTo>
                  <a:lnTo>
                    <a:pt x="514" y="823"/>
                  </a:lnTo>
                  <a:lnTo>
                    <a:pt x="511" y="826"/>
                  </a:lnTo>
                  <a:lnTo>
                    <a:pt x="511" y="831"/>
                  </a:lnTo>
                  <a:lnTo>
                    <a:pt x="511" y="882"/>
                  </a:lnTo>
                  <a:lnTo>
                    <a:pt x="511" y="882"/>
                  </a:lnTo>
                  <a:lnTo>
                    <a:pt x="511" y="887"/>
                  </a:lnTo>
                  <a:lnTo>
                    <a:pt x="514" y="890"/>
                  </a:lnTo>
                  <a:lnTo>
                    <a:pt x="517" y="893"/>
                  </a:lnTo>
                  <a:lnTo>
                    <a:pt x="524" y="895"/>
                  </a:lnTo>
                  <a:lnTo>
                    <a:pt x="892" y="895"/>
                  </a:lnTo>
                  <a:lnTo>
                    <a:pt x="892" y="895"/>
                  </a:lnTo>
                  <a:lnTo>
                    <a:pt x="897" y="893"/>
                  </a:lnTo>
                  <a:lnTo>
                    <a:pt x="902" y="892"/>
                  </a:lnTo>
                  <a:lnTo>
                    <a:pt x="905" y="887"/>
                  </a:lnTo>
                  <a:lnTo>
                    <a:pt x="905" y="882"/>
                  </a:lnTo>
                  <a:lnTo>
                    <a:pt x="905" y="831"/>
                  </a:lnTo>
                  <a:lnTo>
                    <a:pt x="905" y="831"/>
                  </a:lnTo>
                  <a:lnTo>
                    <a:pt x="905" y="826"/>
                  </a:lnTo>
                  <a:lnTo>
                    <a:pt x="902" y="823"/>
                  </a:lnTo>
                  <a:lnTo>
                    <a:pt x="897" y="820"/>
                  </a:lnTo>
                  <a:lnTo>
                    <a:pt x="892" y="818"/>
                  </a:lnTo>
                  <a:lnTo>
                    <a:pt x="892" y="818"/>
                  </a:lnTo>
                  <a:close/>
                  <a:moveTo>
                    <a:pt x="272" y="573"/>
                  </a:moveTo>
                  <a:lnTo>
                    <a:pt x="413" y="226"/>
                  </a:lnTo>
                  <a:lnTo>
                    <a:pt x="517" y="573"/>
                  </a:lnTo>
                  <a:lnTo>
                    <a:pt x="272" y="5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grpSp>
      <p:sp>
        <p:nvSpPr>
          <p:cNvPr id="4" name="Datumsplatzhalter 3"/>
          <p:cNvSpPr>
            <a:spLocks noGrp="1"/>
          </p:cNvSpPr>
          <p:nvPr>
            <p:ph type="dt" sz="half" idx="14"/>
          </p:nvPr>
        </p:nvSpPr>
        <p:spPr>
          <a:xfrm>
            <a:off x="747184" y="6597536"/>
            <a:ext cx="1057790" cy="139590"/>
          </a:xfrm>
        </p:spPr>
        <p:txBody>
          <a:bodyPr/>
          <a:lstStyle/>
          <a:p>
            <a:fld id="{E3BDED9A-B086-4E73-ABA8-EF8BF3D09BFD}" type="datetime4">
              <a:rPr lang="en-GB" smtClean="0"/>
              <a:t>15 February 2024</a:t>
            </a:fld>
            <a:endParaRPr lang="en-GB"/>
          </a:p>
        </p:txBody>
      </p:sp>
      <p:cxnSp>
        <p:nvCxnSpPr>
          <p:cNvPr id="19" name="Gerade Verbindung 18"/>
          <p:cNvCxnSpPr/>
          <p:nvPr userDrawn="1"/>
        </p:nvCxnSpPr>
        <p:spPr>
          <a:xfrm>
            <a:off x="632870" y="6617659"/>
            <a:ext cx="0" cy="993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Foliennummernplatzhalter 5"/>
          <p:cNvSpPr txBox="1">
            <a:spLocks/>
          </p:cNvSpPr>
          <p:nvPr userDrawn="1"/>
        </p:nvSpPr>
        <p:spPr>
          <a:xfrm>
            <a:off x="331601" y="6597536"/>
            <a:ext cx="210955" cy="139590"/>
          </a:xfrm>
          <a:prstGeom prst="rect">
            <a:avLst/>
          </a:prstGeom>
        </p:spPr>
        <p:txBody>
          <a:bodyPr vert="horz" wrap="none" lIns="0" tIns="0" rIns="0" bIns="0" rtlCol="0" anchor="ctr" anchorCtr="0">
            <a:spAutoFit/>
          </a:bodyPr>
          <a:lstStyle>
            <a:defPPr>
              <a:defRPr lang="de-DE"/>
            </a:defPPr>
            <a:lvl1pPr marL="0" algn="l" defTabSz="1043056" rtl="0" eaLnBrk="1" latinLnBrk="0" hangingPunct="1">
              <a:defRPr lang="de-AT" sz="1000" b="0" kern="1200" spc="190" baseline="0" smtClean="0">
                <a:solidFill>
                  <a:schemeClr val="tx1"/>
                </a:solidFill>
                <a:latin typeface="CA Sans" pitchFamily="50" charset="0"/>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fld id="{30272582-AA89-4A5B-9BA7-B311A460C225}" type="slidenum">
              <a:rPr lang="en-GB" sz="907" smtClean="0"/>
              <a:pPr algn="r"/>
              <a:t>‹#›</a:t>
            </a:fld>
            <a:endParaRPr lang="en-GB" sz="907"/>
          </a:p>
        </p:txBody>
      </p:sp>
      <p:sp>
        <p:nvSpPr>
          <p:cNvPr id="22" name="Inhaltsplatzhalter 5"/>
          <p:cNvSpPr>
            <a:spLocks noGrp="1"/>
          </p:cNvSpPr>
          <p:nvPr>
            <p:ph sz="quarter" idx="16" hasCustomPrompt="1"/>
          </p:nvPr>
        </p:nvSpPr>
        <p:spPr>
          <a:xfrm>
            <a:off x="259912" y="1895563"/>
            <a:ext cx="11665026" cy="1512273"/>
          </a:xfrm>
        </p:spPr>
        <p:txBody>
          <a:bodyPr/>
          <a:lstStyle/>
          <a:p>
            <a:pPr lvl="0"/>
            <a:r>
              <a:rPr lang="en-GB" noProof="0" err="1"/>
              <a:t>Bodytext</a:t>
            </a:r>
            <a:r>
              <a:rPr lang="en-GB" noProof="0"/>
              <a:t> heading</a:t>
            </a:r>
          </a:p>
          <a:p>
            <a:pPr lvl="1"/>
            <a:r>
              <a:rPr lang="en-GB" noProof="0" err="1"/>
              <a:t>Bodytext</a:t>
            </a:r>
            <a:r>
              <a:rPr lang="en-GB" noProof="0"/>
              <a:t> 2</a:t>
            </a:r>
          </a:p>
          <a:p>
            <a:pPr lvl="2"/>
            <a:r>
              <a:rPr lang="en-GB" noProof="0" err="1"/>
              <a:t>Bodytext</a:t>
            </a:r>
            <a:r>
              <a:rPr lang="en-GB" noProof="0"/>
              <a:t> 3</a:t>
            </a:r>
          </a:p>
          <a:p>
            <a:pPr lvl="3"/>
            <a:r>
              <a:rPr lang="en-GB" noProof="0" err="1"/>
              <a:t>Bodytext</a:t>
            </a:r>
            <a:r>
              <a:rPr lang="en-GB" noProof="0"/>
              <a:t> 4</a:t>
            </a:r>
          </a:p>
          <a:p>
            <a:pPr lvl="4"/>
            <a:r>
              <a:rPr lang="en-GB" noProof="0" err="1"/>
              <a:t>Bodytext</a:t>
            </a:r>
            <a:r>
              <a:rPr lang="en-GB" noProof="0"/>
              <a:t> 5</a:t>
            </a:r>
          </a:p>
        </p:txBody>
      </p:sp>
      <p:sp>
        <p:nvSpPr>
          <p:cNvPr id="20" name="Inhaltsplatzhalter 5"/>
          <p:cNvSpPr>
            <a:spLocks noGrp="1"/>
          </p:cNvSpPr>
          <p:nvPr>
            <p:ph sz="quarter" idx="17" hasCustomPrompt="1"/>
          </p:nvPr>
        </p:nvSpPr>
        <p:spPr>
          <a:xfrm>
            <a:off x="259912" y="1432652"/>
            <a:ext cx="11665026" cy="251236"/>
          </a:xfrm>
        </p:spPr>
        <p:txBody>
          <a:bodyPr/>
          <a:lstStyle>
            <a:lvl1pPr marL="0" indent="0">
              <a:buNone/>
              <a:defRPr>
                <a:solidFill>
                  <a:schemeClr val="tx2"/>
                </a:solidFill>
              </a:defRPr>
            </a:lvl1pPr>
          </a:lstStyle>
          <a:p>
            <a:pPr lvl="0"/>
            <a:r>
              <a:rPr lang="en-GB" err="1"/>
              <a:t>Subheadline</a:t>
            </a:r>
            <a:endParaRPr lang="en-GB"/>
          </a:p>
        </p:txBody>
      </p:sp>
      <p:sp>
        <p:nvSpPr>
          <p:cNvPr id="21" name="Inhaltsplatzhalter 2"/>
          <p:cNvSpPr>
            <a:spLocks noGrp="1"/>
          </p:cNvSpPr>
          <p:nvPr>
            <p:ph idx="18" hasCustomPrompt="1"/>
          </p:nvPr>
        </p:nvSpPr>
        <p:spPr>
          <a:xfrm>
            <a:off x="259913" y="6191440"/>
            <a:ext cx="11666021" cy="139575"/>
          </a:xfrm>
        </p:spPr>
        <p:txBody>
          <a:bodyPr anchor="b"/>
          <a:lstStyle>
            <a:lvl1pPr marL="0" indent="0">
              <a:buNone/>
              <a:defRPr sz="907">
                <a:latin typeface="+mn-lt"/>
              </a:defRPr>
            </a:lvl1pPr>
            <a:lvl2pPr>
              <a:defRPr sz="907">
                <a:latin typeface="+mn-lt"/>
              </a:defRPr>
            </a:lvl2pPr>
            <a:lvl3pPr>
              <a:defRPr sz="907">
                <a:latin typeface="+mn-lt"/>
              </a:defRPr>
            </a:lvl3pPr>
            <a:lvl4pPr>
              <a:defRPr sz="907">
                <a:latin typeface="+mn-lt"/>
              </a:defRPr>
            </a:lvl4pPr>
            <a:lvl5pPr>
              <a:defRPr sz="907">
                <a:latin typeface="+mn-lt"/>
              </a:defRPr>
            </a:lvl5pPr>
          </a:lstStyle>
          <a:p>
            <a:pPr lvl="0"/>
            <a:r>
              <a:rPr lang="en-GB"/>
              <a:t>Footnotes and Sources</a:t>
            </a:r>
          </a:p>
        </p:txBody>
      </p:sp>
    </p:spTree>
    <p:extLst>
      <p:ext uri="{BB962C8B-B14F-4D97-AF65-F5344CB8AC3E}">
        <p14:creationId xmlns:p14="http://schemas.microsoft.com/office/powerpoint/2010/main" val="35997146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w/o subheadlin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803076614"/>
              </p:ext>
            </p:extLst>
          </p:nvPr>
        </p:nvGraphicFramePr>
        <p:xfrm>
          <a:off x="1812" y="1443"/>
          <a:ext cx="1809" cy="143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kt 7" hidden="1"/>
                      <p:cNvPicPr/>
                      <p:nvPr/>
                    </p:nvPicPr>
                    <p:blipFill>
                      <a:blip r:embed="rId4"/>
                      <a:stretch>
                        <a:fillRect/>
                      </a:stretch>
                    </p:blipFill>
                    <p:spPr>
                      <a:xfrm>
                        <a:off x="1812" y="1443"/>
                        <a:ext cx="1809" cy="1439"/>
                      </a:xfrm>
                      <a:prstGeom prst="rect">
                        <a:avLst/>
                      </a:prstGeom>
                    </p:spPr>
                  </p:pic>
                </p:oleObj>
              </mc:Fallback>
            </mc:AlternateContent>
          </a:graphicData>
        </a:graphic>
      </p:graphicFrame>
      <p:sp>
        <p:nvSpPr>
          <p:cNvPr id="7" name="Rechteck 6"/>
          <p:cNvSpPr/>
          <p:nvPr userDrawn="1"/>
        </p:nvSpPr>
        <p:spPr>
          <a:xfrm>
            <a:off x="1" y="6470680"/>
            <a:ext cx="12192000" cy="387320"/>
          </a:xfrm>
          <a:prstGeom prst="rect">
            <a:avLst/>
          </a:prstGeom>
          <a:solidFill>
            <a:srgbClr val="D5D4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904"/>
          </a:p>
        </p:txBody>
      </p:sp>
      <p:sp>
        <p:nvSpPr>
          <p:cNvPr id="2" name="Titel 1"/>
          <p:cNvSpPr>
            <a:spLocks noGrp="1"/>
          </p:cNvSpPr>
          <p:nvPr>
            <p:ph type="title" hasCustomPrompt="1"/>
          </p:nvPr>
        </p:nvSpPr>
        <p:spPr>
          <a:xfrm>
            <a:off x="259912" y="143890"/>
            <a:ext cx="11666020" cy="418726"/>
          </a:xfrm>
        </p:spPr>
        <p:txBody>
          <a:bodyPr/>
          <a:lstStyle>
            <a:lvl1pPr>
              <a:lnSpc>
                <a:spcPts val="3265"/>
              </a:lnSpc>
              <a:defRPr/>
            </a:lvl1pPr>
          </a:lstStyle>
          <a:p>
            <a:r>
              <a:rPr lang="en-GB"/>
              <a:t>Page title</a:t>
            </a:r>
          </a:p>
        </p:txBody>
      </p:sp>
      <p:grpSp>
        <p:nvGrpSpPr>
          <p:cNvPr id="11" name="Gruppieren 10"/>
          <p:cNvGrpSpPr>
            <a:grpSpLocks noChangeAspect="1"/>
          </p:cNvGrpSpPr>
          <p:nvPr userDrawn="1"/>
        </p:nvGrpSpPr>
        <p:grpSpPr>
          <a:xfrm>
            <a:off x="11522251" y="6541937"/>
            <a:ext cx="401810" cy="244888"/>
            <a:chOff x="7680842" y="5709958"/>
            <a:chExt cx="884790" cy="677863"/>
          </a:xfrm>
          <a:solidFill>
            <a:schemeClr val="bg1"/>
          </a:solidFill>
        </p:grpSpPr>
        <p:sp>
          <p:nvSpPr>
            <p:cNvPr id="12" name="Freeform 17"/>
            <p:cNvSpPr>
              <a:spLocks noEditPoints="1"/>
            </p:cNvSpPr>
            <p:nvPr/>
          </p:nvSpPr>
          <p:spPr bwMode="auto">
            <a:xfrm>
              <a:off x="7680842" y="5709958"/>
              <a:ext cx="884790" cy="677863"/>
            </a:xfrm>
            <a:custGeom>
              <a:avLst/>
              <a:gdLst>
                <a:gd name="T0" fmla="*/ 2771 w 2976"/>
                <a:gd name="T1" fmla="*/ 570 h 2280"/>
                <a:gd name="T2" fmla="*/ 2686 w 2976"/>
                <a:gd name="T3" fmla="*/ 444 h 2280"/>
                <a:gd name="T4" fmla="*/ 2469 w 2976"/>
                <a:gd name="T5" fmla="*/ 363 h 2280"/>
                <a:gd name="T6" fmla="*/ 2333 w 2976"/>
                <a:gd name="T7" fmla="*/ 272 h 2280"/>
                <a:gd name="T8" fmla="*/ 2172 w 2976"/>
                <a:gd name="T9" fmla="*/ 119 h 2280"/>
                <a:gd name="T10" fmla="*/ 2025 w 2976"/>
                <a:gd name="T11" fmla="*/ 100 h 2280"/>
                <a:gd name="T12" fmla="*/ 1804 w 2976"/>
                <a:gd name="T13" fmla="*/ 118 h 2280"/>
                <a:gd name="T14" fmla="*/ 1591 w 2976"/>
                <a:gd name="T15" fmla="*/ 23 h 2280"/>
                <a:gd name="T16" fmla="*/ 1488 w 2976"/>
                <a:gd name="T17" fmla="*/ 0 h 2280"/>
                <a:gd name="T18" fmla="*/ 1305 w 2976"/>
                <a:gd name="T19" fmla="*/ 69 h 2280"/>
                <a:gd name="T20" fmla="*/ 1120 w 2976"/>
                <a:gd name="T21" fmla="*/ 121 h 2280"/>
                <a:gd name="T22" fmla="*/ 891 w 2976"/>
                <a:gd name="T23" fmla="*/ 98 h 2280"/>
                <a:gd name="T24" fmla="*/ 753 w 2976"/>
                <a:gd name="T25" fmla="*/ 152 h 2280"/>
                <a:gd name="T26" fmla="*/ 593 w 2976"/>
                <a:gd name="T27" fmla="*/ 318 h 2280"/>
                <a:gd name="T28" fmla="*/ 404 w 2976"/>
                <a:gd name="T29" fmla="*/ 396 h 2280"/>
                <a:gd name="T30" fmla="*/ 254 w 2976"/>
                <a:gd name="T31" fmla="*/ 473 h 2280"/>
                <a:gd name="T32" fmla="*/ 178 w 2976"/>
                <a:gd name="T33" fmla="*/ 719 h 2280"/>
                <a:gd name="T34" fmla="*/ 106 w 2976"/>
                <a:gd name="T35" fmla="*/ 907 h 2280"/>
                <a:gd name="T36" fmla="*/ 2 w 2976"/>
                <a:gd name="T37" fmla="*/ 1115 h 2280"/>
                <a:gd name="T38" fmla="*/ 34 w 2976"/>
                <a:gd name="T39" fmla="*/ 1265 h 2280"/>
                <a:gd name="T40" fmla="*/ 154 w 2976"/>
                <a:gd name="T41" fmla="*/ 1462 h 2280"/>
                <a:gd name="T42" fmla="*/ 219 w 2976"/>
                <a:gd name="T43" fmla="*/ 1750 h 2280"/>
                <a:gd name="T44" fmla="*/ 326 w 2976"/>
                <a:gd name="T45" fmla="*/ 1856 h 2280"/>
                <a:gd name="T46" fmla="*/ 550 w 2976"/>
                <a:gd name="T47" fmla="*/ 1935 h 2280"/>
                <a:gd name="T48" fmla="*/ 699 w 2976"/>
                <a:gd name="T49" fmla="*/ 2070 h 2280"/>
                <a:gd name="T50" fmla="*/ 823 w 2976"/>
                <a:gd name="T51" fmla="*/ 2169 h 2280"/>
                <a:gd name="T52" fmla="*/ 1031 w 2976"/>
                <a:gd name="T53" fmla="*/ 2167 h 2280"/>
                <a:gd name="T54" fmla="*/ 1224 w 2976"/>
                <a:gd name="T55" fmla="*/ 2175 h 2280"/>
                <a:gd name="T56" fmla="*/ 1421 w 2976"/>
                <a:gd name="T57" fmla="*/ 2270 h 2280"/>
                <a:gd name="T58" fmla="*/ 1555 w 2976"/>
                <a:gd name="T59" fmla="*/ 2270 h 2280"/>
                <a:gd name="T60" fmla="*/ 1752 w 2976"/>
                <a:gd name="T61" fmla="*/ 2175 h 2280"/>
                <a:gd name="T62" fmla="*/ 1945 w 2976"/>
                <a:gd name="T63" fmla="*/ 2167 h 2280"/>
                <a:gd name="T64" fmla="*/ 2153 w 2976"/>
                <a:gd name="T65" fmla="*/ 2169 h 2280"/>
                <a:gd name="T66" fmla="*/ 2277 w 2976"/>
                <a:gd name="T67" fmla="*/ 2070 h 2280"/>
                <a:gd name="T68" fmla="*/ 2424 w 2976"/>
                <a:gd name="T69" fmla="*/ 1935 h 2280"/>
                <a:gd name="T70" fmla="*/ 2649 w 2976"/>
                <a:gd name="T71" fmla="*/ 1856 h 2280"/>
                <a:gd name="T72" fmla="*/ 2757 w 2976"/>
                <a:gd name="T73" fmla="*/ 1750 h 2280"/>
                <a:gd name="T74" fmla="*/ 2820 w 2976"/>
                <a:gd name="T75" fmla="*/ 1462 h 2280"/>
                <a:gd name="T76" fmla="*/ 2942 w 2976"/>
                <a:gd name="T77" fmla="*/ 1264 h 2280"/>
                <a:gd name="T78" fmla="*/ 2974 w 2976"/>
                <a:gd name="T79" fmla="*/ 1115 h 2280"/>
                <a:gd name="T80" fmla="*/ 2868 w 2976"/>
                <a:gd name="T81" fmla="*/ 907 h 2280"/>
                <a:gd name="T82" fmla="*/ 1419 w 2976"/>
                <a:gd name="T83" fmla="*/ 2028 h 2280"/>
                <a:gd name="T84" fmla="*/ 923 w 2976"/>
                <a:gd name="T85" fmla="*/ 1943 h 2280"/>
                <a:gd name="T86" fmla="*/ 547 w 2976"/>
                <a:gd name="T87" fmla="*/ 1742 h 2280"/>
                <a:gd name="T88" fmla="*/ 314 w 2976"/>
                <a:gd name="T89" fmla="*/ 1449 h 2280"/>
                <a:gd name="T90" fmla="*/ 246 w 2976"/>
                <a:gd name="T91" fmla="*/ 1139 h 2280"/>
                <a:gd name="T92" fmla="*/ 334 w 2976"/>
                <a:gd name="T93" fmla="*/ 791 h 2280"/>
                <a:gd name="T94" fmla="*/ 588 w 2976"/>
                <a:gd name="T95" fmla="*/ 507 h 2280"/>
                <a:gd name="T96" fmla="*/ 979 w 2976"/>
                <a:gd name="T97" fmla="*/ 319 h 2280"/>
                <a:gd name="T98" fmla="*/ 1488 w 2976"/>
                <a:gd name="T99" fmla="*/ 250 h 2280"/>
                <a:gd name="T100" fmla="*/ 1940 w 2976"/>
                <a:gd name="T101" fmla="*/ 303 h 2280"/>
                <a:gd name="T102" fmla="*/ 2347 w 2976"/>
                <a:gd name="T103" fmla="*/ 480 h 2280"/>
                <a:gd name="T104" fmla="*/ 2619 w 2976"/>
                <a:gd name="T105" fmla="*/ 751 h 2280"/>
                <a:gd name="T106" fmla="*/ 2729 w 2976"/>
                <a:gd name="T107" fmla="*/ 1093 h 2280"/>
                <a:gd name="T108" fmla="*/ 2680 w 2976"/>
                <a:gd name="T109" fmla="*/ 1408 h 2280"/>
                <a:gd name="T110" fmla="*/ 2465 w 2976"/>
                <a:gd name="T111" fmla="*/ 1709 h 2280"/>
                <a:gd name="T112" fmla="*/ 2107 w 2976"/>
                <a:gd name="T113" fmla="*/ 1923 h 2280"/>
                <a:gd name="T114" fmla="*/ 1624 w 2976"/>
                <a:gd name="T115" fmla="*/ 2025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76" h="2280">
                  <a:moveTo>
                    <a:pt x="2820" y="818"/>
                  </a:moveTo>
                  <a:lnTo>
                    <a:pt x="2820" y="818"/>
                  </a:lnTo>
                  <a:lnTo>
                    <a:pt x="2812" y="792"/>
                  </a:lnTo>
                  <a:lnTo>
                    <a:pt x="2806" y="768"/>
                  </a:lnTo>
                  <a:lnTo>
                    <a:pt x="2798" y="719"/>
                  </a:lnTo>
                  <a:lnTo>
                    <a:pt x="2784" y="630"/>
                  </a:lnTo>
                  <a:lnTo>
                    <a:pt x="2776" y="589"/>
                  </a:lnTo>
                  <a:lnTo>
                    <a:pt x="2771" y="570"/>
                  </a:lnTo>
                  <a:lnTo>
                    <a:pt x="2765" y="550"/>
                  </a:lnTo>
                  <a:lnTo>
                    <a:pt x="2757" y="530"/>
                  </a:lnTo>
                  <a:lnTo>
                    <a:pt x="2747" y="511"/>
                  </a:lnTo>
                  <a:lnTo>
                    <a:pt x="2735" y="493"/>
                  </a:lnTo>
                  <a:lnTo>
                    <a:pt x="2722" y="473"/>
                  </a:lnTo>
                  <a:lnTo>
                    <a:pt x="2722" y="473"/>
                  </a:lnTo>
                  <a:lnTo>
                    <a:pt x="2704" y="458"/>
                  </a:lnTo>
                  <a:lnTo>
                    <a:pt x="2686" y="444"/>
                  </a:lnTo>
                  <a:lnTo>
                    <a:pt x="2668" y="434"/>
                  </a:lnTo>
                  <a:lnTo>
                    <a:pt x="2649" y="424"/>
                  </a:lnTo>
                  <a:lnTo>
                    <a:pt x="2631" y="416"/>
                  </a:lnTo>
                  <a:lnTo>
                    <a:pt x="2611" y="408"/>
                  </a:lnTo>
                  <a:lnTo>
                    <a:pt x="2572" y="396"/>
                  </a:lnTo>
                  <a:lnTo>
                    <a:pt x="2531" y="385"/>
                  </a:lnTo>
                  <a:lnTo>
                    <a:pt x="2490" y="372"/>
                  </a:lnTo>
                  <a:lnTo>
                    <a:pt x="2469" y="363"/>
                  </a:lnTo>
                  <a:lnTo>
                    <a:pt x="2447" y="355"/>
                  </a:lnTo>
                  <a:lnTo>
                    <a:pt x="2424" y="345"/>
                  </a:lnTo>
                  <a:lnTo>
                    <a:pt x="2403" y="332"/>
                  </a:lnTo>
                  <a:lnTo>
                    <a:pt x="2403" y="332"/>
                  </a:lnTo>
                  <a:lnTo>
                    <a:pt x="2383" y="318"/>
                  </a:lnTo>
                  <a:lnTo>
                    <a:pt x="2364" y="303"/>
                  </a:lnTo>
                  <a:lnTo>
                    <a:pt x="2347" y="286"/>
                  </a:lnTo>
                  <a:lnTo>
                    <a:pt x="2333" y="272"/>
                  </a:lnTo>
                  <a:lnTo>
                    <a:pt x="2303" y="239"/>
                  </a:lnTo>
                  <a:lnTo>
                    <a:pt x="2277" y="208"/>
                  </a:lnTo>
                  <a:lnTo>
                    <a:pt x="2251" y="178"/>
                  </a:lnTo>
                  <a:lnTo>
                    <a:pt x="2238" y="165"/>
                  </a:lnTo>
                  <a:lnTo>
                    <a:pt x="2223" y="152"/>
                  </a:lnTo>
                  <a:lnTo>
                    <a:pt x="2207" y="139"/>
                  </a:lnTo>
                  <a:lnTo>
                    <a:pt x="2190" y="129"/>
                  </a:lnTo>
                  <a:lnTo>
                    <a:pt x="2172" y="119"/>
                  </a:lnTo>
                  <a:lnTo>
                    <a:pt x="2153" y="110"/>
                  </a:lnTo>
                  <a:lnTo>
                    <a:pt x="2153" y="110"/>
                  </a:lnTo>
                  <a:lnTo>
                    <a:pt x="2130" y="105"/>
                  </a:lnTo>
                  <a:lnTo>
                    <a:pt x="2107" y="100"/>
                  </a:lnTo>
                  <a:lnTo>
                    <a:pt x="2085" y="98"/>
                  </a:lnTo>
                  <a:lnTo>
                    <a:pt x="2064" y="98"/>
                  </a:lnTo>
                  <a:lnTo>
                    <a:pt x="2045" y="98"/>
                  </a:lnTo>
                  <a:lnTo>
                    <a:pt x="2025" y="100"/>
                  </a:lnTo>
                  <a:lnTo>
                    <a:pt x="1984" y="106"/>
                  </a:lnTo>
                  <a:lnTo>
                    <a:pt x="1945" y="113"/>
                  </a:lnTo>
                  <a:lnTo>
                    <a:pt x="1901" y="119"/>
                  </a:lnTo>
                  <a:lnTo>
                    <a:pt x="1879" y="121"/>
                  </a:lnTo>
                  <a:lnTo>
                    <a:pt x="1855" y="121"/>
                  </a:lnTo>
                  <a:lnTo>
                    <a:pt x="1830" y="119"/>
                  </a:lnTo>
                  <a:lnTo>
                    <a:pt x="1804" y="118"/>
                  </a:lnTo>
                  <a:lnTo>
                    <a:pt x="1804" y="118"/>
                  </a:lnTo>
                  <a:lnTo>
                    <a:pt x="1776" y="111"/>
                  </a:lnTo>
                  <a:lnTo>
                    <a:pt x="1752" y="105"/>
                  </a:lnTo>
                  <a:lnTo>
                    <a:pt x="1729" y="97"/>
                  </a:lnTo>
                  <a:lnTo>
                    <a:pt x="1707" y="87"/>
                  </a:lnTo>
                  <a:lnTo>
                    <a:pt x="1671" y="69"/>
                  </a:lnTo>
                  <a:lnTo>
                    <a:pt x="1639" y="49"/>
                  </a:lnTo>
                  <a:lnTo>
                    <a:pt x="1607" y="31"/>
                  </a:lnTo>
                  <a:lnTo>
                    <a:pt x="1591" y="23"/>
                  </a:lnTo>
                  <a:lnTo>
                    <a:pt x="1573" y="16"/>
                  </a:lnTo>
                  <a:lnTo>
                    <a:pt x="1555" y="10"/>
                  </a:lnTo>
                  <a:lnTo>
                    <a:pt x="1534" y="5"/>
                  </a:lnTo>
                  <a:lnTo>
                    <a:pt x="1513" y="2"/>
                  </a:lnTo>
                  <a:lnTo>
                    <a:pt x="1488" y="0"/>
                  </a:lnTo>
                  <a:lnTo>
                    <a:pt x="1488" y="0"/>
                  </a:lnTo>
                  <a:lnTo>
                    <a:pt x="1488" y="0"/>
                  </a:lnTo>
                  <a:lnTo>
                    <a:pt x="1488" y="0"/>
                  </a:lnTo>
                  <a:lnTo>
                    <a:pt x="1463" y="2"/>
                  </a:lnTo>
                  <a:lnTo>
                    <a:pt x="1441" y="5"/>
                  </a:lnTo>
                  <a:lnTo>
                    <a:pt x="1421" y="10"/>
                  </a:lnTo>
                  <a:lnTo>
                    <a:pt x="1403" y="16"/>
                  </a:lnTo>
                  <a:lnTo>
                    <a:pt x="1385" y="23"/>
                  </a:lnTo>
                  <a:lnTo>
                    <a:pt x="1369" y="31"/>
                  </a:lnTo>
                  <a:lnTo>
                    <a:pt x="1337" y="49"/>
                  </a:lnTo>
                  <a:lnTo>
                    <a:pt x="1305" y="69"/>
                  </a:lnTo>
                  <a:lnTo>
                    <a:pt x="1269" y="87"/>
                  </a:lnTo>
                  <a:lnTo>
                    <a:pt x="1247" y="97"/>
                  </a:lnTo>
                  <a:lnTo>
                    <a:pt x="1224" y="105"/>
                  </a:lnTo>
                  <a:lnTo>
                    <a:pt x="1200" y="111"/>
                  </a:lnTo>
                  <a:lnTo>
                    <a:pt x="1172" y="118"/>
                  </a:lnTo>
                  <a:lnTo>
                    <a:pt x="1172" y="118"/>
                  </a:lnTo>
                  <a:lnTo>
                    <a:pt x="1146" y="119"/>
                  </a:lnTo>
                  <a:lnTo>
                    <a:pt x="1120" y="121"/>
                  </a:lnTo>
                  <a:lnTo>
                    <a:pt x="1097" y="121"/>
                  </a:lnTo>
                  <a:lnTo>
                    <a:pt x="1074" y="119"/>
                  </a:lnTo>
                  <a:lnTo>
                    <a:pt x="1031" y="113"/>
                  </a:lnTo>
                  <a:lnTo>
                    <a:pt x="990" y="106"/>
                  </a:lnTo>
                  <a:lnTo>
                    <a:pt x="951" y="100"/>
                  </a:lnTo>
                  <a:lnTo>
                    <a:pt x="931" y="98"/>
                  </a:lnTo>
                  <a:lnTo>
                    <a:pt x="910" y="98"/>
                  </a:lnTo>
                  <a:lnTo>
                    <a:pt x="891" y="98"/>
                  </a:lnTo>
                  <a:lnTo>
                    <a:pt x="869" y="100"/>
                  </a:lnTo>
                  <a:lnTo>
                    <a:pt x="846" y="105"/>
                  </a:lnTo>
                  <a:lnTo>
                    <a:pt x="823" y="110"/>
                  </a:lnTo>
                  <a:lnTo>
                    <a:pt x="823" y="110"/>
                  </a:lnTo>
                  <a:lnTo>
                    <a:pt x="804" y="119"/>
                  </a:lnTo>
                  <a:lnTo>
                    <a:pt x="786" y="129"/>
                  </a:lnTo>
                  <a:lnTo>
                    <a:pt x="768" y="139"/>
                  </a:lnTo>
                  <a:lnTo>
                    <a:pt x="753" y="152"/>
                  </a:lnTo>
                  <a:lnTo>
                    <a:pt x="738" y="165"/>
                  </a:lnTo>
                  <a:lnTo>
                    <a:pt x="725" y="178"/>
                  </a:lnTo>
                  <a:lnTo>
                    <a:pt x="699" y="208"/>
                  </a:lnTo>
                  <a:lnTo>
                    <a:pt x="671" y="239"/>
                  </a:lnTo>
                  <a:lnTo>
                    <a:pt x="643" y="272"/>
                  </a:lnTo>
                  <a:lnTo>
                    <a:pt x="629" y="286"/>
                  </a:lnTo>
                  <a:lnTo>
                    <a:pt x="611" y="303"/>
                  </a:lnTo>
                  <a:lnTo>
                    <a:pt x="593" y="318"/>
                  </a:lnTo>
                  <a:lnTo>
                    <a:pt x="573" y="332"/>
                  </a:lnTo>
                  <a:lnTo>
                    <a:pt x="573" y="332"/>
                  </a:lnTo>
                  <a:lnTo>
                    <a:pt x="550" y="345"/>
                  </a:lnTo>
                  <a:lnTo>
                    <a:pt x="529" y="355"/>
                  </a:lnTo>
                  <a:lnTo>
                    <a:pt x="507" y="363"/>
                  </a:lnTo>
                  <a:lnTo>
                    <a:pt x="486" y="372"/>
                  </a:lnTo>
                  <a:lnTo>
                    <a:pt x="445" y="385"/>
                  </a:lnTo>
                  <a:lnTo>
                    <a:pt x="404" y="396"/>
                  </a:lnTo>
                  <a:lnTo>
                    <a:pt x="365" y="408"/>
                  </a:lnTo>
                  <a:lnTo>
                    <a:pt x="345" y="416"/>
                  </a:lnTo>
                  <a:lnTo>
                    <a:pt x="326" y="424"/>
                  </a:lnTo>
                  <a:lnTo>
                    <a:pt x="308" y="434"/>
                  </a:lnTo>
                  <a:lnTo>
                    <a:pt x="290" y="444"/>
                  </a:lnTo>
                  <a:lnTo>
                    <a:pt x="272" y="458"/>
                  </a:lnTo>
                  <a:lnTo>
                    <a:pt x="254" y="473"/>
                  </a:lnTo>
                  <a:lnTo>
                    <a:pt x="254" y="473"/>
                  </a:lnTo>
                  <a:lnTo>
                    <a:pt x="241" y="493"/>
                  </a:lnTo>
                  <a:lnTo>
                    <a:pt x="228" y="511"/>
                  </a:lnTo>
                  <a:lnTo>
                    <a:pt x="219" y="530"/>
                  </a:lnTo>
                  <a:lnTo>
                    <a:pt x="211" y="550"/>
                  </a:lnTo>
                  <a:lnTo>
                    <a:pt x="205" y="570"/>
                  </a:lnTo>
                  <a:lnTo>
                    <a:pt x="200" y="589"/>
                  </a:lnTo>
                  <a:lnTo>
                    <a:pt x="192" y="630"/>
                  </a:lnTo>
                  <a:lnTo>
                    <a:pt x="178" y="719"/>
                  </a:lnTo>
                  <a:lnTo>
                    <a:pt x="169" y="768"/>
                  </a:lnTo>
                  <a:lnTo>
                    <a:pt x="162" y="792"/>
                  </a:lnTo>
                  <a:lnTo>
                    <a:pt x="154" y="818"/>
                  </a:lnTo>
                  <a:lnTo>
                    <a:pt x="154" y="818"/>
                  </a:lnTo>
                  <a:lnTo>
                    <a:pt x="144" y="843"/>
                  </a:lnTo>
                  <a:lnTo>
                    <a:pt x="133" y="866"/>
                  </a:lnTo>
                  <a:lnTo>
                    <a:pt x="119" y="887"/>
                  </a:lnTo>
                  <a:lnTo>
                    <a:pt x="106" y="907"/>
                  </a:lnTo>
                  <a:lnTo>
                    <a:pt x="82" y="944"/>
                  </a:lnTo>
                  <a:lnTo>
                    <a:pt x="57" y="979"/>
                  </a:lnTo>
                  <a:lnTo>
                    <a:pt x="34" y="1013"/>
                  </a:lnTo>
                  <a:lnTo>
                    <a:pt x="25" y="1031"/>
                  </a:lnTo>
                  <a:lnTo>
                    <a:pt x="16" y="1051"/>
                  </a:lnTo>
                  <a:lnTo>
                    <a:pt x="10" y="1070"/>
                  </a:lnTo>
                  <a:lnTo>
                    <a:pt x="5" y="1092"/>
                  </a:lnTo>
                  <a:lnTo>
                    <a:pt x="2" y="1115"/>
                  </a:lnTo>
                  <a:lnTo>
                    <a:pt x="0" y="1139"/>
                  </a:lnTo>
                  <a:lnTo>
                    <a:pt x="0" y="1139"/>
                  </a:lnTo>
                  <a:lnTo>
                    <a:pt x="2" y="1164"/>
                  </a:lnTo>
                  <a:lnTo>
                    <a:pt x="5" y="1187"/>
                  </a:lnTo>
                  <a:lnTo>
                    <a:pt x="10" y="1208"/>
                  </a:lnTo>
                  <a:lnTo>
                    <a:pt x="16" y="1228"/>
                  </a:lnTo>
                  <a:lnTo>
                    <a:pt x="25" y="1247"/>
                  </a:lnTo>
                  <a:lnTo>
                    <a:pt x="34" y="1265"/>
                  </a:lnTo>
                  <a:lnTo>
                    <a:pt x="57" y="1300"/>
                  </a:lnTo>
                  <a:lnTo>
                    <a:pt x="82" y="1336"/>
                  </a:lnTo>
                  <a:lnTo>
                    <a:pt x="106" y="1373"/>
                  </a:lnTo>
                  <a:lnTo>
                    <a:pt x="119" y="1393"/>
                  </a:lnTo>
                  <a:lnTo>
                    <a:pt x="133" y="1414"/>
                  </a:lnTo>
                  <a:lnTo>
                    <a:pt x="144" y="1437"/>
                  </a:lnTo>
                  <a:lnTo>
                    <a:pt x="154" y="1462"/>
                  </a:lnTo>
                  <a:lnTo>
                    <a:pt x="154" y="1462"/>
                  </a:lnTo>
                  <a:lnTo>
                    <a:pt x="162" y="1488"/>
                  </a:lnTo>
                  <a:lnTo>
                    <a:pt x="169" y="1512"/>
                  </a:lnTo>
                  <a:lnTo>
                    <a:pt x="178" y="1560"/>
                  </a:lnTo>
                  <a:lnTo>
                    <a:pt x="192" y="1648"/>
                  </a:lnTo>
                  <a:lnTo>
                    <a:pt x="200" y="1689"/>
                  </a:lnTo>
                  <a:lnTo>
                    <a:pt x="205" y="1710"/>
                  </a:lnTo>
                  <a:lnTo>
                    <a:pt x="211" y="1730"/>
                  </a:lnTo>
                  <a:lnTo>
                    <a:pt x="219" y="1750"/>
                  </a:lnTo>
                  <a:lnTo>
                    <a:pt x="228" y="1768"/>
                  </a:lnTo>
                  <a:lnTo>
                    <a:pt x="241" y="1787"/>
                  </a:lnTo>
                  <a:lnTo>
                    <a:pt x="254" y="1807"/>
                  </a:lnTo>
                  <a:lnTo>
                    <a:pt x="254" y="1807"/>
                  </a:lnTo>
                  <a:lnTo>
                    <a:pt x="272" y="1822"/>
                  </a:lnTo>
                  <a:lnTo>
                    <a:pt x="290" y="1835"/>
                  </a:lnTo>
                  <a:lnTo>
                    <a:pt x="308" y="1846"/>
                  </a:lnTo>
                  <a:lnTo>
                    <a:pt x="326" y="1856"/>
                  </a:lnTo>
                  <a:lnTo>
                    <a:pt x="345" y="1864"/>
                  </a:lnTo>
                  <a:lnTo>
                    <a:pt x="365" y="1871"/>
                  </a:lnTo>
                  <a:lnTo>
                    <a:pt x="404" y="1884"/>
                  </a:lnTo>
                  <a:lnTo>
                    <a:pt x="445" y="1895"/>
                  </a:lnTo>
                  <a:lnTo>
                    <a:pt x="486" y="1908"/>
                  </a:lnTo>
                  <a:lnTo>
                    <a:pt x="507" y="1915"/>
                  </a:lnTo>
                  <a:lnTo>
                    <a:pt x="529" y="1925"/>
                  </a:lnTo>
                  <a:lnTo>
                    <a:pt x="550" y="1935"/>
                  </a:lnTo>
                  <a:lnTo>
                    <a:pt x="573" y="1946"/>
                  </a:lnTo>
                  <a:lnTo>
                    <a:pt x="573" y="1946"/>
                  </a:lnTo>
                  <a:lnTo>
                    <a:pt x="593" y="1962"/>
                  </a:lnTo>
                  <a:lnTo>
                    <a:pt x="611" y="1977"/>
                  </a:lnTo>
                  <a:lnTo>
                    <a:pt x="629" y="1992"/>
                  </a:lnTo>
                  <a:lnTo>
                    <a:pt x="643" y="2008"/>
                  </a:lnTo>
                  <a:lnTo>
                    <a:pt x="671" y="2039"/>
                  </a:lnTo>
                  <a:lnTo>
                    <a:pt x="699" y="2070"/>
                  </a:lnTo>
                  <a:lnTo>
                    <a:pt x="725" y="2100"/>
                  </a:lnTo>
                  <a:lnTo>
                    <a:pt x="738" y="2115"/>
                  </a:lnTo>
                  <a:lnTo>
                    <a:pt x="753" y="2128"/>
                  </a:lnTo>
                  <a:lnTo>
                    <a:pt x="768" y="2139"/>
                  </a:lnTo>
                  <a:lnTo>
                    <a:pt x="786" y="2151"/>
                  </a:lnTo>
                  <a:lnTo>
                    <a:pt x="804" y="2161"/>
                  </a:lnTo>
                  <a:lnTo>
                    <a:pt x="823" y="2169"/>
                  </a:lnTo>
                  <a:lnTo>
                    <a:pt x="823" y="2169"/>
                  </a:lnTo>
                  <a:lnTo>
                    <a:pt x="846" y="2175"/>
                  </a:lnTo>
                  <a:lnTo>
                    <a:pt x="869" y="2179"/>
                  </a:lnTo>
                  <a:lnTo>
                    <a:pt x="891" y="2182"/>
                  </a:lnTo>
                  <a:lnTo>
                    <a:pt x="910" y="2182"/>
                  </a:lnTo>
                  <a:lnTo>
                    <a:pt x="931" y="2180"/>
                  </a:lnTo>
                  <a:lnTo>
                    <a:pt x="951" y="2179"/>
                  </a:lnTo>
                  <a:lnTo>
                    <a:pt x="990" y="2174"/>
                  </a:lnTo>
                  <a:lnTo>
                    <a:pt x="1031" y="2167"/>
                  </a:lnTo>
                  <a:lnTo>
                    <a:pt x="1074" y="2161"/>
                  </a:lnTo>
                  <a:lnTo>
                    <a:pt x="1097" y="2159"/>
                  </a:lnTo>
                  <a:lnTo>
                    <a:pt x="1120" y="2159"/>
                  </a:lnTo>
                  <a:lnTo>
                    <a:pt x="1146" y="2159"/>
                  </a:lnTo>
                  <a:lnTo>
                    <a:pt x="1172" y="2162"/>
                  </a:lnTo>
                  <a:lnTo>
                    <a:pt x="1172" y="2162"/>
                  </a:lnTo>
                  <a:lnTo>
                    <a:pt x="1200" y="2169"/>
                  </a:lnTo>
                  <a:lnTo>
                    <a:pt x="1224" y="2175"/>
                  </a:lnTo>
                  <a:lnTo>
                    <a:pt x="1247" y="2183"/>
                  </a:lnTo>
                  <a:lnTo>
                    <a:pt x="1269" y="2193"/>
                  </a:lnTo>
                  <a:lnTo>
                    <a:pt x="1305" y="2211"/>
                  </a:lnTo>
                  <a:lnTo>
                    <a:pt x="1337" y="2231"/>
                  </a:lnTo>
                  <a:lnTo>
                    <a:pt x="1369" y="2249"/>
                  </a:lnTo>
                  <a:lnTo>
                    <a:pt x="1385" y="2257"/>
                  </a:lnTo>
                  <a:lnTo>
                    <a:pt x="1403" y="2264"/>
                  </a:lnTo>
                  <a:lnTo>
                    <a:pt x="1421" y="2270"/>
                  </a:lnTo>
                  <a:lnTo>
                    <a:pt x="1441" y="2275"/>
                  </a:lnTo>
                  <a:lnTo>
                    <a:pt x="1463" y="2278"/>
                  </a:lnTo>
                  <a:lnTo>
                    <a:pt x="1488" y="2280"/>
                  </a:lnTo>
                  <a:lnTo>
                    <a:pt x="1488" y="2280"/>
                  </a:lnTo>
                  <a:lnTo>
                    <a:pt x="1488" y="2280"/>
                  </a:lnTo>
                  <a:lnTo>
                    <a:pt x="1513" y="2278"/>
                  </a:lnTo>
                  <a:lnTo>
                    <a:pt x="1534" y="2275"/>
                  </a:lnTo>
                  <a:lnTo>
                    <a:pt x="1555" y="2270"/>
                  </a:lnTo>
                  <a:lnTo>
                    <a:pt x="1573" y="2264"/>
                  </a:lnTo>
                  <a:lnTo>
                    <a:pt x="1591" y="2257"/>
                  </a:lnTo>
                  <a:lnTo>
                    <a:pt x="1607" y="2249"/>
                  </a:lnTo>
                  <a:lnTo>
                    <a:pt x="1639" y="2231"/>
                  </a:lnTo>
                  <a:lnTo>
                    <a:pt x="1671" y="2211"/>
                  </a:lnTo>
                  <a:lnTo>
                    <a:pt x="1707" y="2193"/>
                  </a:lnTo>
                  <a:lnTo>
                    <a:pt x="1729" y="2183"/>
                  </a:lnTo>
                  <a:lnTo>
                    <a:pt x="1752" y="2175"/>
                  </a:lnTo>
                  <a:lnTo>
                    <a:pt x="1776" y="2169"/>
                  </a:lnTo>
                  <a:lnTo>
                    <a:pt x="1804" y="2162"/>
                  </a:lnTo>
                  <a:lnTo>
                    <a:pt x="1804" y="2162"/>
                  </a:lnTo>
                  <a:lnTo>
                    <a:pt x="1830" y="2159"/>
                  </a:lnTo>
                  <a:lnTo>
                    <a:pt x="1855" y="2159"/>
                  </a:lnTo>
                  <a:lnTo>
                    <a:pt x="1879" y="2159"/>
                  </a:lnTo>
                  <a:lnTo>
                    <a:pt x="1901" y="2161"/>
                  </a:lnTo>
                  <a:lnTo>
                    <a:pt x="1945" y="2167"/>
                  </a:lnTo>
                  <a:lnTo>
                    <a:pt x="1984" y="2174"/>
                  </a:lnTo>
                  <a:lnTo>
                    <a:pt x="2025" y="2179"/>
                  </a:lnTo>
                  <a:lnTo>
                    <a:pt x="2045" y="2180"/>
                  </a:lnTo>
                  <a:lnTo>
                    <a:pt x="2064" y="2182"/>
                  </a:lnTo>
                  <a:lnTo>
                    <a:pt x="2085" y="2182"/>
                  </a:lnTo>
                  <a:lnTo>
                    <a:pt x="2107" y="2179"/>
                  </a:lnTo>
                  <a:lnTo>
                    <a:pt x="2130" y="2175"/>
                  </a:lnTo>
                  <a:lnTo>
                    <a:pt x="2153" y="2169"/>
                  </a:lnTo>
                  <a:lnTo>
                    <a:pt x="2153" y="2169"/>
                  </a:lnTo>
                  <a:lnTo>
                    <a:pt x="2172" y="2161"/>
                  </a:lnTo>
                  <a:lnTo>
                    <a:pt x="2190" y="2151"/>
                  </a:lnTo>
                  <a:lnTo>
                    <a:pt x="2207" y="2139"/>
                  </a:lnTo>
                  <a:lnTo>
                    <a:pt x="2223" y="2128"/>
                  </a:lnTo>
                  <a:lnTo>
                    <a:pt x="2238" y="2115"/>
                  </a:lnTo>
                  <a:lnTo>
                    <a:pt x="2251" y="2100"/>
                  </a:lnTo>
                  <a:lnTo>
                    <a:pt x="2277" y="2070"/>
                  </a:lnTo>
                  <a:lnTo>
                    <a:pt x="2303" y="2039"/>
                  </a:lnTo>
                  <a:lnTo>
                    <a:pt x="2333" y="2008"/>
                  </a:lnTo>
                  <a:lnTo>
                    <a:pt x="2347" y="1992"/>
                  </a:lnTo>
                  <a:lnTo>
                    <a:pt x="2364" y="1977"/>
                  </a:lnTo>
                  <a:lnTo>
                    <a:pt x="2383" y="1962"/>
                  </a:lnTo>
                  <a:lnTo>
                    <a:pt x="2403" y="1946"/>
                  </a:lnTo>
                  <a:lnTo>
                    <a:pt x="2403" y="1946"/>
                  </a:lnTo>
                  <a:lnTo>
                    <a:pt x="2424" y="1935"/>
                  </a:lnTo>
                  <a:lnTo>
                    <a:pt x="2447" y="1925"/>
                  </a:lnTo>
                  <a:lnTo>
                    <a:pt x="2469" y="1915"/>
                  </a:lnTo>
                  <a:lnTo>
                    <a:pt x="2490" y="1908"/>
                  </a:lnTo>
                  <a:lnTo>
                    <a:pt x="2531" y="1895"/>
                  </a:lnTo>
                  <a:lnTo>
                    <a:pt x="2572" y="1884"/>
                  </a:lnTo>
                  <a:lnTo>
                    <a:pt x="2611" y="1871"/>
                  </a:lnTo>
                  <a:lnTo>
                    <a:pt x="2631" y="1864"/>
                  </a:lnTo>
                  <a:lnTo>
                    <a:pt x="2649" y="1856"/>
                  </a:lnTo>
                  <a:lnTo>
                    <a:pt x="2668" y="1846"/>
                  </a:lnTo>
                  <a:lnTo>
                    <a:pt x="2686" y="1835"/>
                  </a:lnTo>
                  <a:lnTo>
                    <a:pt x="2704" y="1822"/>
                  </a:lnTo>
                  <a:lnTo>
                    <a:pt x="2722" y="1807"/>
                  </a:lnTo>
                  <a:lnTo>
                    <a:pt x="2722" y="1807"/>
                  </a:lnTo>
                  <a:lnTo>
                    <a:pt x="2735" y="1787"/>
                  </a:lnTo>
                  <a:lnTo>
                    <a:pt x="2747" y="1768"/>
                  </a:lnTo>
                  <a:lnTo>
                    <a:pt x="2757" y="1750"/>
                  </a:lnTo>
                  <a:lnTo>
                    <a:pt x="2765" y="1730"/>
                  </a:lnTo>
                  <a:lnTo>
                    <a:pt x="2771" y="1710"/>
                  </a:lnTo>
                  <a:lnTo>
                    <a:pt x="2776" y="1689"/>
                  </a:lnTo>
                  <a:lnTo>
                    <a:pt x="2784" y="1648"/>
                  </a:lnTo>
                  <a:lnTo>
                    <a:pt x="2798" y="1560"/>
                  </a:lnTo>
                  <a:lnTo>
                    <a:pt x="2806" y="1512"/>
                  </a:lnTo>
                  <a:lnTo>
                    <a:pt x="2812" y="1488"/>
                  </a:lnTo>
                  <a:lnTo>
                    <a:pt x="2820" y="1462"/>
                  </a:lnTo>
                  <a:lnTo>
                    <a:pt x="2820" y="1462"/>
                  </a:lnTo>
                  <a:lnTo>
                    <a:pt x="2832" y="1437"/>
                  </a:lnTo>
                  <a:lnTo>
                    <a:pt x="2843" y="1414"/>
                  </a:lnTo>
                  <a:lnTo>
                    <a:pt x="2857" y="1393"/>
                  </a:lnTo>
                  <a:lnTo>
                    <a:pt x="2868" y="1372"/>
                  </a:lnTo>
                  <a:lnTo>
                    <a:pt x="2894" y="1336"/>
                  </a:lnTo>
                  <a:lnTo>
                    <a:pt x="2919" y="1300"/>
                  </a:lnTo>
                  <a:lnTo>
                    <a:pt x="2942" y="1264"/>
                  </a:lnTo>
                  <a:lnTo>
                    <a:pt x="2951" y="1246"/>
                  </a:lnTo>
                  <a:lnTo>
                    <a:pt x="2960" y="1228"/>
                  </a:lnTo>
                  <a:lnTo>
                    <a:pt x="2966" y="1208"/>
                  </a:lnTo>
                  <a:lnTo>
                    <a:pt x="2971" y="1187"/>
                  </a:lnTo>
                  <a:lnTo>
                    <a:pt x="2974" y="1164"/>
                  </a:lnTo>
                  <a:lnTo>
                    <a:pt x="2976" y="1139"/>
                  </a:lnTo>
                  <a:lnTo>
                    <a:pt x="2976" y="1139"/>
                  </a:lnTo>
                  <a:lnTo>
                    <a:pt x="2974" y="1115"/>
                  </a:lnTo>
                  <a:lnTo>
                    <a:pt x="2971" y="1092"/>
                  </a:lnTo>
                  <a:lnTo>
                    <a:pt x="2966" y="1070"/>
                  </a:lnTo>
                  <a:lnTo>
                    <a:pt x="2960" y="1051"/>
                  </a:lnTo>
                  <a:lnTo>
                    <a:pt x="2951" y="1031"/>
                  </a:lnTo>
                  <a:lnTo>
                    <a:pt x="2942" y="1013"/>
                  </a:lnTo>
                  <a:lnTo>
                    <a:pt x="2919" y="979"/>
                  </a:lnTo>
                  <a:lnTo>
                    <a:pt x="2894" y="943"/>
                  </a:lnTo>
                  <a:lnTo>
                    <a:pt x="2868" y="907"/>
                  </a:lnTo>
                  <a:lnTo>
                    <a:pt x="2857" y="887"/>
                  </a:lnTo>
                  <a:lnTo>
                    <a:pt x="2843" y="866"/>
                  </a:lnTo>
                  <a:lnTo>
                    <a:pt x="2832" y="843"/>
                  </a:lnTo>
                  <a:lnTo>
                    <a:pt x="2820" y="818"/>
                  </a:lnTo>
                  <a:lnTo>
                    <a:pt x="2820" y="818"/>
                  </a:lnTo>
                  <a:close/>
                  <a:moveTo>
                    <a:pt x="1488" y="2030"/>
                  </a:moveTo>
                  <a:lnTo>
                    <a:pt x="1488" y="2030"/>
                  </a:lnTo>
                  <a:lnTo>
                    <a:pt x="1419" y="2028"/>
                  </a:lnTo>
                  <a:lnTo>
                    <a:pt x="1350" y="2025"/>
                  </a:lnTo>
                  <a:lnTo>
                    <a:pt x="1285" y="2018"/>
                  </a:lnTo>
                  <a:lnTo>
                    <a:pt x="1221" y="2012"/>
                  </a:lnTo>
                  <a:lnTo>
                    <a:pt x="1157" y="2002"/>
                  </a:lnTo>
                  <a:lnTo>
                    <a:pt x="1097" y="1990"/>
                  </a:lnTo>
                  <a:lnTo>
                    <a:pt x="1036" y="1976"/>
                  </a:lnTo>
                  <a:lnTo>
                    <a:pt x="979" y="1961"/>
                  </a:lnTo>
                  <a:lnTo>
                    <a:pt x="923" y="1943"/>
                  </a:lnTo>
                  <a:lnTo>
                    <a:pt x="869" y="1923"/>
                  </a:lnTo>
                  <a:lnTo>
                    <a:pt x="817" y="1902"/>
                  </a:lnTo>
                  <a:lnTo>
                    <a:pt x="768" y="1879"/>
                  </a:lnTo>
                  <a:lnTo>
                    <a:pt x="719" y="1854"/>
                  </a:lnTo>
                  <a:lnTo>
                    <a:pt x="673" y="1828"/>
                  </a:lnTo>
                  <a:lnTo>
                    <a:pt x="629" y="1800"/>
                  </a:lnTo>
                  <a:lnTo>
                    <a:pt x="586" y="1771"/>
                  </a:lnTo>
                  <a:lnTo>
                    <a:pt x="547" y="1742"/>
                  </a:lnTo>
                  <a:lnTo>
                    <a:pt x="509" y="1709"/>
                  </a:lnTo>
                  <a:lnTo>
                    <a:pt x="475" y="1674"/>
                  </a:lnTo>
                  <a:lnTo>
                    <a:pt x="442" y="1640"/>
                  </a:lnTo>
                  <a:lnTo>
                    <a:pt x="411" y="1604"/>
                  </a:lnTo>
                  <a:lnTo>
                    <a:pt x="383" y="1566"/>
                  </a:lnTo>
                  <a:lnTo>
                    <a:pt x="357" y="1529"/>
                  </a:lnTo>
                  <a:lnTo>
                    <a:pt x="334" y="1489"/>
                  </a:lnTo>
                  <a:lnTo>
                    <a:pt x="314" y="1449"/>
                  </a:lnTo>
                  <a:lnTo>
                    <a:pt x="296" y="1408"/>
                  </a:lnTo>
                  <a:lnTo>
                    <a:pt x="280" y="1365"/>
                  </a:lnTo>
                  <a:lnTo>
                    <a:pt x="267" y="1321"/>
                  </a:lnTo>
                  <a:lnTo>
                    <a:pt x="257" y="1277"/>
                  </a:lnTo>
                  <a:lnTo>
                    <a:pt x="250" y="1232"/>
                  </a:lnTo>
                  <a:lnTo>
                    <a:pt x="246" y="1187"/>
                  </a:lnTo>
                  <a:lnTo>
                    <a:pt x="246" y="1139"/>
                  </a:lnTo>
                  <a:lnTo>
                    <a:pt x="246" y="1139"/>
                  </a:lnTo>
                  <a:lnTo>
                    <a:pt x="246" y="1093"/>
                  </a:lnTo>
                  <a:lnTo>
                    <a:pt x="250" y="1048"/>
                  </a:lnTo>
                  <a:lnTo>
                    <a:pt x="257" y="1002"/>
                  </a:lnTo>
                  <a:lnTo>
                    <a:pt x="267" y="958"/>
                  </a:lnTo>
                  <a:lnTo>
                    <a:pt x="280" y="915"/>
                  </a:lnTo>
                  <a:lnTo>
                    <a:pt x="296" y="872"/>
                  </a:lnTo>
                  <a:lnTo>
                    <a:pt x="314" y="831"/>
                  </a:lnTo>
                  <a:lnTo>
                    <a:pt x="334" y="791"/>
                  </a:lnTo>
                  <a:lnTo>
                    <a:pt x="357" y="751"/>
                  </a:lnTo>
                  <a:lnTo>
                    <a:pt x="383" y="712"/>
                  </a:lnTo>
                  <a:lnTo>
                    <a:pt x="411" y="674"/>
                  </a:lnTo>
                  <a:lnTo>
                    <a:pt x="442" y="638"/>
                  </a:lnTo>
                  <a:lnTo>
                    <a:pt x="475" y="604"/>
                  </a:lnTo>
                  <a:lnTo>
                    <a:pt x="509" y="571"/>
                  </a:lnTo>
                  <a:lnTo>
                    <a:pt x="547" y="538"/>
                  </a:lnTo>
                  <a:lnTo>
                    <a:pt x="588" y="507"/>
                  </a:lnTo>
                  <a:lnTo>
                    <a:pt x="629" y="480"/>
                  </a:lnTo>
                  <a:lnTo>
                    <a:pt x="673" y="452"/>
                  </a:lnTo>
                  <a:lnTo>
                    <a:pt x="719" y="426"/>
                  </a:lnTo>
                  <a:lnTo>
                    <a:pt x="768" y="401"/>
                  </a:lnTo>
                  <a:lnTo>
                    <a:pt x="817" y="378"/>
                  </a:lnTo>
                  <a:lnTo>
                    <a:pt x="869" y="357"/>
                  </a:lnTo>
                  <a:lnTo>
                    <a:pt x="923" y="337"/>
                  </a:lnTo>
                  <a:lnTo>
                    <a:pt x="979" y="319"/>
                  </a:lnTo>
                  <a:lnTo>
                    <a:pt x="1036" y="303"/>
                  </a:lnTo>
                  <a:lnTo>
                    <a:pt x="1097" y="290"/>
                  </a:lnTo>
                  <a:lnTo>
                    <a:pt x="1157" y="278"/>
                  </a:lnTo>
                  <a:lnTo>
                    <a:pt x="1221" y="268"/>
                  </a:lnTo>
                  <a:lnTo>
                    <a:pt x="1285" y="260"/>
                  </a:lnTo>
                  <a:lnTo>
                    <a:pt x="1350" y="255"/>
                  </a:lnTo>
                  <a:lnTo>
                    <a:pt x="1419" y="252"/>
                  </a:lnTo>
                  <a:lnTo>
                    <a:pt x="1488" y="250"/>
                  </a:lnTo>
                  <a:lnTo>
                    <a:pt x="1488" y="250"/>
                  </a:lnTo>
                  <a:lnTo>
                    <a:pt x="1557" y="252"/>
                  </a:lnTo>
                  <a:lnTo>
                    <a:pt x="1626" y="255"/>
                  </a:lnTo>
                  <a:lnTo>
                    <a:pt x="1691" y="260"/>
                  </a:lnTo>
                  <a:lnTo>
                    <a:pt x="1756" y="268"/>
                  </a:lnTo>
                  <a:lnTo>
                    <a:pt x="1819" y="278"/>
                  </a:lnTo>
                  <a:lnTo>
                    <a:pt x="1879" y="290"/>
                  </a:lnTo>
                  <a:lnTo>
                    <a:pt x="1940" y="303"/>
                  </a:lnTo>
                  <a:lnTo>
                    <a:pt x="1997" y="319"/>
                  </a:lnTo>
                  <a:lnTo>
                    <a:pt x="2053" y="337"/>
                  </a:lnTo>
                  <a:lnTo>
                    <a:pt x="2107" y="357"/>
                  </a:lnTo>
                  <a:lnTo>
                    <a:pt x="2159" y="378"/>
                  </a:lnTo>
                  <a:lnTo>
                    <a:pt x="2210" y="401"/>
                  </a:lnTo>
                  <a:lnTo>
                    <a:pt x="2257" y="426"/>
                  </a:lnTo>
                  <a:lnTo>
                    <a:pt x="2303" y="452"/>
                  </a:lnTo>
                  <a:lnTo>
                    <a:pt x="2347" y="480"/>
                  </a:lnTo>
                  <a:lnTo>
                    <a:pt x="2390" y="507"/>
                  </a:lnTo>
                  <a:lnTo>
                    <a:pt x="2429" y="538"/>
                  </a:lnTo>
                  <a:lnTo>
                    <a:pt x="2467" y="571"/>
                  </a:lnTo>
                  <a:lnTo>
                    <a:pt x="2501" y="604"/>
                  </a:lnTo>
                  <a:lnTo>
                    <a:pt x="2534" y="638"/>
                  </a:lnTo>
                  <a:lnTo>
                    <a:pt x="2565" y="674"/>
                  </a:lnTo>
                  <a:lnTo>
                    <a:pt x="2593" y="712"/>
                  </a:lnTo>
                  <a:lnTo>
                    <a:pt x="2619" y="751"/>
                  </a:lnTo>
                  <a:lnTo>
                    <a:pt x="2642" y="791"/>
                  </a:lnTo>
                  <a:lnTo>
                    <a:pt x="2662" y="831"/>
                  </a:lnTo>
                  <a:lnTo>
                    <a:pt x="2680" y="872"/>
                  </a:lnTo>
                  <a:lnTo>
                    <a:pt x="2696" y="915"/>
                  </a:lnTo>
                  <a:lnTo>
                    <a:pt x="2708" y="958"/>
                  </a:lnTo>
                  <a:lnTo>
                    <a:pt x="2717" y="1002"/>
                  </a:lnTo>
                  <a:lnTo>
                    <a:pt x="2726" y="1048"/>
                  </a:lnTo>
                  <a:lnTo>
                    <a:pt x="2729" y="1093"/>
                  </a:lnTo>
                  <a:lnTo>
                    <a:pt x="2730" y="1139"/>
                  </a:lnTo>
                  <a:lnTo>
                    <a:pt x="2730" y="1139"/>
                  </a:lnTo>
                  <a:lnTo>
                    <a:pt x="2729" y="1187"/>
                  </a:lnTo>
                  <a:lnTo>
                    <a:pt x="2726" y="1232"/>
                  </a:lnTo>
                  <a:lnTo>
                    <a:pt x="2717" y="1277"/>
                  </a:lnTo>
                  <a:lnTo>
                    <a:pt x="2708" y="1321"/>
                  </a:lnTo>
                  <a:lnTo>
                    <a:pt x="2696" y="1365"/>
                  </a:lnTo>
                  <a:lnTo>
                    <a:pt x="2680" y="1408"/>
                  </a:lnTo>
                  <a:lnTo>
                    <a:pt x="2662" y="1449"/>
                  </a:lnTo>
                  <a:lnTo>
                    <a:pt x="2642" y="1489"/>
                  </a:lnTo>
                  <a:lnTo>
                    <a:pt x="2619" y="1529"/>
                  </a:lnTo>
                  <a:lnTo>
                    <a:pt x="2593" y="1566"/>
                  </a:lnTo>
                  <a:lnTo>
                    <a:pt x="2565" y="1604"/>
                  </a:lnTo>
                  <a:lnTo>
                    <a:pt x="2534" y="1640"/>
                  </a:lnTo>
                  <a:lnTo>
                    <a:pt x="2501" y="1674"/>
                  </a:lnTo>
                  <a:lnTo>
                    <a:pt x="2465" y="1709"/>
                  </a:lnTo>
                  <a:lnTo>
                    <a:pt x="2429" y="1742"/>
                  </a:lnTo>
                  <a:lnTo>
                    <a:pt x="2388" y="1771"/>
                  </a:lnTo>
                  <a:lnTo>
                    <a:pt x="2347" y="1800"/>
                  </a:lnTo>
                  <a:lnTo>
                    <a:pt x="2303" y="1828"/>
                  </a:lnTo>
                  <a:lnTo>
                    <a:pt x="2257" y="1854"/>
                  </a:lnTo>
                  <a:lnTo>
                    <a:pt x="2208" y="1879"/>
                  </a:lnTo>
                  <a:lnTo>
                    <a:pt x="2159" y="1902"/>
                  </a:lnTo>
                  <a:lnTo>
                    <a:pt x="2107" y="1923"/>
                  </a:lnTo>
                  <a:lnTo>
                    <a:pt x="2053" y="1943"/>
                  </a:lnTo>
                  <a:lnTo>
                    <a:pt x="1997" y="1961"/>
                  </a:lnTo>
                  <a:lnTo>
                    <a:pt x="1938" y="1976"/>
                  </a:lnTo>
                  <a:lnTo>
                    <a:pt x="1879" y="1990"/>
                  </a:lnTo>
                  <a:lnTo>
                    <a:pt x="1819" y="2002"/>
                  </a:lnTo>
                  <a:lnTo>
                    <a:pt x="1755" y="2012"/>
                  </a:lnTo>
                  <a:lnTo>
                    <a:pt x="1691" y="2018"/>
                  </a:lnTo>
                  <a:lnTo>
                    <a:pt x="1624" y="2025"/>
                  </a:lnTo>
                  <a:lnTo>
                    <a:pt x="1557" y="2028"/>
                  </a:lnTo>
                  <a:lnTo>
                    <a:pt x="1488" y="2030"/>
                  </a:lnTo>
                  <a:lnTo>
                    <a:pt x="1488" y="20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5" name="Freeform 18"/>
            <p:cNvSpPr>
              <a:spLocks/>
            </p:cNvSpPr>
            <p:nvPr/>
          </p:nvSpPr>
          <p:spPr bwMode="auto">
            <a:xfrm>
              <a:off x="7856254" y="5908560"/>
              <a:ext cx="206927" cy="269362"/>
            </a:xfrm>
            <a:custGeom>
              <a:avLst/>
              <a:gdLst>
                <a:gd name="T0" fmla="*/ 4 w 698"/>
                <a:gd name="T1" fmla="*/ 404 h 907"/>
                <a:gd name="T2" fmla="*/ 18 w 698"/>
                <a:gd name="T3" fmla="*/ 309 h 907"/>
                <a:gd name="T4" fmla="*/ 48 w 698"/>
                <a:gd name="T5" fmla="*/ 226 h 907"/>
                <a:gd name="T6" fmla="*/ 89 w 698"/>
                <a:gd name="T7" fmla="*/ 154 h 907"/>
                <a:gd name="T8" fmla="*/ 143 w 698"/>
                <a:gd name="T9" fmla="*/ 95 h 907"/>
                <a:gd name="T10" fmla="*/ 207 w 698"/>
                <a:gd name="T11" fmla="*/ 49 h 907"/>
                <a:gd name="T12" fmla="*/ 279 w 698"/>
                <a:gd name="T13" fmla="*/ 18 h 907"/>
                <a:gd name="T14" fmla="*/ 359 w 698"/>
                <a:gd name="T15" fmla="*/ 1 h 907"/>
                <a:gd name="T16" fmla="*/ 428 w 698"/>
                <a:gd name="T17" fmla="*/ 0 h 907"/>
                <a:gd name="T18" fmla="*/ 519 w 698"/>
                <a:gd name="T19" fmla="*/ 16 h 907"/>
                <a:gd name="T20" fmla="*/ 573 w 698"/>
                <a:gd name="T21" fmla="*/ 37 h 907"/>
                <a:gd name="T22" fmla="*/ 593 w 698"/>
                <a:gd name="T23" fmla="*/ 37 h 907"/>
                <a:gd name="T24" fmla="*/ 611 w 698"/>
                <a:gd name="T25" fmla="*/ 16 h 907"/>
                <a:gd name="T26" fmla="*/ 621 w 698"/>
                <a:gd name="T27" fmla="*/ 6 h 907"/>
                <a:gd name="T28" fmla="*/ 681 w 698"/>
                <a:gd name="T29" fmla="*/ 6 h 907"/>
                <a:gd name="T30" fmla="*/ 689 w 698"/>
                <a:gd name="T31" fmla="*/ 245 h 907"/>
                <a:gd name="T32" fmla="*/ 681 w 698"/>
                <a:gd name="T33" fmla="*/ 258 h 907"/>
                <a:gd name="T34" fmla="*/ 621 w 698"/>
                <a:gd name="T35" fmla="*/ 258 h 907"/>
                <a:gd name="T36" fmla="*/ 613 w 698"/>
                <a:gd name="T37" fmla="*/ 247 h 907"/>
                <a:gd name="T38" fmla="*/ 586 w 698"/>
                <a:gd name="T39" fmla="*/ 160 h 907"/>
                <a:gd name="T40" fmla="*/ 550 w 698"/>
                <a:gd name="T41" fmla="*/ 111 h 907"/>
                <a:gd name="T42" fmla="*/ 495 w 698"/>
                <a:gd name="T43" fmla="*/ 82 h 907"/>
                <a:gd name="T44" fmla="*/ 436 w 698"/>
                <a:gd name="T45" fmla="*/ 75 h 907"/>
                <a:gd name="T46" fmla="*/ 383 w 698"/>
                <a:gd name="T47" fmla="*/ 87 h 907"/>
                <a:gd name="T48" fmla="*/ 342 w 698"/>
                <a:gd name="T49" fmla="*/ 114 h 907"/>
                <a:gd name="T50" fmla="*/ 285 w 698"/>
                <a:gd name="T51" fmla="*/ 206 h 907"/>
                <a:gd name="T52" fmla="*/ 256 w 698"/>
                <a:gd name="T53" fmla="*/ 321 h 907"/>
                <a:gd name="T54" fmla="*/ 247 w 698"/>
                <a:gd name="T55" fmla="*/ 424 h 907"/>
                <a:gd name="T56" fmla="*/ 257 w 698"/>
                <a:gd name="T57" fmla="*/ 596 h 907"/>
                <a:gd name="T58" fmla="*/ 290 w 698"/>
                <a:gd name="T59" fmla="*/ 722 h 907"/>
                <a:gd name="T60" fmla="*/ 338 w 698"/>
                <a:gd name="T61" fmla="*/ 792 h 907"/>
                <a:gd name="T62" fmla="*/ 383 w 698"/>
                <a:gd name="T63" fmla="*/ 820 h 907"/>
                <a:gd name="T64" fmla="*/ 441 w 698"/>
                <a:gd name="T65" fmla="*/ 831 h 907"/>
                <a:gd name="T66" fmla="*/ 503 w 698"/>
                <a:gd name="T67" fmla="*/ 823 h 907"/>
                <a:gd name="T68" fmla="*/ 562 w 698"/>
                <a:gd name="T69" fmla="*/ 794 h 907"/>
                <a:gd name="T70" fmla="*/ 598 w 698"/>
                <a:gd name="T71" fmla="*/ 743 h 907"/>
                <a:gd name="T72" fmla="*/ 621 w 698"/>
                <a:gd name="T73" fmla="*/ 658 h 907"/>
                <a:gd name="T74" fmla="*/ 631 w 698"/>
                <a:gd name="T75" fmla="*/ 646 h 907"/>
                <a:gd name="T76" fmla="*/ 689 w 698"/>
                <a:gd name="T77" fmla="*/ 648 h 907"/>
                <a:gd name="T78" fmla="*/ 698 w 698"/>
                <a:gd name="T79" fmla="*/ 887 h 907"/>
                <a:gd name="T80" fmla="*/ 689 w 698"/>
                <a:gd name="T81" fmla="*/ 898 h 907"/>
                <a:gd name="T82" fmla="*/ 629 w 698"/>
                <a:gd name="T83" fmla="*/ 900 h 907"/>
                <a:gd name="T84" fmla="*/ 621 w 698"/>
                <a:gd name="T85" fmla="*/ 892 h 907"/>
                <a:gd name="T86" fmla="*/ 599 w 698"/>
                <a:gd name="T87" fmla="*/ 877 h 907"/>
                <a:gd name="T88" fmla="*/ 534 w 698"/>
                <a:gd name="T89" fmla="*/ 892 h 907"/>
                <a:gd name="T90" fmla="*/ 403 w 698"/>
                <a:gd name="T91" fmla="*/ 907 h 907"/>
                <a:gd name="T92" fmla="*/ 334 w 698"/>
                <a:gd name="T93" fmla="*/ 902 h 907"/>
                <a:gd name="T94" fmla="*/ 249 w 698"/>
                <a:gd name="T95" fmla="*/ 877 h 907"/>
                <a:gd name="T96" fmla="*/ 177 w 698"/>
                <a:gd name="T97" fmla="*/ 838 h 907"/>
                <a:gd name="T98" fmla="*/ 118 w 698"/>
                <a:gd name="T99" fmla="*/ 784 h 907"/>
                <a:gd name="T100" fmla="*/ 59 w 698"/>
                <a:gd name="T101" fmla="*/ 702 h 907"/>
                <a:gd name="T102" fmla="*/ 7 w 698"/>
                <a:gd name="T103" fmla="*/ 5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8" h="907">
                  <a:moveTo>
                    <a:pt x="0" y="455"/>
                  </a:moveTo>
                  <a:lnTo>
                    <a:pt x="0" y="455"/>
                  </a:lnTo>
                  <a:lnTo>
                    <a:pt x="2" y="429"/>
                  </a:lnTo>
                  <a:lnTo>
                    <a:pt x="4" y="404"/>
                  </a:lnTo>
                  <a:lnTo>
                    <a:pt x="5" y="378"/>
                  </a:lnTo>
                  <a:lnTo>
                    <a:pt x="8" y="355"/>
                  </a:lnTo>
                  <a:lnTo>
                    <a:pt x="13" y="332"/>
                  </a:lnTo>
                  <a:lnTo>
                    <a:pt x="18" y="309"/>
                  </a:lnTo>
                  <a:lnTo>
                    <a:pt x="25" y="286"/>
                  </a:lnTo>
                  <a:lnTo>
                    <a:pt x="31" y="265"/>
                  </a:lnTo>
                  <a:lnTo>
                    <a:pt x="38" y="245"/>
                  </a:lnTo>
                  <a:lnTo>
                    <a:pt x="48" y="226"/>
                  </a:lnTo>
                  <a:lnTo>
                    <a:pt x="56" y="206"/>
                  </a:lnTo>
                  <a:lnTo>
                    <a:pt x="67" y="188"/>
                  </a:lnTo>
                  <a:lnTo>
                    <a:pt x="77" y="170"/>
                  </a:lnTo>
                  <a:lnTo>
                    <a:pt x="89" y="154"/>
                  </a:lnTo>
                  <a:lnTo>
                    <a:pt x="102" y="137"/>
                  </a:lnTo>
                  <a:lnTo>
                    <a:pt x="115" y="123"/>
                  </a:lnTo>
                  <a:lnTo>
                    <a:pt x="128" y="108"/>
                  </a:lnTo>
                  <a:lnTo>
                    <a:pt x="143" y="95"/>
                  </a:lnTo>
                  <a:lnTo>
                    <a:pt x="157" y="82"/>
                  </a:lnTo>
                  <a:lnTo>
                    <a:pt x="174" y="70"/>
                  </a:lnTo>
                  <a:lnTo>
                    <a:pt x="190" y="59"/>
                  </a:lnTo>
                  <a:lnTo>
                    <a:pt x="207" y="49"/>
                  </a:lnTo>
                  <a:lnTo>
                    <a:pt x="225" y="39"/>
                  </a:lnTo>
                  <a:lnTo>
                    <a:pt x="243" y="31"/>
                  </a:lnTo>
                  <a:lnTo>
                    <a:pt x="261" y="24"/>
                  </a:lnTo>
                  <a:lnTo>
                    <a:pt x="279" y="18"/>
                  </a:lnTo>
                  <a:lnTo>
                    <a:pt x="298" y="11"/>
                  </a:lnTo>
                  <a:lnTo>
                    <a:pt x="318" y="8"/>
                  </a:lnTo>
                  <a:lnTo>
                    <a:pt x="339" y="3"/>
                  </a:lnTo>
                  <a:lnTo>
                    <a:pt x="359" y="1"/>
                  </a:lnTo>
                  <a:lnTo>
                    <a:pt x="380" y="0"/>
                  </a:lnTo>
                  <a:lnTo>
                    <a:pt x="401" y="0"/>
                  </a:lnTo>
                  <a:lnTo>
                    <a:pt x="401" y="0"/>
                  </a:lnTo>
                  <a:lnTo>
                    <a:pt x="428" y="0"/>
                  </a:lnTo>
                  <a:lnTo>
                    <a:pt x="452" y="1"/>
                  </a:lnTo>
                  <a:lnTo>
                    <a:pt x="472" y="5"/>
                  </a:lnTo>
                  <a:lnTo>
                    <a:pt x="490" y="8"/>
                  </a:lnTo>
                  <a:lnTo>
                    <a:pt x="519" y="16"/>
                  </a:lnTo>
                  <a:lnTo>
                    <a:pt x="541" y="24"/>
                  </a:lnTo>
                  <a:lnTo>
                    <a:pt x="541" y="24"/>
                  </a:lnTo>
                  <a:lnTo>
                    <a:pt x="563" y="34"/>
                  </a:lnTo>
                  <a:lnTo>
                    <a:pt x="573" y="37"/>
                  </a:lnTo>
                  <a:lnTo>
                    <a:pt x="583" y="39"/>
                  </a:lnTo>
                  <a:lnTo>
                    <a:pt x="583" y="39"/>
                  </a:lnTo>
                  <a:lnTo>
                    <a:pt x="588" y="39"/>
                  </a:lnTo>
                  <a:lnTo>
                    <a:pt x="593" y="37"/>
                  </a:lnTo>
                  <a:lnTo>
                    <a:pt x="598" y="36"/>
                  </a:lnTo>
                  <a:lnTo>
                    <a:pt x="601" y="33"/>
                  </a:lnTo>
                  <a:lnTo>
                    <a:pt x="608" y="24"/>
                  </a:lnTo>
                  <a:lnTo>
                    <a:pt x="611" y="16"/>
                  </a:lnTo>
                  <a:lnTo>
                    <a:pt x="611" y="16"/>
                  </a:lnTo>
                  <a:lnTo>
                    <a:pt x="614" y="11"/>
                  </a:lnTo>
                  <a:lnTo>
                    <a:pt x="617" y="8"/>
                  </a:lnTo>
                  <a:lnTo>
                    <a:pt x="621" y="6"/>
                  </a:lnTo>
                  <a:lnTo>
                    <a:pt x="624" y="5"/>
                  </a:lnTo>
                  <a:lnTo>
                    <a:pt x="676" y="5"/>
                  </a:lnTo>
                  <a:lnTo>
                    <a:pt x="676" y="5"/>
                  </a:lnTo>
                  <a:lnTo>
                    <a:pt x="681" y="6"/>
                  </a:lnTo>
                  <a:lnTo>
                    <a:pt x="686" y="8"/>
                  </a:lnTo>
                  <a:lnTo>
                    <a:pt x="688" y="13"/>
                  </a:lnTo>
                  <a:lnTo>
                    <a:pt x="689" y="18"/>
                  </a:lnTo>
                  <a:lnTo>
                    <a:pt x="689" y="245"/>
                  </a:lnTo>
                  <a:lnTo>
                    <a:pt x="689" y="245"/>
                  </a:lnTo>
                  <a:lnTo>
                    <a:pt x="688" y="250"/>
                  </a:lnTo>
                  <a:lnTo>
                    <a:pt x="686" y="255"/>
                  </a:lnTo>
                  <a:lnTo>
                    <a:pt x="681" y="258"/>
                  </a:lnTo>
                  <a:lnTo>
                    <a:pt x="676" y="258"/>
                  </a:lnTo>
                  <a:lnTo>
                    <a:pt x="626" y="258"/>
                  </a:lnTo>
                  <a:lnTo>
                    <a:pt x="626" y="258"/>
                  </a:lnTo>
                  <a:lnTo>
                    <a:pt x="621" y="258"/>
                  </a:lnTo>
                  <a:lnTo>
                    <a:pt x="617" y="257"/>
                  </a:lnTo>
                  <a:lnTo>
                    <a:pt x="614" y="252"/>
                  </a:lnTo>
                  <a:lnTo>
                    <a:pt x="613" y="247"/>
                  </a:lnTo>
                  <a:lnTo>
                    <a:pt x="613" y="247"/>
                  </a:lnTo>
                  <a:lnTo>
                    <a:pt x="604" y="209"/>
                  </a:lnTo>
                  <a:lnTo>
                    <a:pt x="599" y="191"/>
                  </a:lnTo>
                  <a:lnTo>
                    <a:pt x="593" y="175"/>
                  </a:lnTo>
                  <a:lnTo>
                    <a:pt x="586" y="160"/>
                  </a:lnTo>
                  <a:lnTo>
                    <a:pt x="580" y="145"/>
                  </a:lnTo>
                  <a:lnTo>
                    <a:pt x="572" y="132"/>
                  </a:lnTo>
                  <a:lnTo>
                    <a:pt x="562" y="121"/>
                  </a:lnTo>
                  <a:lnTo>
                    <a:pt x="550" y="111"/>
                  </a:lnTo>
                  <a:lnTo>
                    <a:pt x="539" y="101"/>
                  </a:lnTo>
                  <a:lnTo>
                    <a:pt x="526" y="93"/>
                  </a:lnTo>
                  <a:lnTo>
                    <a:pt x="511" y="87"/>
                  </a:lnTo>
                  <a:lnTo>
                    <a:pt x="495" y="82"/>
                  </a:lnTo>
                  <a:lnTo>
                    <a:pt x="477" y="78"/>
                  </a:lnTo>
                  <a:lnTo>
                    <a:pt x="457" y="77"/>
                  </a:lnTo>
                  <a:lnTo>
                    <a:pt x="436" y="75"/>
                  </a:lnTo>
                  <a:lnTo>
                    <a:pt x="436" y="75"/>
                  </a:lnTo>
                  <a:lnTo>
                    <a:pt x="421" y="77"/>
                  </a:lnTo>
                  <a:lnTo>
                    <a:pt x="408" y="78"/>
                  </a:lnTo>
                  <a:lnTo>
                    <a:pt x="395" y="82"/>
                  </a:lnTo>
                  <a:lnTo>
                    <a:pt x="383" y="87"/>
                  </a:lnTo>
                  <a:lnTo>
                    <a:pt x="372" y="91"/>
                  </a:lnTo>
                  <a:lnTo>
                    <a:pt x="362" y="98"/>
                  </a:lnTo>
                  <a:lnTo>
                    <a:pt x="352" y="105"/>
                  </a:lnTo>
                  <a:lnTo>
                    <a:pt x="342" y="114"/>
                  </a:lnTo>
                  <a:lnTo>
                    <a:pt x="324" y="132"/>
                  </a:lnTo>
                  <a:lnTo>
                    <a:pt x="310" y="155"/>
                  </a:lnTo>
                  <a:lnTo>
                    <a:pt x="297" y="180"/>
                  </a:lnTo>
                  <a:lnTo>
                    <a:pt x="285" y="206"/>
                  </a:lnTo>
                  <a:lnTo>
                    <a:pt x="275" y="234"/>
                  </a:lnTo>
                  <a:lnTo>
                    <a:pt x="267" y="263"/>
                  </a:lnTo>
                  <a:lnTo>
                    <a:pt x="261" y="291"/>
                  </a:lnTo>
                  <a:lnTo>
                    <a:pt x="256" y="321"/>
                  </a:lnTo>
                  <a:lnTo>
                    <a:pt x="252" y="348"/>
                  </a:lnTo>
                  <a:lnTo>
                    <a:pt x="249" y="375"/>
                  </a:lnTo>
                  <a:lnTo>
                    <a:pt x="247" y="424"/>
                  </a:lnTo>
                  <a:lnTo>
                    <a:pt x="247" y="424"/>
                  </a:lnTo>
                  <a:lnTo>
                    <a:pt x="249" y="491"/>
                  </a:lnTo>
                  <a:lnTo>
                    <a:pt x="251" y="525"/>
                  </a:lnTo>
                  <a:lnTo>
                    <a:pt x="254" y="561"/>
                  </a:lnTo>
                  <a:lnTo>
                    <a:pt x="257" y="596"/>
                  </a:lnTo>
                  <a:lnTo>
                    <a:pt x="264" y="628"/>
                  </a:lnTo>
                  <a:lnTo>
                    <a:pt x="270" y="661"/>
                  </a:lnTo>
                  <a:lnTo>
                    <a:pt x="280" y="692"/>
                  </a:lnTo>
                  <a:lnTo>
                    <a:pt x="290" y="722"/>
                  </a:lnTo>
                  <a:lnTo>
                    <a:pt x="303" y="748"/>
                  </a:lnTo>
                  <a:lnTo>
                    <a:pt x="320" y="772"/>
                  </a:lnTo>
                  <a:lnTo>
                    <a:pt x="328" y="782"/>
                  </a:lnTo>
                  <a:lnTo>
                    <a:pt x="338" y="792"/>
                  </a:lnTo>
                  <a:lnTo>
                    <a:pt x="347" y="800"/>
                  </a:lnTo>
                  <a:lnTo>
                    <a:pt x="359" y="808"/>
                  </a:lnTo>
                  <a:lnTo>
                    <a:pt x="370" y="815"/>
                  </a:lnTo>
                  <a:lnTo>
                    <a:pt x="383" y="820"/>
                  </a:lnTo>
                  <a:lnTo>
                    <a:pt x="396" y="825"/>
                  </a:lnTo>
                  <a:lnTo>
                    <a:pt x="411" y="828"/>
                  </a:lnTo>
                  <a:lnTo>
                    <a:pt x="426" y="830"/>
                  </a:lnTo>
                  <a:lnTo>
                    <a:pt x="441" y="831"/>
                  </a:lnTo>
                  <a:lnTo>
                    <a:pt x="441" y="831"/>
                  </a:lnTo>
                  <a:lnTo>
                    <a:pt x="464" y="830"/>
                  </a:lnTo>
                  <a:lnTo>
                    <a:pt x="485" y="828"/>
                  </a:lnTo>
                  <a:lnTo>
                    <a:pt x="503" y="823"/>
                  </a:lnTo>
                  <a:lnTo>
                    <a:pt x="521" y="818"/>
                  </a:lnTo>
                  <a:lnTo>
                    <a:pt x="536" y="812"/>
                  </a:lnTo>
                  <a:lnTo>
                    <a:pt x="549" y="803"/>
                  </a:lnTo>
                  <a:lnTo>
                    <a:pt x="562" y="794"/>
                  </a:lnTo>
                  <a:lnTo>
                    <a:pt x="572" y="782"/>
                  </a:lnTo>
                  <a:lnTo>
                    <a:pt x="581" y="771"/>
                  </a:lnTo>
                  <a:lnTo>
                    <a:pt x="590" y="758"/>
                  </a:lnTo>
                  <a:lnTo>
                    <a:pt x="598" y="743"/>
                  </a:lnTo>
                  <a:lnTo>
                    <a:pt x="603" y="728"/>
                  </a:lnTo>
                  <a:lnTo>
                    <a:pt x="609" y="712"/>
                  </a:lnTo>
                  <a:lnTo>
                    <a:pt x="614" y="695"/>
                  </a:lnTo>
                  <a:lnTo>
                    <a:pt x="621" y="658"/>
                  </a:lnTo>
                  <a:lnTo>
                    <a:pt x="621" y="658"/>
                  </a:lnTo>
                  <a:lnTo>
                    <a:pt x="622" y="653"/>
                  </a:lnTo>
                  <a:lnTo>
                    <a:pt x="626" y="648"/>
                  </a:lnTo>
                  <a:lnTo>
                    <a:pt x="631" y="646"/>
                  </a:lnTo>
                  <a:lnTo>
                    <a:pt x="634" y="646"/>
                  </a:lnTo>
                  <a:lnTo>
                    <a:pt x="685" y="646"/>
                  </a:lnTo>
                  <a:lnTo>
                    <a:pt x="685" y="646"/>
                  </a:lnTo>
                  <a:lnTo>
                    <a:pt x="689" y="648"/>
                  </a:lnTo>
                  <a:lnTo>
                    <a:pt x="694" y="650"/>
                  </a:lnTo>
                  <a:lnTo>
                    <a:pt x="696" y="654"/>
                  </a:lnTo>
                  <a:lnTo>
                    <a:pt x="698" y="659"/>
                  </a:lnTo>
                  <a:lnTo>
                    <a:pt x="698" y="887"/>
                  </a:lnTo>
                  <a:lnTo>
                    <a:pt x="698" y="887"/>
                  </a:lnTo>
                  <a:lnTo>
                    <a:pt x="696" y="892"/>
                  </a:lnTo>
                  <a:lnTo>
                    <a:pt x="694" y="897"/>
                  </a:lnTo>
                  <a:lnTo>
                    <a:pt x="689" y="898"/>
                  </a:lnTo>
                  <a:lnTo>
                    <a:pt x="685" y="900"/>
                  </a:lnTo>
                  <a:lnTo>
                    <a:pt x="632" y="900"/>
                  </a:lnTo>
                  <a:lnTo>
                    <a:pt x="632" y="900"/>
                  </a:lnTo>
                  <a:lnTo>
                    <a:pt x="629" y="900"/>
                  </a:lnTo>
                  <a:lnTo>
                    <a:pt x="626" y="898"/>
                  </a:lnTo>
                  <a:lnTo>
                    <a:pt x="622" y="895"/>
                  </a:lnTo>
                  <a:lnTo>
                    <a:pt x="621" y="892"/>
                  </a:lnTo>
                  <a:lnTo>
                    <a:pt x="621" y="892"/>
                  </a:lnTo>
                  <a:lnTo>
                    <a:pt x="617" y="887"/>
                  </a:lnTo>
                  <a:lnTo>
                    <a:pt x="613" y="882"/>
                  </a:lnTo>
                  <a:lnTo>
                    <a:pt x="608" y="877"/>
                  </a:lnTo>
                  <a:lnTo>
                    <a:pt x="599" y="877"/>
                  </a:lnTo>
                  <a:lnTo>
                    <a:pt x="599" y="877"/>
                  </a:lnTo>
                  <a:lnTo>
                    <a:pt x="588" y="877"/>
                  </a:lnTo>
                  <a:lnTo>
                    <a:pt x="573" y="880"/>
                  </a:lnTo>
                  <a:lnTo>
                    <a:pt x="534" y="892"/>
                  </a:lnTo>
                  <a:lnTo>
                    <a:pt x="509" y="897"/>
                  </a:lnTo>
                  <a:lnTo>
                    <a:pt x="478" y="902"/>
                  </a:lnTo>
                  <a:lnTo>
                    <a:pt x="444" y="905"/>
                  </a:lnTo>
                  <a:lnTo>
                    <a:pt x="403" y="907"/>
                  </a:lnTo>
                  <a:lnTo>
                    <a:pt x="403" y="907"/>
                  </a:lnTo>
                  <a:lnTo>
                    <a:pt x="380" y="907"/>
                  </a:lnTo>
                  <a:lnTo>
                    <a:pt x="356" y="903"/>
                  </a:lnTo>
                  <a:lnTo>
                    <a:pt x="334" y="902"/>
                  </a:lnTo>
                  <a:lnTo>
                    <a:pt x="311" y="897"/>
                  </a:lnTo>
                  <a:lnTo>
                    <a:pt x="290" y="892"/>
                  </a:lnTo>
                  <a:lnTo>
                    <a:pt x="270" y="885"/>
                  </a:lnTo>
                  <a:lnTo>
                    <a:pt x="249" y="877"/>
                  </a:lnTo>
                  <a:lnTo>
                    <a:pt x="231" y="869"/>
                  </a:lnTo>
                  <a:lnTo>
                    <a:pt x="213" y="859"/>
                  </a:lnTo>
                  <a:lnTo>
                    <a:pt x="195" y="849"/>
                  </a:lnTo>
                  <a:lnTo>
                    <a:pt x="177" y="838"/>
                  </a:lnTo>
                  <a:lnTo>
                    <a:pt x="162" y="826"/>
                  </a:lnTo>
                  <a:lnTo>
                    <a:pt x="146" y="813"/>
                  </a:lnTo>
                  <a:lnTo>
                    <a:pt x="131" y="799"/>
                  </a:lnTo>
                  <a:lnTo>
                    <a:pt x="118" y="784"/>
                  </a:lnTo>
                  <a:lnTo>
                    <a:pt x="105" y="769"/>
                  </a:lnTo>
                  <a:lnTo>
                    <a:pt x="92" y="753"/>
                  </a:lnTo>
                  <a:lnTo>
                    <a:pt x="81" y="736"/>
                  </a:lnTo>
                  <a:lnTo>
                    <a:pt x="59" y="702"/>
                  </a:lnTo>
                  <a:lnTo>
                    <a:pt x="41" y="664"/>
                  </a:lnTo>
                  <a:lnTo>
                    <a:pt x="26" y="625"/>
                  </a:lnTo>
                  <a:lnTo>
                    <a:pt x="15" y="584"/>
                  </a:lnTo>
                  <a:lnTo>
                    <a:pt x="7" y="542"/>
                  </a:lnTo>
                  <a:lnTo>
                    <a:pt x="2" y="499"/>
                  </a:lnTo>
                  <a:lnTo>
                    <a:pt x="0"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6" name="Freeform 20"/>
            <p:cNvSpPr>
              <a:spLocks noEditPoints="1"/>
            </p:cNvSpPr>
            <p:nvPr/>
          </p:nvSpPr>
          <p:spPr bwMode="auto">
            <a:xfrm>
              <a:off x="8051289" y="5957319"/>
              <a:ext cx="137357" cy="129032"/>
            </a:xfrm>
            <a:custGeom>
              <a:avLst/>
              <a:gdLst>
                <a:gd name="T0" fmla="*/ 345 w 461"/>
                <a:gd name="T1" fmla="*/ 187 h 436"/>
                <a:gd name="T2" fmla="*/ 339 w 461"/>
                <a:gd name="T3" fmla="*/ 194 h 436"/>
                <a:gd name="T4" fmla="*/ 291 w 461"/>
                <a:gd name="T5" fmla="*/ 290 h 436"/>
                <a:gd name="T6" fmla="*/ 263 w 461"/>
                <a:gd name="T7" fmla="*/ 179 h 436"/>
                <a:gd name="T8" fmla="*/ 316 w 461"/>
                <a:gd name="T9" fmla="*/ 128 h 436"/>
                <a:gd name="T10" fmla="*/ 325 w 461"/>
                <a:gd name="T11" fmla="*/ 94 h 436"/>
                <a:gd name="T12" fmla="*/ 321 w 461"/>
                <a:gd name="T13" fmla="*/ 64 h 436"/>
                <a:gd name="T14" fmla="*/ 299 w 461"/>
                <a:gd name="T15" fmla="*/ 32 h 436"/>
                <a:gd name="T16" fmla="*/ 257 w 461"/>
                <a:gd name="T17" fmla="*/ 7 h 436"/>
                <a:gd name="T18" fmla="*/ 186 w 461"/>
                <a:gd name="T19" fmla="*/ 2 h 436"/>
                <a:gd name="T20" fmla="*/ 131 w 461"/>
                <a:gd name="T21" fmla="*/ 22 h 436"/>
                <a:gd name="T22" fmla="*/ 98 w 461"/>
                <a:gd name="T23" fmla="*/ 51 h 436"/>
                <a:gd name="T24" fmla="*/ 83 w 461"/>
                <a:gd name="T25" fmla="*/ 97 h 436"/>
                <a:gd name="T26" fmla="*/ 85 w 461"/>
                <a:gd name="T27" fmla="*/ 133 h 436"/>
                <a:gd name="T28" fmla="*/ 111 w 461"/>
                <a:gd name="T29" fmla="*/ 187 h 436"/>
                <a:gd name="T30" fmla="*/ 54 w 461"/>
                <a:gd name="T31" fmla="*/ 217 h 436"/>
                <a:gd name="T32" fmla="*/ 10 w 461"/>
                <a:gd name="T33" fmla="*/ 269 h 436"/>
                <a:gd name="T34" fmla="*/ 0 w 461"/>
                <a:gd name="T35" fmla="*/ 315 h 436"/>
                <a:gd name="T36" fmla="*/ 8 w 461"/>
                <a:gd name="T37" fmla="*/ 354 h 436"/>
                <a:gd name="T38" fmla="*/ 36 w 461"/>
                <a:gd name="T39" fmla="*/ 395 h 436"/>
                <a:gd name="T40" fmla="*/ 80 w 461"/>
                <a:gd name="T41" fmla="*/ 423 h 436"/>
                <a:gd name="T42" fmla="*/ 137 w 461"/>
                <a:gd name="T43" fmla="*/ 434 h 436"/>
                <a:gd name="T44" fmla="*/ 195 w 461"/>
                <a:gd name="T45" fmla="*/ 431 h 436"/>
                <a:gd name="T46" fmla="*/ 255 w 461"/>
                <a:gd name="T47" fmla="*/ 410 h 436"/>
                <a:gd name="T48" fmla="*/ 294 w 461"/>
                <a:gd name="T49" fmla="*/ 416 h 436"/>
                <a:gd name="T50" fmla="*/ 350 w 461"/>
                <a:gd name="T51" fmla="*/ 426 h 436"/>
                <a:gd name="T52" fmla="*/ 401 w 461"/>
                <a:gd name="T53" fmla="*/ 424 h 436"/>
                <a:gd name="T54" fmla="*/ 416 w 461"/>
                <a:gd name="T55" fmla="*/ 388 h 436"/>
                <a:gd name="T56" fmla="*/ 416 w 461"/>
                <a:gd name="T57" fmla="*/ 380 h 436"/>
                <a:gd name="T58" fmla="*/ 389 w 461"/>
                <a:gd name="T59" fmla="*/ 379 h 436"/>
                <a:gd name="T60" fmla="*/ 343 w 461"/>
                <a:gd name="T61" fmla="*/ 362 h 436"/>
                <a:gd name="T62" fmla="*/ 327 w 461"/>
                <a:gd name="T63" fmla="*/ 344 h 436"/>
                <a:gd name="T64" fmla="*/ 375 w 461"/>
                <a:gd name="T65" fmla="*/ 289 h 436"/>
                <a:gd name="T66" fmla="*/ 404 w 461"/>
                <a:gd name="T67" fmla="*/ 243 h 436"/>
                <a:gd name="T68" fmla="*/ 435 w 461"/>
                <a:gd name="T69" fmla="*/ 233 h 436"/>
                <a:gd name="T70" fmla="*/ 445 w 461"/>
                <a:gd name="T71" fmla="*/ 228 h 436"/>
                <a:gd name="T72" fmla="*/ 461 w 461"/>
                <a:gd name="T73" fmla="*/ 190 h 436"/>
                <a:gd name="T74" fmla="*/ 452 w 461"/>
                <a:gd name="T75" fmla="*/ 187 h 436"/>
                <a:gd name="T76" fmla="*/ 226 w 461"/>
                <a:gd name="T77" fmla="*/ 43 h 436"/>
                <a:gd name="T78" fmla="*/ 244 w 461"/>
                <a:gd name="T79" fmla="*/ 68 h 436"/>
                <a:gd name="T80" fmla="*/ 244 w 461"/>
                <a:gd name="T81" fmla="*/ 95 h 436"/>
                <a:gd name="T82" fmla="*/ 226 w 461"/>
                <a:gd name="T83" fmla="*/ 135 h 436"/>
                <a:gd name="T84" fmla="*/ 196 w 461"/>
                <a:gd name="T85" fmla="*/ 158 h 436"/>
                <a:gd name="T86" fmla="*/ 170 w 461"/>
                <a:gd name="T87" fmla="*/ 84 h 436"/>
                <a:gd name="T88" fmla="*/ 175 w 461"/>
                <a:gd name="T89" fmla="*/ 59 h 436"/>
                <a:gd name="T90" fmla="*/ 201 w 461"/>
                <a:gd name="T91" fmla="*/ 40 h 436"/>
                <a:gd name="T92" fmla="*/ 167 w 461"/>
                <a:gd name="T93" fmla="*/ 388 h 436"/>
                <a:gd name="T94" fmla="*/ 113 w 461"/>
                <a:gd name="T95" fmla="*/ 367 h 436"/>
                <a:gd name="T96" fmla="*/ 91 w 461"/>
                <a:gd name="T97" fmla="*/ 310 h 436"/>
                <a:gd name="T98" fmla="*/ 100 w 461"/>
                <a:gd name="T99" fmla="*/ 275 h 436"/>
                <a:gd name="T100" fmla="*/ 127 w 461"/>
                <a:gd name="T101" fmla="*/ 235 h 436"/>
                <a:gd name="T102" fmla="*/ 217 w 461"/>
                <a:gd name="T103" fmla="*/ 369 h 436"/>
                <a:gd name="T104" fmla="*/ 177 w 461"/>
                <a:gd name="T105" fmla="*/ 38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1" h="436">
                  <a:moveTo>
                    <a:pt x="452" y="187"/>
                  </a:moveTo>
                  <a:lnTo>
                    <a:pt x="350" y="187"/>
                  </a:lnTo>
                  <a:lnTo>
                    <a:pt x="350" y="187"/>
                  </a:lnTo>
                  <a:lnTo>
                    <a:pt x="345" y="187"/>
                  </a:lnTo>
                  <a:lnTo>
                    <a:pt x="340" y="189"/>
                  </a:lnTo>
                  <a:lnTo>
                    <a:pt x="339" y="190"/>
                  </a:lnTo>
                  <a:lnTo>
                    <a:pt x="339" y="194"/>
                  </a:lnTo>
                  <a:lnTo>
                    <a:pt x="339" y="194"/>
                  </a:lnTo>
                  <a:lnTo>
                    <a:pt x="330" y="218"/>
                  </a:lnTo>
                  <a:lnTo>
                    <a:pt x="321" y="241"/>
                  </a:lnTo>
                  <a:lnTo>
                    <a:pt x="307" y="266"/>
                  </a:lnTo>
                  <a:lnTo>
                    <a:pt x="291" y="290"/>
                  </a:lnTo>
                  <a:lnTo>
                    <a:pt x="229" y="197"/>
                  </a:lnTo>
                  <a:lnTo>
                    <a:pt x="229" y="197"/>
                  </a:lnTo>
                  <a:lnTo>
                    <a:pt x="245" y="189"/>
                  </a:lnTo>
                  <a:lnTo>
                    <a:pt x="263" y="179"/>
                  </a:lnTo>
                  <a:lnTo>
                    <a:pt x="280" y="169"/>
                  </a:lnTo>
                  <a:lnTo>
                    <a:pt x="294" y="156"/>
                  </a:lnTo>
                  <a:lnTo>
                    <a:pt x="306" y="143"/>
                  </a:lnTo>
                  <a:lnTo>
                    <a:pt x="316" y="128"/>
                  </a:lnTo>
                  <a:lnTo>
                    <a:pt x="321" y="122"/>
                  </a:lnTo>
                  <a:lnTo>
                    <a:pt x="322" y="112"/>
                  </a:lnTo>
                  <a:lnTo>
                    <a:pt x="324" y="104"/>
                  </a:lnTo>
                  <a:lnTo>
                    <a:pt x="325" y="94"/>
                  </a:lnTo>
                  <a:lnTo>
                    <a:pt x="325" y="94"/>
                  </a:lnTo>
                  <a:lnTo>
                    <a:pt x="324" y="84"/>
                  </a:lnTo>
                  <a:lnTo>
                    <a:pt x="322" y="74"/>
                  </a:lnTo>
                  <a:lnTo>
                    <a:pt x="321" y="64"/>
                  </a:lnTo>
                  <a:lnTo>
                    <a:pt x="317" y="56"/>
                  </a:lnTo>
                  <a:lnTo>
                    <a:pt x="312" y="46"/>
                  </a:lnTo>
                  <a:lnTo>
                    <a:pt x="306" y="40"/>
                  </a:lnTo>
                  <a:lnTo>
                    <a:pt x="299" y="32"/>
                  </a:lnTo>
                  <a:lnTo>
                    <a:pt x="293" y="25"/>
                  </a:lnTo>
                  <a:lnTo>
                    <a:pt x="285" y="20"/>
                  </a:lnTo>
                  <a:lnTo>
                    <a:pt x="276" y="15"/>
                  </a:lnTo>
                  <a:lnTo>
                    <a:pt x="257" y="7"/>
                  </a:lnTo>
                  <a:lnTo>
                    <a:pt x="235" y="2"/>
                  </a:lnTo>
                  <a:lnTo>
                    <a:pt x="211" y="0"/>
                  </a:lnTo>
                  <a:lnTo>
                    <a:pt x="211" y="0"/>
                  </a:lnTo>
                  <a:lnTo>
                    <a:pt x="186" y="2"/>
                  </a:lnTo>
                  <a:lnTo>
                    <a:pt x="163" y="7"/>
                  </a:lnTo>
                  <a:lnTo>
                    <a:pt x="152" y="10"/>
                  </a:lnTo>
                  <a:lnTo>
                    <a:pt x="141" y="15"/>
                  </a:lnTo>
                  <a:lnTo>
                    <a:pt x="131" y="22"/>
                  </a:lnTo>
                  <a:lnTo>
                    <a:pt x="123" y="28"/>
                  </a:lnTo>
                  <a:lnTo>
                    <a:pt x="113" y="35"/>
                  </a:lnTo>
                  <a:lnTo>
                    <a:pt x="106" y="43"/>
                  </a:lnTo>
                  <a:lnTo>
                    <a:pt x="98" y="51"/>
                  </a:lnTo>
                  <a:lnTo>
                    <a:pt x="93" y="61"/>
                  </a:lnTo>
                  <a:lnTo>
                    <a:pt x="88" y="72"/>
                  </a:lnTo>
                  <a:lnTo>
                    <a:pt x="85" y="84"/>
                  </a:lnTo>
                  <a:lnTo>
                    <a:pt x="83" y="97"/>
                  </a:lnTo>
                  <a:lnTo>
                    <a:pt x="82" y="110"/>
                  </a:lnTo>
                  <a:lnTo>
                    <a:pt x="82" y="110"/>
                  </a:lnTo>
                  <a:lnTo>
                    <a:pt x="83" y="122"/>
                  </a:lnTo>
                  <a:lnTo>
                    <a:pt x="85" y="133"/>
                  </a:lnTo>
                  <a:lnTo>
                    <a:pt x="86" y="143"/>
                  </a:lnTo>
                  <a:lnTo>
                    <a:pt x="91" y="153"/>
                  </a:lnTo>
                  <a:lnTo>
                    <a:pt x="100" y="171"/>
                  </a:lnTo>
                  <a:lnTo>
                    <a:pt x="111" y="187"/>
                  </a:lnTo>
                  <a:lnTo>
                    <a:pt x="111" y="187"/>
                  </a:lnTo>
                  <a:lnTo>
                    <a:pt x="91" y="194"/>
                  </a:lnTo>
                  <a:lnTo>
                    <a:pt x="72" y="203"/>
                  </a:lnTo>
                  <a:lnTo>
                    <a:pt x="54" y="217"/>
                  </a:lnTo>
                  <a:lnTo>
                    <a:pt x="36" y="231"/>
                  </a:lnTo>
                  <a:lnTo>
                    <a:pt x="21" y="249"/>
                  </a:lnTo>
                  <a:lnTo>
                    <a:pt x="14" y="259"/>
                  </a:lnTo>
                  <a:lnTo>
                    <a:pt x="10" y="269"/>
                  </a:lnTo>
                  <a:lnTo>
                    <a:pt x="5" y="279"/>
                  </a:lnTo>
                  <a:lnTo>
                    <a:pt x="1" y="290"/>
                  </a:lnTo>
                  <a:lnTo>
                    <a:pt x="0" y="302"/>
                  </a:lnTo>
                  <a:lnTo>
                    <a:pt x="0" y="315"/>
                  </a:lnTo>
                  <a:lnTo>
                    <a:pt x="0" y="315"/>
                  </a:lnTo>
                  <a:lnTo>
                    <a:pt x="1" y="328"/>
                  </a:lnTo>
                  <a:lnTo>
                    <a:pt x="3" y="341"/>
                  </a:lnTo>
                  <a:lnTo>
                    <a:pt x="8" y="354"/>
                  </a:lnTo>
                  <a:lnTo>
                    <a:pt x="13" y="365"/>
                  </a:lnTo>
                  <a:lnTo>
                    <a:pt x="19" y="377"/>
                  </a:lnTo>
                  <a:lnTo>
                    <a:pt x="28" y="387"/>
                  </a:lnTo>
                  <a:lnTo>
                    <a:pt x="36" y="395"/>
                  </a:lnTo>
                  <a:lnTo>
                    <a:pt x="46" y="403"/>
                  </a:lnTo>
                  <a:lnTo>
                    <a:pt x="57" y="411"/>
                  </a:lnTo>
                  <a:lnTo>
                    <a:pt x="68" y="418"/>
                  </a:lnTo>
                  <a:lnTo>
                    <a:pt x="80" y="423"/>
                  </a:lnTo>
                  <a:lnTo>
                    <a:pt x="95" y="428"/>
                  </a:lnTo>
                  <a:lnTo>
                    <a:pt x="108" y="431"/>
                  </a:lnTo>
                  <a:lnTo>
                    <a:pt x="123" y="433"/>
                  </a:lnTo>
                  <a:lnTo>
                    <a:pt x="137" y="434"/>
                  </a:lnTo>
                  <a:lnTo>
                    <a:pt x="154" y="436"/>
                  </a:lnTo>
                  <a:lnTo>
                    <a:pt x="154" y="436"/>
                  </a:lnTo>
                  <a:lnTo>
                    <a:pt x="180" y="434"/>
                  </a:lnTo>
                  <a:lnTo>
                    <a:pt x="195" y="431"/>
                  </a:lnTo>
                  <a:lnTo>
                    <a:pt x="209" y="428"/>
                  </a:lnTo>
                  <a:lnTo>
                    <a:pt x="226" y="423"/>
                  </a:lnTo>
                  <a:lnTo>
                    <a:pt x="240" y="418"/>
                  </a:lnTo>
                  <a:lnTo>
                    <a:pt x="255" y="410"/>
                  </a:lnTo>
                  <a:lnTo>
                    <a:pt x="270" y="400"/>
                  </a:lnTo>
                  <a:lnTo>
                    <a:pt x="270" y="400"/>
                  </a:lnTo>
                  <a:lnTo>
                    <a:pt x="281" y="410"/>
                  </a:lnTo>
                  <a:lnTo>
                    <a:pt x="294" y="416"/>
                  </a:lnTo>
                  <a:lnTo>
                    <a:pt x="309" y="421"/>
                  </a:lnTo>
                  <a:lnTo>
                    <a:pt x="321" y="424"/>
                  </a:lnTo>
                  <a:lnTo>
                    <a:pt x="342" y="426"/>
                  </a:lnTo>
                  <a:lnTo>
                    <a:pt x="350" y="426"/>
                  </a:lnTo>
                  <a:lnTo>
                    <a:pt x="391" y="426"/>
                  </a:lnTo>
                  <a:lnTo>
                    <a:pt x="391" y="426"/>
                  </a:lnTo>
                  <a:lnTo>
                    <a:pt x="396" y="426"/>
                  </a:lnTo>
                  <a:lnTo>
                    <a:pt x="401" y="424"/>
                  </a:lnTo>
                  <a:lnTo>
                    <a:pt x="402" y="421"/>
                  </a:lnTo>
                  <a:lnTo>
                    <a:pt x="404" y="418"/>
                  </a:lnTo>
                  <a:lnTo>
                    <a:pt x="416" y="388"/>
                  </a:lnTo>
                  <a:lnTo>
                    <a:pt x="416" y="388"/>
                  </a:lnTo>
                  <a:lnTo>
                    <a:pt x="417" y="385"/>
                  </a:lnTo>
                  <a:lnTo>
                    <a:pt x="417" y="382"/>
                  </a:lnTo>
                  <a:lnTo>
                    <a:pt x="416" y="380"/>
                  </a:lnTo>
                  <a:lnTo>
                    <a:pt x="416" y="380"/>
                  </a:lnTo>
                  <a:lnTo>
                    <a:pt x="411" y="379"/>
                  </a:lnTo>
                  <a:lnTo>
                    <a:pt x="407" y="379"/>
                  </a:lnTo>
                  <a:lnTo>
                    <a:pt x="389" y="379"/>
                  </a:lnTo>
                  <a:lnTo>
                    <a:pt x="389" y="379"/>
                  </a:lnTo>
                  <a:lnTo>
                    <a:pt x="375" y="377"/>
                  </a:lnTo>
                  <a:lnTo>
                    <a:pt x="361" y="374"/>
                  </a:lnTo>
                  <a:lnTo>
                    <a:pt x="352" y="367"/>
                  </a:lnTo>
                  <a:lnTo>
                    <a:pt x="343" y="362"/>
                  </a:lnTo>
                  <a:lnTo>
                    <a:pt x="337" y="356"/>
                  </a:lnTo>
                  <a:lnTo>
                    <a:pt x="332" y="351"/>
                  </a:lnTo>
                  <a:lnTo>
                    <a:pt x="327" y="344"/>
                  </a:lnTo>
                  <a:lnTo>
                    <a:pt x="327" y="344"/>
                  </a:lnTo>
                  <a:lnTo>
                    <a:pt x="343" y="328"/>
                  </a:lnTo>
                  <a:lnTo>
                    <a:pt x="355" y="316"/>
                  </a:lnTo>
                  <a:lnTo>
                    <a:pt x="375" y="289"/>
                  </a:lnTo>
                  <a:lnTo>
                    <a:pt x="375" y="289"/>
                  </a:lnTo>
                  <a:lnTo>
                    <a:pt x="391" y="264"/>
                  </a:lnTo>
                  <a:lnTo>
                    <a:pt x="399" y="249"/>
                  </a:lnTo>
                  <a:lnTo>
                    <a:pt x="399" y="249"/>
                  </a:lnTo>
                  <a:lnTo>
                    <a:pt x="404" y="243"/>
                  </a:lnTo>
                  <a:lnTo>
                    <a:pt x="409" y="238"/>
                  </a:lnTo>
                  <a:lnTo>
                    <a:pt x="414" y="235"/>
                  </a:lnTo>
                  <a:lnTo>
                    <a:pt x="420" y="233"/>
                  </a:lnTo>
                  <a:lnTo>
                    <a:pt x="435" y="233"/>
                  </a:lnTo>
                  <a:lnTo>
                    <a:pt x="435" y="233"/>
                  </a:lnTo>
                  <a:lnTo>
                    <a:pt x="438" y="233"/>
                  </a:lnTo>
                  <a:lnTo>
                    <a:pt x="442" y="231"/>
                  </a:lnTo>
                  <a:lnTo>
                    <a:pt x="445" y="228"/>
                  </a:lnTo>
                  <a:lnTo>
                    <a:pt x="447" y="225"/>
                  </a:lnTo>
                  <a:lnTo>
                    <a:pt x="460" y="197"/>
                  </a:lnTo>
                  <a:lnTo>
                    <a:pt x="460" y="197"/>
                  </a:lnTo>
                  <a:lnTo>
                    <a:pt x="461" y="190"/>
                  </a:lnTo>
                  <a:lnTo>
                    <a:pt x="460" y="187"/>
                  </a:lnTo>
                  <a:lnTo>
                    <a:pt x="455" y="187"/>
                  </a:lnTo>
                  <a:lnTo>
                    <a:pt x="452" y="187"/>
                  </a:lnTo>
                  <a:lnTo>
                    <a:pt x="452" y="187"/>
                  </a:lnTo>
                  <a:close/>
                  <a:moveTo>
                    <a:pt x="209" y="40"/>
                  </a:moveTo>
                  <a:lnTo>
                    <a:pt x="209" y="40"/>
                  </a:lnTo>
                  <a:lnTo>
                    <a:pt x="217" y="40"/>
                  </a:lnTo>
                  <a:lnTo>
                    <a:pt x="226" y="43"/>
                  </a:lnTo>
                  <a:lnTo>
                    <a:pt x="232" y="48"/>
                  </a:lnTo>
                  <a:lnTo>
                    <a:pt x="237" y="53"/>
                  </a:lnTo>
                  <a:lnTo>
                    <a:pt x="240" y="59"/>
                  </a:lnTo>
                  <a:lnTo>
                    <a:pt x="244" y="68"/>
                  </a:lnTo>
                  <a:lnTo>
                    <a:pt x="244" y="76"/>
                  </a:lnTo>
                  <a:lnTo>
                    <a:pt x="245" y="84"/>
                  </a:lnTo>
                  <a:lnTo>
                    <a:pt x="245" y="84"/>
                  </a:lnTo>
                  <a:lnTo>
                    <a:pt x="244" y="95"/>
                  </a:lnTo>
                  <a:lnTo>
                    <a:pt x="242" y="107"/>
                  </a:lnTo>
                  <a:lnTo>
                    <a:pt x="239" y="117"/>
                  </a:lnTo>
                  <a:lnTo>
                    <a:pt x="234" y="127"/>
                  </a:lnTo>
                  <a:lnTo>
                    <a:pt x="226" y="135"/>
                  </a:lnTo>
                  <a:lnTo>
                    <a:pt x="217" y="143"/>
                  </a:lnTo>
                  <a:lnTo>
                    <a:pt x="208" y="151"/>
                  </a:lnTo>
                  <a:lnTo>
                    <a:pt x="196" y="158"/>
                  </a:lnTo>
                  <a:lnTo>
                    <a:pt x="196" y="158"/>
                  </a:lnTo>
                  <a:lnTo>
                    <a:pt x="185" y="138"/>
                  </a:lnTo>
                  <a:lnTo>
                    <a:pt x="177" y="122"/>
                  </a:lnTo>
                  <a:lnTo>
                    <a:pt x="172" y="104"/>
                  </a:lnTo>
                  <a:lnTo>
                    <a:pt x="170" y="84"/>
                  </a:lnTo>
                  <a:lnTo>
                    <a:pt x="170" y="84"/>
                  </a:lnTo>
                  <a:lnTo>
                    <a:pt x="170" y="76"/>
                  </a:lnTo>
                  <a:lnTo>
                    <a:pt x="172" y="68"/>
                  </a:lnTo>
                  <a:lnTo>
                    <a:pt x="175" y="59"/>
                  </a:lnTo>
                  <a:lnTo>
                    <a:pt x="180" y="53"/>
                  </a:lnTo>
                  <a:lnTo>
                    <a:pt x="186" y="48"/>
                  </a:lnTo>
                  <a:lnTo>
                    <a:pt x="193" y="43"/>
                  </a:lnTo>
                  <a:lnTo>
                    <a:pt x="201" y="40"/>
                  </a:lnTo>
                  <a:lnTo>
                    <a:pt x="209" y="40"/>
                  </a:lnTo>
                  <a:lnTo>
                    <a:pt x="209" y="40"/>
                  </a:lnTo>
                  <a:close/>
                  <a:moveTo>
                    <a:pt x="167" y="388"/>
                  </a:moveTo>
                  <a:lnTo>
                    <a:pt x="167" y="388"/>
                  </a:lnTo>
                  <a:lnTo>
                    <a:pt x="150" y="387"/>
                  </a:lnTo>
                  <a:lnTo>
                    <a:pt x="136" y="383"/>
                  </a:lnTo>
                  <a:lnTo>
                    <a:pt x="123" y="377"/>
                  </a:lnTo>
                  <a:lnTo>
                    <a:pt x="113" y="367"/>
                  </a:lnTo>
                  <a:lnTo>
                    <a:pt x="103" y="357"/>
                  </a:lnTo>
                  <a:lnTo>
                    <a:pt x="96" y="343"/>
                  </a:lnTo>
                  <a:lnTo>
                    <a:pt x="93" y="328"/>
                  </a:lnTo>
                  <a:lnTo>
                    <a:pt x="91" y="310"/>
                  </a:lnTo>
                  <a:lnTo>
                    <a:pt x="91" y="310"/>
                  </a:lnTo>
                  <a:lnTo>
                    <a:pt x="93" y="298"/>
                  </a:lnTo>
                  <a:lnTo>
                    <a:pt x="95" y="287"/>
                  </a:lnTo>
                  <a:lnTo>
                    <a:pt x="100" y="275"/>
                  </a:lnTo>
                  <a:lnTo>
                    <a:pt x="104" y="264"/>
                  </a:lnTo>
                  <a:lnTo>
                    <a:pt x="111" y="253"/>
                  </a:lnTo>
                  <a:lnTo>
                    <a:pt x="119" y="244"/>
                  </a:lnTo>
                  <a:lnTo>
                    <a:pt x="127" y="235"/>
                  </a:lnTo>
                  <a:lnTo>
                    <a:pt x="137" y="228"/>
                  </a:lnTo>
                  <a:lnTo>
                    <a:pt x="231" y="357"/>
                  </a:lnTo>
                  <a:lnTo>
                    <a:pt x="231" y="357"/>
                  </a:lnTo>
                  <a:lnTo>
                    <a:pt x="217" y="369"/>
                  </a:lnTo>
                  <a:lnTo>
                    <a:pt x="203" y="380"/>
                  </a:lnTo>
                  <a:lnTo>
                    <a:pt x="195" y="383"/>
                  </a:lnTo>
                  <a:lnTo>
                    <a:pt x="186" y="387"/>
                  </a:lnTo>
                  <a:lnTo>
                    <a:pt x="177" y="388"/>
                  </a:lnTo>
                  <a:lnTo>
                    <a:pt x="167" y="388"/>
                  </a:lnTo>
                  <a:lnTo>
                    <a:pt x="167"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7" name="Freeform 21"/>
            <p:cNvSpPr>
              <a:spLocks noEditPoints="1"/>
            </p:cNvSpPr>
            <p:nvPr/>
          </p:nvSpPr>
          <p:spPr bwMode="auto">
            <a:xfrm>
              <a:off x="8136319" y="5909749"/>
              <a:ext cx="269362" cy="266388"/>
            </a:xfrm>
            <a:custGeom>
              <a:avLst/>
              <a:gdLst>
                <a:gd name="T0" fmla="*/ 878 w 905"/>
                <a:gd name="T1" fmla="*/ 818 h 895"/>
                <a:gd name="T2" fmla="*/ 865 w 905"/>
                <a:gd name="T3" fmla="*/ 818 h 895"/>
                <a:gd name="T4" fmla="*/ 845 w 905"/>
                <a:gd name="T5" fmla="*/ 813 h 895"/>
                <a:gd name="T6" fmla="*/ 830 w 905"/>
                <a:gd name="T7" fmla="*/ 803 h 895"/>
                <a:gd name="T8" fmla="*/ 820 w 905"/>
                <a:gd name="T9" fmla="*/ 787 h 895"/>
                <a:gd name="T10" fmla="*/ 817 w 905"/>
                <a:gd name="T11" fmla="*/ 776 h 895"/>
                <a:gd name="T12" fmla="*/ 549 w 905"/>
                <a:gd name="T13" fmla="*/ 11 h 895"/>
                <a:gd name="T14" fmla="*/ 542 w 905"/>
                <a:gd name="T15" fmla="*/ 3 h 895"/>
                <a:gd name="T16" fmla="*/ 532 w 905"/>
                <a:gd name="T17" fmla="*/ 0 h 895"/>
                <a:gd name="T18" fmla="*/ 429 w 905"/>
                <a:gd name="T19" fmla="*/ 0 h 895"/>
                <a:gd name="T20" fmla="*/ 419 w 905"/>
                <a:gd name="T21" fmla="*/ 3 h 895"/>
                <a:gd name="T22" fmla="*/ 413 w 905"/>
                <a:gd name="T23" fmla="*/ 11 h 895"/>
                <a:gd name="T24" fmla="*/ 92 w 905"/>
                <a:gd name="T25" fmla="*/ 779 h 895"/>
                <a:gd name="T26" fmla="*/ 80 w 905"/>
                <a:gd name="T27" fmla="*/ 798 h 895"/>
                <a:gd name="T28" fmla="*/ 64 w 905"/>
                <a:gd name="T29" fmla="*/ 812 h 895"/>
                <a:gd name="T30" fmla="*/ 51 w 905"/>
                <a:gd name="T31" fmla="*/ 816 h 895"/>
                <a:gd name="T32" fmla="*/ 21 w 905"/>
                <a:gd name="T33" fmla="*/ 818 h 895"/>
                <a:gd name="T34" fmla="*/ 13 w 905"/>
                <a:gd name="T35" fmla="*/ 818 h 895"/>
                <a:gd name="T36" fmla="*/ 3 w 905"/>
                <a:gd name="T37" fmla="*/ 823 h 895"/>
                <a:gd name="T38" fmla="*/ 0 w 905"/>
                <a:gd name="T39" fmla="*/ 831 h 895"/>
                <a:gd name="T40" fmla="*/ 0 w 905"/>
                <a:gd name="T41" fmla="*/ 882 h 895"/>
                <a:gd name="T42" fmla="*/ 3 w 905"/>
                <a:gd name="T43" fmla="*/ 892 h 895"/>
                <a:gd name="T44" fmla="*/ 13 w 905"/>
                <a:gd name="T45" fmla="*/ 895 h 895"/>
                <a:gd name="T46" fmla="*/ 264 w 905"/>
                <a:gd name="T47" fmla="*/ 895 h 895"/>
                <a:gd name="T48" fmla="*/ 274 w 905"/>
                <a:gd name="T49" fmla="*/ 890 h 895"/>
                <a:gd name="T50" fmla="*/ 277 w 905"/>
                <a:gd name="T51" fmla="*/ 882 h 895"/>
                <a:gd name="T52" fmla="*/ 277 w 905"/>
                <a:gd name="T53" fmla="*/ 831 h 895"/>
                <a:gd name="T54" fmla="*/ 274 w 905"/>
                <a:gd name="T55" fmla="*/ 821 h 895"/>
                <a:gd name="T56" fmla="*/ 264 w 905"/>
                <a:gd name="T57" fmla="*/ 818 h 895"/>
                <a:gd name="T58" fmla="*/ 236 w 905"/>
                <a:gd name="T59" fmla="*/ 818 h 895"/>
                <a:gd name="T60" fmla="*/ 211 w 905"/>
                <a:gd name="T61" fmla="*/ 816 h 895"/>
                <a:gd name="T62" fmla="*/ 198 w 905"/>
                <a:gd name="T63" fmla="*/ 812 h 895"/>
                <a:gd name="T64" fmla="*/ 190 w 905"/>
                <a:gd name="T65" fmla="*/ 800 h 895"/>
                <a:gd name="T66" fmla="*/ 188 w 905"/>
                <a:gd name="T67" fmla="*/ 792 h 895"/>
                <a:gd name="T68" fmla="*/ 197 w 905"/>
                <a:gd name="T69" fmla="*/ 762 h 895"/>
                <a:gd name="T70" fmla="*/ 537 w 905"/>
                <a:gd name="T71" fmla="*/ 641 h 895"/>
                <a:gd name="T72" fmla="*/ 560 w 905"/>
                <a:gd name="T73" fmla="*/ 710 h 895"/>
                <a:gd name="T74" fmla="*/ 573 w 905"/>
                <a:gd name="T75" fmla="*/ 749 h 895"/>
                <a:gd name="T76" fmla="*/ 583 w 905"/>
                <a:gd name="T77" fmla="*/ 782 h 895"/>
                <a:gd name="T78" fmla="*/ 585 w 905"/>
                <a:gd name="T79" fmla="*/ 795 h 895"/>
                <a:gd name="T80" fmla="*/ 583 w 905"/>
                <a:gd name="T81" fmla="*/ 803 h 895"/>
                <a:gd name="T82" fmla="*/ 578 w 905"/>
                <a:gd name="T83" fmla="*/ 810 h 895"/>
                <a:gd name="T84" fmla="*/ 568 w 905"/>
                <a:gd name="T85" fmla="*/ 816 h 895"/>
                <a:gd name="T86" fmla="*/ 553 w 905"/>
                <a:gd name="T87" fmla="*/ 818 h 895"/>
                <a:gd name="T88" fmla="*/ 524 w 905"/>
                <a:gd name="T89" fmla="*/ 818 h 895"/>
                <a:gd name="T90" fmla="*/ 514 w 905"/>
                <a:gd name="T91" fmla="*/ 823 h 895"/>
                <a:gd name="T92" fmla="*/ 511 w 905"/>
                <a:gd name="T93" fmla="*/ 831 h 895"/>
                <a:gd name="T94" fmla="*/ 511 w 905"/>
                <a:gd name="T95" fmla="*/ 882 h 895"/>
                <a:gd name="T96" fmla="*/ 514 w 905"/>
                <a:gd name="T97" fmla="*/ 890 h 895"/>
                <a:gd name="T98" fmla="*/ 524 w 905"/>
                <a:gd name="T99" fmla="*/ 895 h 895"/>
                <a:gd name="T100" fmla="*/ 892 w 905"/>
                <a:gd name="T101" fmla="*/ 895 h 895"/>
                <a:gd name="T102" fmla="*/ 902 w 905"/>
                <a:gd name="T103" fmla="*/ 892 h 895"/>
                <a:gd name="T104" fmla="*/ 905 w 905"/>
                <a:gd name="T105" fmla="*/ 882 h 895"/>
                <a:gd name="T106" fmla="*/ 905 w 905"/>
                <a:gd name="T107" fmla="*/ 831 h 895"/>
                <a:gd name="T108" fmla="*/ 902 w 905"/>
                <a:gd name="T109" fmla="*/ 823 h 895"/>
                <a:gd name="T110" fmla="*/ 892 w 905"/>
                <a:gd name="T111" fmla="*/ 818 h 895"/>
                <a:gd name="T112" fmla="*/ 272 w 905"/>
                <a:gd name="T113" fmla="*/ 573 h 895"/>
                <a:gd name="T114" fmla="*/ 517 w 905"/>
                <a:gd name="T115" fmla="*/ 573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95">
                  <a:moveTo>
                    <a:pt x="892" y="818"/>
                  </a:moveTo>
                  <a:lnTo>
                    <a:pt x="878" y="818"/>
                  </a:lnTo>
                  <a:lnTo>
                    <a:pt x="878" y="818"/>
                  </a:lnTo>
                  <a:lnTo>
                    <a:pt x="865" y="818"/>
                  </a:lnTo>
                  <a:lnTo>
                    <a:pt x="853" y="816"/>
                  </a:lnTo>
                  <a:lnTo>
                    <a:pt x="845" y="813"/>
                  </a:lnTo>
                  <a:lnTo>
                    <a:pt x="837" y="810"/>
                  </a:lnTo>
                  <a:lnTo>
                    <a:pt x="830" y="803"/>
                  </a:lnTo>
                  <a:lnTo>
                    <a:pt x="825" y="795"/>
                  </a:lnTo>
                  <a:lnTo>
                    <a:pt x="820" y="787"/>
                  </a:lnTo>
                  <a:lnTo>
                    <a:pt x="817" y="776"/>
                  </a:lnTo>
                  <a:lnTo>
                    <a:pt x="817" y="776"/>
                  </a:lnTo>
                  <a:lnTo>
                    <a:pt x="549" y="11"/>
                  </a:lnTo>
                  <a:lnTo>
                    <a:pt x="549" y="11"/>
                  </a:lnTo>
                  <a:lnTo>
                    <a:pt x="547" y="6"/>
                  </a:lnTo>
                  <a:lnTo>
                    <a:pt x="542" y="3"/>
                  </a:lnTo>
                  <a:lnTo>
                    <a:pt x="537" y="1"/>
                  </a:lnTo>
                  <a:lnTo>
                    <a:pt x="532" y="0"/>
                  </a:lnTo>
                  <a:lnTo>
                    <a:pt x="429" y="0"/>
                  </a:lnTo>
                  <a:lnTo>
                    <a:pt x="429" y="0"/>
                  </a:lnTo>
                  <a:lnTo>
                    <a:pt x="424" y="1"/>
                  </a:lnTo>
                  <a:lnTo>
                    <a:pt x="419" y="3"/>
                  </a:lnTo>
                  <a:lnTo>
                    <a:pt x="416" y="6"/>
                  </a:lnTo>
                  <a:lnTo>
                    <a:pt x="413" y="11"/>
                  </a:lnTo>
                  <a:lnTo>
                    <a:pt x="92" y="779"/>
                  </a:lnTo>
                  <a:lnTo>
                    <a:pt x="92" y="779"/>
                  </a:lnTo>
                  <a:lnTo>
                    <a:pt x="87" y="790"/>
                  </a:lnTo>
                  <a:lnTo>
                    <a:pt x="80" y="798"/>
                  </a:lnTo>
                  <a:lnTo>
                    <a:pt x="74" y="805"/>
                  </a:lnTo>
                  <a:lnTo>
                    <a:pt x="64" y="812"/>
                  </a:lnTo>
                  <a:lnTo>
                    <a:pt x="64" y="812"/>
                  </a:lnTo>
                  <a:lnTo>
                    <a:pt x="51" y="816"/>
                  </a:lnTo>
                  <a:lnTo>
                    <a:pt x="38" y="818"/>
                  </a:lnTo>
                  <a:lnTo>
                    <a:pt x="21" y="818"/>
                  </a:lnTo>
                  <a:lnTo>
                    <a:pt x="13" y="818"/>
                  </a:lnTo>
                  <a:lnTo>
                    <a:pt x="13" y="818"/>
                  </a:lnTo>
                  <a:lnTo>
                    <a:pt x="8" y="820"/>
                  </a:lnTo>
                  <a:lnTo>
                    <a:pt x="3" y="823"/>
                  </a:lnTo>
                  <a:lnTo>
                    <a:pt x="2" y="826"/>
                  </a:lnTo>
                  <a:lnTo>
                    <a:pt x="0" y="831"/>
                  </a:lnTo>
                  <a:lnTo>
                    <a:pt x="0" y="882"/>
                  </a:lnTo>
                  <a:lnTo>
                    <a:pt x="0" y="882"/>
                  </a:lnTo>
                  <a:lnTo>
                    <a:pt x="2" y="887"/>
                  </a:lnTo>
                  <a:lnTo>
                    <a:pt x="3" y="892"/>
                  </a:lnTo>
                  <a:lnTo>
                    <a:pt x="8" y="893"/>
                  </a:lnTo>
                  <a:lnTo>
                    <a:pt x="13" y="895"/>
                  </a:lnTo>
                  <a:lnTo>
                    <a:pt x="264" y="895"/>
                  </a:lnTo>
                  <a:lnTo>
                    <a:pt x="264" y="895"/>
                  </a:lnTo>
                  <a:lnTo>
                    <a:pt x="269" y="893"/>
                  </a:lnTo>
                  <a:lnTo>
                    <a:pt x="274" y="890"/>
                  </a:lnTo>
                  <a:lnTo>
                    <a:pt x="275" y="887"/>
                  </a:lnTo>
                  <a:lnTo>
                    <a:pt x="277" y="882"/>
                  </a:lnTo>
                  <a:lnTo>
                    <a:pt x="277" y="831"/>
                  </a:lnTo>
                  <a:lnTo>
                    <a:pt x="277" y="831"/>
                  </a:lnTo>
                  <a:lnTo>
                    <a:pt x="275" y="826"/>
                  </a:lnTo>
                  <a:lnTo>
                    <a:pt x="274" y="821"/>
                  </a:lnTo>
                  <a:lnTo>
                    <a:pt x="269" y="820"/>
                  </a:lnTo>
                  <a:lnTo>
                    <a:pt x="264" y="818"/>
                  </a:lnTo>
                  <a:lnTo>
                    <a:pt x="236" y="818"/>
                  </a:lnTo>
                  <a:lnTo>
                    <a:pt x="236" y="818"/>
                  </a:lnTo>
                  <a:lnTo>
                    <a:pt x="218" y="818"/>
                  </a:lnTo>
                  <a:lnTo>
                    <a:pt x="211" y="816"/>
                  </a:lnTo>
                  <a:lnTo>
                    <a:pt x="203" y="815"/>
                  </a:lnTo>
                  <a:lnTo>
                    <a:pt x="198" y="812"/>
                  </a:lnTo>
                  <a:lnTo>
                    <a:pt x="193" y="807"/>
                  </a:lnTo>
                  <a:lnTo>
                    <a:pt x="190" y="800"/>
                  </a:lnTo>
                  <a:lnTo>
                    <a:pt x="188" y="792"/>
                  </a:lnTo>
                  <a:lnTo>
                    <a:pt x="188" y="792"/>
                  </a:lnTo>
                  <a:lnTo>
                    <a:pt x="190" y="779"/>
                  </a:lnTo>
                  <a:lnTo>
                    <a:pt x="197" y="762"/>
                  </a:lnTo>
                  <a:lnTo>
                    <a:pt x="246" y="641"/>
                  </a:lnTo>
                  <a:lnTo>
                    <a:pt x="537" y="641"/>
                  </a:lnTo>
                  <a:lnTo>
                    <a:pt x="537" y="641"/>
                  </a:lnTo>
                  <a:lnTo>
                    <a:pt x="560" y="710"/>
                  </a:lnTo>
                  <a:lnTo>
                    <a:pt x="573" y="749"/>
                  </a:lnTo>
                  <a:lnTo>
                    <a:pt x="573" y="749"/>
                  </a:lnTo>
                  <a:lnTo>
                    <a:pt x="583" y="782"/>
                  </a:lnTo>
                  <a:lnTo>
                    <a:pt x="583" y="782"/>
                  </a:lnTo>
                  <a:lnTo>
                    <a:pt x="583" y="789"/>
                  </a:lnTo>
                  <a:lnTo>
                    <a:pt x="585" y="795"/>
                  </a:lnTo>
                  <a:lnTo>
                    <a:pt x="585" y="795"/>
                  </a:lnTo>
                  <a:lnTo>
                    <a:pt x="583" y="803"/>
                  </a:lnTo>
                  <a:lnTo>
                    <a:pt x="581" y="807"/>
                  </a:lnTo>
                  <a:lnTo>
                    <a:pt x="578" y="810"/>
                  </a:lnTo>
                  <a:lnTo>
                    <a:pt x="575" y="813"/>
                  </a:lnTo>
                  <a:lnTo>
                    <a:pt x="568" y="816"/>
                  </a:lnTo>
                  <a:lnTo>
                    <a:pt x="562" y="818"/>
                  </a:lnTo>
                  <a:lnTo>
                    <a:pt x="553" y="818"/>
                  </a:lnTo>
                  <a:lnTo>
                    <a:pt x="524" y="818"/>
                  </a:lnTo>
                  <a:lnTo>
                    <a:pt x="524" y="818"/>
                  </a:lnTo>
                  <a:lnTo>
                    <a:pt x="517" y="820"/>
                  </a:lnTo>
                  <a:lnTo>
                    <a:pt x="514" y="823"/>
                  </a:lnTo>
                  <a:lnTo>
                    <a:pt x="511" y="826"/>
                  </a:lnTo>
                  <a:lnTo>
                    <a:pt x="511" y="831"/>
                  </a:lnTo>
                  <a:lnTo>
                    <a:pt x="511" y="882"/>
                  </a:lnTo>
                  <a:lnTo>
                    <a:pt x="511" y="882"/>
                  </a:lnTo>
                  <a:lnTo>
                    <a:pt x="511" y="887"/>
                  </a:lnTo>
                  <a:lnTo>
                    <a:pt x="514" y="890"/>
                  </a:lnTo>
                  <a:lnTo>
                    <a:pt x="517" y="893"/>
                  </a:lnTo>
                  <a:lnTo>
                    <a:pt x="524" y="895"/>
                  </a:lnTo>
                  <a:lnTo>
                    <a:pt x="892" y="895"/>
                  </a:lnTo>
                  <a:lnTo>
                    <a:pt x="892" y="895"/>
                  </a:lnTo>
                  <a:lnTo>
                    <a:pt x="897" y="893"/>
                  </a:lnTo>
                  <a:lnTo>
                    <a:pt x="902" y="892"/>
                  </a:lnTo>
                  <a:lnTo>
                    <a:pt x="905" y="887"/>
                  </a:lnTo>
                  <a:lnTo>
                    <a:pt x="905" y="882"/>
                  </a:lnTo>
                  <a:lnTo>
                    <a:pt x="905" y="831"/>
                  </a:lnTo>
                  <a:lnTo>
                    <a:pt x="905" y="831"/>
                  </a:lnTo>
                  <a:lnTo>
                    <a:pt x="905" y="826"/>
                  </a:lnTo>
                  <a:lnTo>
                    <a:pt x="902" y="823"/>
                  </a:lnTo>
                  <a:lnTo>
                    <a:pt x="897" y="820"/>
                  </a:lnTo>
                  <a:lnTo>
                    <a:pt x="892" y="818"/>
                  </a:lnTo>
                  <a:lnTo>
                    <a:pt x="892" y="818"/>
                  </a:lnTo>
                  <a:close/>
                  <a:moveTo>
                    <a:pt x="272" y="573"/>
                  </a:moveTo>
                  <a:lnTo>
                    <a:pt x="413" y="226"/>
                  </a:lnTo>
                  <a:lnTo>
                    <a:pt x="517" y="573"/>
                  </a:lnTo>
                  <a:lnTo>
                    <a:pt x="272" y="5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grpSp>
      <p:sp>
        <p:nvSpPr>
          <p:cNvPr id="4" name="Datumsplatzhalter 3"/>
          <p:cNvSpPr>
            <a:spLocks noGrp="1"/>
          </p:cNvSpPr>
          <p:nvPr>
            <p:ph type="dt" sz="half" idx="14"/>
          </p:nvPr>
        </p:nvSpPr>
        <p:spPr>
          <a:xfrm>
            <a:off x="747184" y="6597536"/>
            <a:ext cx="1057790" cy="139590"/>
          </a:xfrm>
        </p:spPr>
        <p:txBody>
          <a:bodyPr/>
          <a:lstStyle/>
          <a:p>
            <a:fld id="{E3BDED9A-B086-4E73-ABA8-EF8BF3D09BFD}" type="datetime4">
              <a:rPr lang="en-GB" smtClean="0"/>
              <a:t>15 February 2024</a:t>
            </a:fld>
            <a:endParaRPr lang="en-GB"/>
          </a:p>
        </p:txBody>
      </p:sp>
      <p:cxnSp>
        <p:nvCxnSpPr>
          <p:cNvPr id="19" name="Gerade Verbindung 18"/>
          <p:cNvCxnSpPr/>
          <p:nvPr userDrawn="1"/>
        </p:nvCxnSpPr>
        <p:spPr>
          <a:xfrm>
            <a:off x="632870" y="6617659"/>
            <a:ext cx="0" cy="993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Foliennummernplatzhalter 5"/>
          <p:cNvSpPr txBox="1">
            <a:spLocks/>
          </p:cNvSpPr>
          <p:nvPr userDrawn="1"/>
        </p:nvSpPr>
        <p:spPr>
          <a:xfrm>
            <a:off x="331601" y="6597536"/>
            <a:ext cx="210955" cy="139590"/>
          </a:xfrm>
          <a:prstGeom prst="rect">
            <a:avLst/>
          </a:prstGeom>
        </p:spPr>
        <p:txBody>
          <a:bodyPr vert="horz" wrap="none" lIns="0" tIns="0" rIns="0" bIns="0" rtlCol="0" anchor="ctr" anchorCtr="0">
            <a:spAutoFit/>
          </a:bodyPr>
          <a:lstStyle>
            <a:defPPr>
              <a:defRPr lang="de-DE"/>
            </a:defPPr>
            <a:lvl1pPr marL="0" algn="l" defTabSz="1043056" rtl="0" eaLnBrk="1" latinLnBrk="0" hangingPunct="1">
              <a:defRPr lang="de-AT" sz="1000" b="0" kern="1200" spc="190" baseline="0" smtClean="0">
                <a:solidFill>
                  <a:schemeClr val="tx1"/>
                </a:solidFill>
                <a:latin typeface="CA Sans" pitchFamily="50" charset="0"/>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fld id="{30272582-AA89-4A5B-9BA7-B311A460C225}" type="slidenum">
              <a:rPr lang="en-GB" sz="907" smtClean="0"/>
              <a:pPr algn="r"/>
              <a:t>‹#›</a:t>
            </a:fld>
            <a:endParaRPr lang="en-GB" sz="907"/>
          </a:p>
        </p:txBody>
      </p:sp>
      <p:sp>
        <p:nvSpPr>
          <p:cNvPr id="22" name="Inhaltsplatzhalter 5"/>
          <p:cNvSpPr>
            <a:spLocks noGrp="1"/>
          </p:cNvSpPr>
          <p:nvPr>
            <p:ph sz="quarter" idx="16" hasCustomPrompt="1"/>
          </p:nvPr>
        </p:nvSpPr>
        <p:spPr>
          <a:xfrm>
            <a:off x="259912" y="1895563"/>
            <a:ext cx="11665026" cy="1512273"/>
          </a:xfrm>
        </p:spPr>
        <p:txBody>
          <a:bodyPr/>
          <a:lstStyle/>
          <a:p>
            <a:pPr lvl="0"/>
            <a:r>
              <a:rPr lang="en-GB" noProof="0" err="1"/>
              <a:t>Bodytext</a:t>
            </a:r>
            <a:r>
              <a:rPr lang="en-GB" noProof="0"/>
              <a:t> heading</a:t>
            </a:r>
          </a:p>
          <a:p>
            <a:pPr lvl="1"/>
            <a:r>
              <a:rPr lang="en-GB" noProof="0" err="1"/>
              <a:t>Bodytext</a:t>
            </a:r>
            <a:r>
              <a:rPr lang="en-GB" noProof="0"/>
              <a:t> 2</a:t>
            </a:r>
          </a:p>
          <a:p>
            <a:pPr lvl="2"/>
            <a:r>
              <a:rPr lang="en-GB" noProof="0" err="1"/>
              <a:t>Bodytext</a:t>
            </a:r>
            <a:r>
              <a:rPr lang="en-GB" noProof="0"/>
              <a:t> 3</a:t>
            </a:r>
          </a:p>
          <a:p>
            <a:pPr lvl="3"/>
            <a:r>
              <a:rPr lang="en-GB" noProof="0" err="1"/>
              <a:t>Bodytext</a:t>
            </a:r>
            <a:r>
              <a:rPr lang="en-GB" noProof="0"/>
              <a:t> 4</a:t>
            </a:r>
          </a:p>
          <a:p>
            <a:pPr lvl="4"/>
            <a:r>
              <a:rPr lang="en-GB" noProof="0" err="1"/>
              <a:t>Bodytext</a:t>
            </a:r>
            <a:r>
              <a:rPr lang="en-GB" noProof="0"/>
              <a:t> 5</a:t>
            </a:r>
          </a:p>
        </p:txBody>
      </p:sp>
      <p:sp>
        <p:nvSpPr>
          <p:cNvPr id="20" name="Inhaltsplatzhalter 2"/>
          <p:cNvSpPr>
            <a:spLocks noGrp="1"/>
          </p:cNvSpPr>
          <p:nvPr>
            <p:ph idx="17" hasCustomPrompt="1"/>
          </p:nvPr>
        </p:nvSpPr>
        <p:spPr>
          <a:xfrm>
            <a:off x="259913" y="6191440"/>
            <a:ext cx="11666021" cy="139575"/>
          </a:xfrm>
        </p:spPr>
        <p:txBody>
          <a:bodyPr anchor="b"/>
          <a:lstStyle>
            <a:lvl1pPr marL="0" indent="0">
              <a:buNone/>
              <a:defRPr sz="907">
                <a:latin typeface="+mn-lt"/>
              </a:defRPr>
            </a:lvl1pPr>
            <a:lvl2pPr>
              <a:defRPr sz="907">
                <a:latin typeface="+mn-lt"/>
              </a:defRPr>
            </a:lvl2pPr>
            <a:lvl3pPr>
              <a:defRPr sz="907">
                <a:latin typeface="+mn-lt"/>
              </a:defRPr>
            </a:lvl3pPr>
            <a:lvl4pPr>
              <a:defRPr sz="907">
                <a:latin typeface="+mn-lt"/>
              </a:defRPr>
            </a:lvl4pPr>
            <a:lvl5pPr>
              <a:defRPr sz="907">
                <a:latin typeface="+mn-lt"/>
              </a:defRPr>
            </a:lvl5pPr>
          </a:lstStyle>
          <a:p>
            <a:pPr lvl="0"/>
            <a:r>
              <a:rPr lang="en-GB"/>
              <a:t>Footnotes and Sources</a:t>
            </a:r>
          </a:p>
        </p:txBody>
      </p:sp>
    </p:spTree>
    <p:extLst>
      <p:ext uri="{BB962C8B-B14F-4D97-AF65-F5344CB8AC3E}">
        <p14:creationId xmlns:p14="http://schemas.microsoft.com/office/powerpoint/2010/main" val="11051426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wo content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4165613923"/>
              </p:ext>
            </p:extLst>
          </p:nvPr>
        </p:nvGraphicFramePr>
        <p:xfrm>
          <a:off x="1812" y="1443"/>
          <a:ext cx="1809" cy="143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kt 7" hidden="1"/>
                      <p:cNvPicPr/>
                      <p:nvPr/>
                    </p:nvPicPr>
                    <p:blipFill>
                      <a:blip r:embed="rId4"/>
                      <a:stretch>
                        <a:fillRect/>
                      </a:stretch>
                    </p:blipFill>
                    <p:spPr>
                      <a:xfrm>
                        <a:off x="1812" y="1443"/>
                        <a:ext cx="1809" cy="1439"/>
                      </a:xfrm>
                      <a:prstGeom prst="rect">
                        <a:avLst/>
                      </a:prstGeom>
                    </p:spPr>
                  </p:pic>
                </p:oleObj>
              </mc:Fallback>
            </mc:AlternateContent>
          </a:graphicData>
        </a:graphic>
      </p:graphicFrame>
      <p:sp>
        <p:nvSpPr>
          <p:cNvPr id="7" name="Rechteck 6"/>
          <p:cNvSpPr/>
          <p:nvPr userDrawn="1"/>
        </p:nvSpPr>
        <p:spPr>
          <a:xfrm>
            <a:off x="1" y="6470680"/>
            <a:ext cx="12192000" cy="387320"/>
          </a:xfrm>
          <a:prstGeom prst="rect">
            <a:avLst/>
          </a:prstGeom>
          <a:solidFill>
            <a:srgbClr val="D5D4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904"/>
          </a:p>
        </p:txBody>
      </p:sp>
      <p:sp>
        <p:nvSpPr>
          <p:cNvPr id="2" name="Titel 1"/>
          <p:cNvSpPr>
            <a:spLocks noGrp="1"/>
          </p:cNvSpPr>
          <p:nvPr>
            <p:ph type="title" hasCustomPrompt="1"/>
          </p:nvPr>
        </p:nvSpPr>
        <p:spPr>
          <a:xfrm>
            <a:off x="259913" y="143890"/>
            <a:ext cx="11666020" cy="418726"/>
          </a:xfrm>
        </p:spPr>
        <p:txBody>
          <a:bodyPr/>
          <a:lstStyle>
            <a:lvl1pPr>
              <a:lnSpc>
                <a:spcPts val="3265"/>
              </a:lnSpc>
              <a:defRPr/>
            </a:lvl1pPr>
          </a:lstStyle>
          <a:p>
            <a:r>
              <a:rPr lang="en-GB"/>
              <a:t>Page title</a:t>
            </a:r>
          </a:p>
        </p:txBody>
      </p:sp>
      <p:grpSp>
        <p:nvGrpSpPr>
          <p:cNvPr id="11" name="Gruppieren 10"/>
          <p:cNvGrpSpPr>
            <a:grpSpLocks noChangeAspect="1"/>
          </p:cNvGrpSpPr>
          <p:nvPr userDrawn="1"/>
        </p:nvGrpSpPr>
        <p:grpSpPr>
          <a:xfrm>
            <a:off x="11522251" y="6541937"/>
            <a:ext cx="401810" cy="244888"/>
            <a:chOff x="7680842" y="5709958"/>
            <a:chExt cx="884790" cy="677863"/>
          </a:xfrm>
          <a:solidFill>
            <a:schemeClr val="bg1"/>
          </a:solidFill>
        </p:grpSpPr>
        <p:sp>
          <p:nvSpPr>
            <p:cNvPr id="12" name="Freeform 17"/>
            <p:cNvSpPr>
              <a:spLocks noEditPoints="1"/>
            </p:cNvSpPr>
            <p:nvPr/>
          </p:nvSpPr>
          <p:spPr bwMode="auto">
            <a:xfrm>
              <a:off x="7680842" y="5709958"/>
              <a:ext cx="884790" cy="677863"/>
            </a:xfrm>
            <a:custGeom>
              <a:avLst/>
              <a:gdLst>
                <a:gd name="T0" fmla="*/ 2771 w 2976"/>
                <a:gd name="T1" fmla="*/ 570 h 2280"/>
                <a:gd name="T2" fmla="*/ 2686 w 2976"/>
                <a:gd name="T3" fmla="*/ 444 h 2280"/>
                <a:gd name="T4" fmla="*/ 2469 w 2976"/>
                <a:gd name="T5" fmla="*/ 363 h 2280"/>
                <a:gd name="T6" fmla="*/ 2333 w 2976"/>
                <a:gd name="T7" fmla="*/ 272 h 2280"/>
                <a:gd name="T8" fmla="*/ 2172 w 2976"/>
                <a:gd name="T9" fmla="*/ 119 h 2280"/>
                <a:gd name="T10" fmla="*/ 2025 w 2976"/>
                <a:gd name="T11" fmla="*/ 100 h 2280"/>
                <a:gd name="T12" fmla="*/ 1804 w 2976"/>
                <a:gd name="T13" fmla="*/ 118 h 2280"/>
                <a:gd name="T14" fmla="*/ 1591 w 2976"/>
                <a:gd name="T15" fmla="*/ 23 h 2280"/>
                <a:gd name="T16" fmla="*/ 1488 w 2976"/>
                <a:gd name="T17" fmla="*/ 0 h 2280"/>
                <a:gd name="T18" fmla="*/ 1305 w 2976"/>
                <a:gd name="T19" fmla="*/ 69 h 2280"/>
                <a:gd name="T20" fmla="*/ 1120 w 2976"/>
                <a:gd name="T21" fmla="*/ 121 h 2280"/>
                <a:gd name="T22" fmla="*/ 891 w 2976"/>
                <a:gd name="T23" fmla="*/ 98 h 2280"/>
                <a:gd name="T24" fmla="*/ 753 w 2976"/>
                <a:gd name="T25" fmla="*/ 152 h 2280"/>
                <a:gd name="T26" fmla="*/ 593 w 2976"/>
                <a:gd name="T27" fmla="*/ 318 h 2280"/>
                <a:gd name="T28" fmla="*/ 404 w 2976"/>
                <a:gd name="T29" fmla="*/ 396 h 2280"/>
                <a:gd name="T30" fmla="*/ 254 w 2976"/>
                <a:gd name="T31" fmla="*/ 473 h 2280"/>
                <a:gd name="T32" fmla="*/ 178 w 2976"/>
                <a:gd name="T33" fmla="*/ 719 h 2280"/>
                <a:gd name="T34" fmla="*/ 106 w 2976"/>
                <a:gd name="T35" fmla="*/ 907 h 2280"/>
                <a:gd name="T36" fmla="*/ 2 w 2976"/>
                <a:gd name="T37" fmla="*/ 1115 h 2280"/>
                <a:gd name="T38" fmla="*/ 34 w 2976"/>
                <a:gd name="T39" fmla="*/ 1265 h 2280"/>
                <a:gd name="T40" fmla="*/ 154 w 2976"/>
                <a:gd name="T41" fmla="*/ 1462 h 2280"/>
                <a:gd name="T42" fmla="*/ 219 w 2976"/>
                <a:gd name="T43" fmla="*/ 1750 h 2280"/>
                <a:gd name="T44" fmla="*/ 326 w 2976"/>
                <a:gd name="T45" fmla="*/ 1856 h 2280"/>
                <a:gd name="T46" fmla="*/ 550 w 2976"/>
                <a:gd name="T47" fmla="*/ 1935 h 2280"/>
                <a:gd name="T48" fmla="*/ 699 w 2976"/>
                <a:gd name="T49" fmla="*/ 2070 h 2280"/>
                <a:gd name="T50" fmla="*/ 823 w 2976"/>
                <a:gd name="T51" fmla="*/ 2169 h 2280"/>
                <a:gd name="T52" fmla="*/ 1031 w 2976"/>
                <a:gd name="T53" fmla="*/ 2167 h 2280"/>
                <a:gd name="T54" fmla="*/ 1224 w 2976"/>
                <a:gd name="T55" fmla="*/ 2175 h 2280"/>
                <a:gd name="T56" fmla="*/ 1421 w 2976"/>
                <a:gd name="T57" fmla="*/ 2270 h 2280"/>
                <a:gd name="T58" fmla="*/ 1555 w 2976"/>
                <a:gd name="T59" fmla="*/ 2270 h 2280"/>
                <a:gd name="T60" fmla="*/ 1752 w 2976"/>
                <a:gd name="T61" fmla="*/ 2175 h 2280"/>
                <a:gd name="T62" fmla="*/ 1945 w 2976"/>
                <a:gd name="T63" fmla="*/ 2167 h 2280"/>
                <a:gd name="T64" fmla="*/ 2153 w 2976"/>
                <a:gd name="T65" fmla="*/ 2169 h 2280"/>
                <a:gd name="T66" fmla="*/ 2277 w 2976"/>
                <a:gd name="T67" fmla="*/ 2070 h 2280"/>
                <a:gd name="T68" fmla="*/ 2424 w 2976"/>
                <a:gd name="T69" fmla="*/ 1935 h 2280"/>
                <a:gd name="T70" fmla="*/ 2649 w 2976"/>
                <a:gd name="T71" fmla="*/ 1856 h 2280"/>
                <a:gd name="T72" fmla="*/ 2757 w 2976"/>
                <a:gd name="T73" fmla="*/ 1750 h 2280"/>
                <a:gd name="T74" fmla="*/ 2820 w 2976"/>
                <a:gd name="T75" fmla="*/ 1462 h 2280"/>
                <a:gd name="T76" fmla="*/ 2942 w 2976"/>
                <a:gd name="T77" fmla="*/ 1264 h 2280"/>
                <a:gd name="T78" fmla="*/ 2974 w 2976"/>
                <a:gd name="T79" fmla="*/ 1115 h 2280"/>
                <a:gd name="T80" fmla="*/ 2868 w 2976"/>
                <a:gd name="T81" fmla="*/ 907 h 2280"/>
                <a:gd name="T82" fmla="*/ 1419 w 2976"/>
                <a:gd name="T83" fmla="*/ 2028 h 2280"/>
                <a:gd name="T84" fmla="*/ 923 w 2976"/>
                <a:gd name="T85" fmla="*/ 1943 h 2280"/>
                <a:gd name="T86" fmla="*/ 547 w 2976"/>
                <a:gd name="T87" fmla="*/ 1742 h 2280"/>
                <a:gd name="T88" fmla="*/ 314 w 2976"/>
                <a:gd name="T89" fmla="*/ 1449 h 2280"/>
                <a:gd name="T90" fmla="*/ 246 w 2976"/>
                <a:gd name="T91" fmla="*/ 1139 h 2280"/>
                <a:gd name="T92" fmla="*/ 334 w 2976"/>
                <a:gd name="T93" fmla="*/ 791 h 2280"/>
                <a:gd name="T94" fmla="*/ 588 w 2976"/>
                <a:gd name="T95" fmla="*/ 507 h 2280"/>
                <a:gd name="T96" fmla="*/ 979 w 2976"/>
                <a:gd name="T97" fmla="*/ 319 h 2280"/>
                <a:gd name="T98" fmla="*/ 1488 w 2976"/>
                <a:gd name="T99" fmla="*/ 250 h 2280"/>
                <a:gd name="T100" fmla="*/ 1940 w 2976"/>
                <a:gd name="T101" fmla="*/ 303 h 2280"/>
                <a:gd name="T102" fmla="*/ 2347 w 2976"/>
                <a:gd name="T103" fmla="*/ 480 h 2280"/>
                <a:gd name="T104" fmla="*/ 2619 w 2976"/>
                <a:gd name="T105" fmla="*/ 751 h 2280"/>
                <a:gd name="T106" fmla="*/ 2729 w 2976"/>
                <a:gd name="T107" fmla="*/ 1093 h 2280"/>
                <a:gd name="T108" fmla="*/ 2680 w 2976"/>
                <a:gd name="T109" fmla="*/ 1408 h 2280"/>
                <a:gd name="T110" fmla="*/ 2465 w 2976"/>
                <a:gd name="T111" fmla="*/ 1709 h 2280"/>
                <a:gd name="T112" fmla="*/ 2107 w 2976"/>
                <a:gd name="T113" fmla="*/ 1923 h 2280"/>
                <a:gd name="T114" fmla="*/ 1624 w 2976"/>
                <a:gd name="T115" fmla="*/ 2025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76" h="2280">
                  <a:moveTo>
                    <a:pt x="2820" y="818"/>
                  </a:moveTo>
                  <a:lnTo>
                    <a:pt x="2820" y="818"/>
                  </a:lnTo>
                  <a:lnTo>
                    <a:pt x="2812" y="792"/>
                  </a:lnTo>
                  <a:lnTo>
                    <a:pt x="2806" y="768"/>
                  </a:lnTo>
                  <a:lnTo>
                    <a:pt x="2798" y="719"/>
                  </a:lnTo>
                  <a:lnTo>
                    <a:pt x="2784" y="630"/>
                  </a:lnTo>
                  <a:lnTo>
                    <a:pt x="2776" y="589"/>
                  </a:lnTo>
                  <a:lnTo>
                    <a:pt x="2771" y="570"/>
                  </a:lnTo>
                  <a:lnTo>
                    <a:pt x="2765" y="550"/>
                  </a:lnTo>
                  <a:lnTo>
                    <a:pt x="2757" y="530"/>
                  </a:lnTo>
                  <a:lnTo>
                    <a:pt x="2747" y="511"/>
                  </a:lnTo>
                  <a:lnTo>
                    <a:pt x="2735" y="493"/>
                  </a:lnTo>
                  <a:lnTo>
                    <a:pt x="2722" y="473"/>
                  </a:lnTo>
                  <a:lnTo>
                    <a:pt x="2722" y="473"/>
                  </a:lnTo>
                  <a:lnTo>
                    <a:pt x="2704" y="458"/>
                  </a:lnTo>
                  <a:lnTo>
                    <a:pt x="2686" y="444"/>
                  </a:lnTo>
                  <a:lnTo>
                    <a:pt x="2668" y="434"/>
                  </a:lnTo>
                  <a:lnTo>
                    <a:pt x="2649" y="424"/>
                  </a:lnTo>
                  <a:lnTo>
                    <a:pt x="2631" y="416"/>
                  </a:lnTo>
                  <a:lnTo>
                    <a:pt x="2611" y="408"/>
                  </a:lnTo>
                  <a:lnTo>
                    <a:pt x="2572" y="396"/>
                  </a:lnTo>
                  <a:lnTo>
                    <a:pt x="2531" y="385"/>
                  </a:lnTo>
                  <a:lnTo>
                    <a:pt x="2490" y="372"/>
                  </a:lnTo>
                  <a:lnTo>
                    <a:pt x="2469" y="363"/>
                  </a:lnTo>
                  <a:lnTo>
                    <a:pt x="2447" y="355"/>
                  </a:lnTo>
                  <a:lnTo>
                    <a:pt x="2424" y="345"/>
                  </a:lnTo>
                  <a:lnTo>
                    <a:pt x="2403" y="332"/>
                  </a:lnTo>
                  <a:lnTo>
                    <a:pt x="2403" y="332"/>
                  </a:lnTo>
                  <a:lnTo>
                    <a:pt x="2383" y="318"/>
                  </a:lnTo>
                  <a:lnTo>
                    <a:pt x="2364" y="303"/>
                  </a:lnTo>
                  <a:lnTo>
                    <a:pt x="2347" y="286"/>
                  </a:lnTo>
                  <a:lnTo>
                    <a:pt x="2333" y="272"/>
                  </a:lnTo>
                  <a:lnTo>
                    <a:pt x="2303" y="239"/>
                  </a:lnTo>
                  <a:lnTo>
                    <a:pt x="2277" y="208"/>
                  </a:lnTo>
                  <a:lnTo>
                    <a:pt x="2251" y="178"/>
                  </a:lnTo>
                  <a:lnTo>
                    <a:pt x="2238" y="165"/>
                  </a:lnTo>
                  <a:lnTo>
                    <a:pt x="2223" y="152"/>
                  </a:lnTo>
                  <a:lnTo>
                    <a:pt x="2207" y="139"/>
                  </a:lnTo>
                  <a:lnTo>
                    <a:pt x="2190" y="129"/>
                  </a:lnTo>
                  <a:lnTo>
                    <a:pt x="2172" y="119"/>
                  </a:lnTo>
                  <a:lnTo>
                    <a:pt x="2153" y="110"/>
                  </a:lnTo>
                  <a:lnTo>
                    <a:pt x="2153" y="110"/>
                  </a:lnTo>
                  <a:lnTo>
                    <a:pt x="2130" y="105"/>
                  </a:lnTo>
                  <a:lnTo>
                    <a:pt x="2107" y="100"/>
                  </a:lnTo>
                  <a:lnTo>
                    <a:pt x="2085" y="98"/>
                  </a:lnTo>
                  <a:lnTo>
                    <a:pt x="2064" y="98"/>
                  </a:lnTo>
                  <a:lnTo>
                    <a:pt x="2045" y="98"/>
                  </a:lnTo>
                  <a:lnTo>
                    <a:pt x="2025" y="100"/>
                  </a:lnTo>
                  <a:lnTo>
                    <a:pt x="1984" y="106"/>
                  </a:lnTo>
                  <a:lnTo>
                    <a:pt x="1945" y="113"/>
                  </a:lnTo>
                  <a:lnTo>
                    <a:pt x="1901" y="119"/>
                  </a:lnTo>
                  <a:lnTo>
                    <a:pt x="1879" y="121"/>
                  </a:lnTo>
                  <a:lnTo>
                    <a:pt x="1855" y="121"/>
                  </a:lnTo>
                  <a:lnTo>
                    <a:pt x="1830" y="119"/>
                  </a:lnTo>
                  <a:lnTo>
                    <a:pt x="1804" y="118"/>
                  </a:lnTo>
                  <a:lnTo>
                    <a:pt x="1804" y="118"/>
                  </a:lnTo>
                  <a:lnTo>
                    <a:pt x="1776" y="111"/>
                  </a:lnTo>
                  <a:lnTo>
                    <a:pt x="1752" y="105"/>
                  </a:lnTo>
                  <a:lnTo>
                    <a:pt x="1729" y="97"/>
                  </a:lnTo>
                  <a:lnTo>
                    <a:pt x="1707" y="87"/>
                  </a:lnTo>
                  <a:lnTo>
                    <a:pt x="1671" y="69"/>
                  </a:lnTo>
                  <a:lnTo>
                    <a:pt x="1639" y="49"/>
                  </a:lnTo>
                  <a:lnTo>
                    <a:pt x="1607" y="31"/>
                  </a:lnTo>
                  <a:lnTo>
                    <a:pt x="1591" y="23"/>
                  </a:lnTo>
                  <a:lnTo>
                    <a:pt x="1573" y="16"/>
                  </a:lnTo>
                  <a:lnTo>
                    <a:pt x="1555" y="10"/>
                  </a:lnTo>
                  <a:lnTo>
                    <a:pt x="1534" y="5"/>
                  </a:lnTo>
                  <a:lnTo>
                    <a:pt x="1513" y="2"/>
                  </a:lnTo>
                  <a:lnTo>
                    <a:pt x="1488" y="0"/>
                  </a:lnTo>
                  <a:lnTo>
                    <a:pt x="1488" y="0"/>
                  </a:lnTo>
                  <a:lnTo>
                    <a:pt x="1488" y="0"/>
                  </a:lnTo>
                  <a:lnTo>
                    <a:pt x="1488" y="0"/>
                  </a:lnTo>
                  <a:lnTo>
                    <a:pt x="1463" y="2"/>
                  </a:lnTo>
                  <a:lnTo>
                    <a:pt x="1441" y="5"/>
                  </a:lnTo>
                  <a:lnTo>
                    <a:pt x="1421" y="10"/>
                  </a:lnTo>
                  <a:lnTo>
                    <a:pt x="1403" y="16"/>
                  </a:lnTo>
                  <a:lnTo>
                    <a:pt x="1385" y="23"/>
                  </a:lnTo>
                  <a:lnTo>
                    <a:pt x="1369" y="31"/>
                  </a:lnTo>
                  <a:lnTo>
                    <a:pt x="1337" y="49"/>
                  </a:lnTo>
                  <a:lnTo>
                    <a:pt x="1305" y="69"/>
                  </a:lnTo>
                  <a:lnTo>
                    <a:pt x="1269" y="87"/>
                  </a:lnTo>
                  <a:lnTo>
                    <a:pt x="1247" y="97"/>
                  </a:lnTo>
                  <a:lnTo>
                    <a:pt x="1224" y="105"/>
                  </a:lnTo>
                  <a:lnTo>
                    <a:pt x="1200" y="111"/>
                  </a:lnTo>
                  <a:lnTo>
                    <a:pt x="1172" y="118"/>
                  </a:lnTo>
                  <a:lnTo>
                    <a:pt x="1172" y="118"/>
                  </a:lnTo>
                  <a:lnTo>
                    <a:pt x="1146" y="119"/>
                  </a:lnTo>
                  <a:lnTo>
                    <a:pt x="1120" y="121"/>
                  </a:lnTo>
                  <a:lnTo>
                    <a:pt x="1097" y="121"/>
                  </a:lnTo>
                  <a:lnTo>
                    <a:pt x="1074" y="119"/>
                  </a:lnTo>
                  <a:lnTo>
                    <a:pt x="1031" y="113"/>
                  </a:lnTo>
                  <a:lnTo>
                    <a:pt x="990" y="106"/>
                  </a:lnTo>
                  <a:lnTo>
                    <a:pt x="951" y="100"/>
                  </a:lnTo>
                  <a:lnTo>
                    <a:pt x="931" y="98"/>
                  </a:lnTo>
                  <a:lnTo>
                    <a:pt x="910" y="98"/>
                  </a:lnTo>
                  <a:lnTo>
                    <a:pt x="891" y="98"/>
                  </a:lnTo>
                  <a:lnTo>
                    <a:pt x="869" y="100"/>
                  </a:lnTo>
                  <a:lnTo>
                    <a:pt x="846" y="105"/>
                  </a:lnTo>
                  <a:lnTo>
                    <a:pt x="823" y="110"/>
                  </a:lnTo>
                  <a:lnTo>
                    <a:pt x="823" y="110"/>
                  </a:lnTo>
                  <a:lnTo>
                    <a:pt x="804" y="119"/>
                  </a:lnTo>
                  <a:lnTo>
                    <a:pt x="786" y="129"/>
                  </a:lnTo>
                  <a:lnTo>
                    <a:pt x="768" y="139"/>
                  </a:lnTo>
                  <a:lnTo>
                    <a:pt x="753" y="152"/>
                  </a:lnTo>
                  <a:lnTo>
                    <a:pt x="738" y="165"/>
                  </a:lnTo>
                  <a:lnTo>
                    <a:pt x="725" y="178"/>
                  </a:lnTo>
                  <a:lnTo>
                    <a:pt x="699" y="208"/>
                  </a:lnTo>
                  <a:lnTo>
                    <a:pt x="671" y="239"/>
                  </a:lnTo>
                  <a:lnTo>
                    <a:pt x="643" y="272"/>
                  </a:lnTo>
                  <a:lnTo>
                    <a:pt x="629" y="286"/>
                  </a:lnTo>
                  <a:lnTo>
                    <a:pt x="611" y="303"/>
                  </a:lnTo>
                  <a:lnTo>
                    <a:pt x="593" y="318"/>
                  </a:lnTo>
                  <a:lnTo>
                    <a:pt x="573" y="332"/>
                  </a:lnTo>
                  <a:lnTo>
                    <a:pt x="573" y="332"/>
                  </a:lnTo>
                  <a:lnTo>
                    <a:pt x="550" y="345"/>
                  </a:lnTo>
                  <a:lnTo>
                    <a:pt x="529" y="355"/>
                  </a:lnTo>
                  <a:lnTo>
                    <a:pt x="507" y="363"/>
                  </a:lnTo>
                  <a:lnTo>
                    <a:pt x="486" y="372"/>
                  </a:lnTo>
                  <a:lnTo>
                    <a:pt x="445" y="385"/>
                  </a:lnTo>
                  <a:lnTo>
                    <a:pt x="404" y="396"/>
                  </a:lnTo>
                  <a:lnTo>
                    <a:pt x="365" y="408"/>
                  </a:lnTo>
                  <a:lnTo>
                    <a:pt x="345" y="416"/>
                  </a:lnTo>
                  <a:lnTo>
                    <a:pt x="326" y="424"/>
                  </a:lnTo>
                  <a:lnTo>
                    <a:pt x="308" y="434"/>
                  </a:lnTo>
                  <a:lnTo>
                    <a:pt x="290" y="444"/>
                  </a:lnTo>
                  <a:lnTo>
                    <a:pt x="272" y="458"/>
                  </a:lnTo>
                  <a:lnTo>
                    <a:pt x="254" y="473"/>
                  </a:lnTo>
                  <a:lnTo>
                    <a:pt x="254" y="473"/>
                  </a:lnTo>
                  <a:lnTo>
                    <a:pt x="241" y="493"/>
                  </a:lnTo>
                  <a:lnTo>
                    <a:pt x="228" y="511"/>
                  </a:lnTo>
                  <a:lnTo>
                    <a:pt x="219" y="530"/>
                  </a:lnTo>
                  <a:lnTo>
                    <a:pt x="211" y="550"/>
                  </a:lnTo>
                  <a:lnTo>
                    <a:pt x="205" y="570"/>
                  </a:lnTo>
                  <a:lnTo>
                    <a:pt x="200" y="589"/>
                  </a:lnTo>
                  <a:lnTo>
                    <a:pt x="192" y="630"/>
                  </a:lnTo>
                  <a:lnTo>
                    <a:pt x="178" y="719"/>
                  </a:lnTo>
                  <a:lnTo>
                    <a:pt x="169" y="768"/>
                  </a:lnTo>
                  <a:lnTo>
                    <a:pt x="162" y="792"/>
                  </a:lnTo>
                  <a:lnTo>
                    <a:pt x="154" y="818"/>
                  </a:lnTo>
                  <a:lnTo>
                    <a:pt x="154" y="818"/>
                  </a:lnTo>
                  <a:lnTo>
                    <a:pt x="144" y="843"/>
                  </a:lnTo>
                  <a:lnTo>
                    <a:pt x="133" y="866"/>
                  </a:lnTo>
                  <a:lnTo>
                    <a:pt x="119" y="887"/>
                  </a:lnTo>
                  <a:lnTo>
                    <a:pt x="106" y="907"/>
                  </a:lnTo>
                  <a:lnTo>
                    <a:pt x="82" y="944"/>
                  </a:lnTo>
                  <a:lnTo>
                    <a:pt x="57" y="979"/>
                  </a:lnTo>
                  <a:lnTo>
                    <a:pt x="34" y="1013"/>
                  </a:lnTo>
                  <a:lnTo>
                    <a:pt x="25" y="1031"/>
                  </a:lnTo>
                  <a:lnTo>
                    <a:pt x="16" y="1051"/>
                  </a:lnTo>
                  <a:lnTo>
                    <a:pt x="10" y="1070"/>
                  </a:lnTo>
                  <a:lnTo>
                    <a:pt x="5" y="1092"/>
                  </a:lnTo>
                  <a:lnTo>
                    <a:pt x="2" y="1115"/>
                  </a:lnTo>
                  <a:lnTo>
                    <a:pt x="0" y="1139"/>
                  </a:lnTo>
                  <a:lnTo>
                    <a:pt x="0" y="1139"/>
                  </a:lnTo>
                  <a:lnTo>
                    <a:pt x="2" y="1164"/>
                  </a:lnTo>
                  <a:lnTo>
                    <a:pt x="5" y="1187"/>
                  </a:lnTo>
                  <a:lnTo>
                    <a:pt x="10" y="1208"/>
                  </a:lnTo>
                  <a:lnTo>
                    <a:pt x="16" y="1228"/>
                  </a:lnTo>
                  <a:lnTo>
                    <a:pt x="25" y="1247"/>
                  </a:lnTo>
                  <a:lnTo>
                    <a:pt x="34" y="1265"/>
                  </a:lnTo>
                  <a:lnTo>
                    <a:pt x="57" y="1300"/>
                  </a:lnTo>
                  <a:lnTo>
                    <a:pt x="82" y="1336"/>
                  </a:lnTo>
                  <a:lnTo>
                    <a:pt x="106" y="1373"/>
                  </a:lnTo>
                  <a:lnTo>
                    <a:pt x="119" y="1393"/>
                  </a:lnTo>
                  <a:lnTo>
                    <a:pt x="133" y="1414"/>
                  </a:lnTo>
                  <a:lnTo>
                    <a:pt x="144" y="1437"/>
                  </a:lnTo>
                  <a:lnTo>
                    <a:pt x="154" y="1462"/>
                  </a:lnTo>
                  <a:lnTo>
                    <a:pt x="154" y="1462"/>
                  </a:lnTo>
                  <a:lnTo>
                    <a:pt x="162" y="1488"/>
                  </a:lnTo>
                  <a:lnTo>
                    <a:pt x="169" y="1512"/>
                  </a:lnTo>
                  <a:lnTo>
                    <a:pt x="178" y="1560"/>
                  </a:lnTo>
                  <a:lnTo>
                    <a:pt x="192" y="1648"/>
                  </a:lnTo>
                  <a:lnTo>
                    <a:pt x="200" y="1689"/>
                  </a:lnTo>
                  <a:lnTo>
                    <a:pt x="205" y="1710"/>
                  </a:lnTo>
                  <a:lnTo>
                    <a:pt x="211" y="1730"/>
                  </a:lnTo>
                  <a:lnTo>
                    <a:pt x="219" y="1750"/>
                  </a:lnTo>
                  <a:lnTo>
                    <a:pt x="228" y="1768"/>
                  </a:lnTo>
                  <a:lnTo>
                    <a:pt x="241" y="1787"/>
                  </a:lnTo>
                  <a:lnTo>
                    <a:pt x="254" y="1807"/>
                  </a:lnTo>
                  <a:lnTo>
                    <a:pt x="254" y="1807"/>
                  </a:lnTo>
                  <a:lnTo>
                    <a:pt x="272" y="1822"/>
                  </a:lnTo>
                  <a:lnTo>
                    <a:pt x="290" y="1835"/>
                  </a:lnTo>
                  <a:lnTo>
                    <a:pt x="308" y="1846"/>
                  </a:lnTo>
                  <a:lnTo>
                    <a:pt x="326" y="1856"/>
                  </a:lnTo>
                  <a:lnTo>
                    <a:pt x="345" y="1864"/>
                  </a:lnTo>
                  <a:lnTo>
                    <a:pt x="365" y="1871"/>
                  </a:lnTo>
                  <a:lnTo>
                    <a:pt x="404" y="1884"/>
                  </a:lnTo>
                  <a:lnTo>
                    <a:pt x="445" y="1895"/>
                  </a:lnTo>
                  <a:lnTo>
                    <a:pt x="486" y="1908"/>
                  </a:lnTo>
                  <a:lnTo>
                    <a:pt x="507" y="1915"/>
                  </a:lnTo>
                  <a:lnTo>
                    <a:pt x="529" y="1925"/>
                  </a:lnTo>
                  <a:lnTo>
                    <a:pt x="550" y="1935"/>
                  </a:lnTo>
                  <a:lnTo>
                    <a:pt x="573" y="1946"/>
                  </a:lnTo>
                  <a:lnTo>
                    <a:pt x="573" y="1946"/>
                  </a:lnTo>
                  <a:lnTo>
                    <a:pt x="593" y="1962"/>
                  </a:lnTo>
                  <a:lnTo>
                    <a:pt x="611" y="1977"/>
                  </a:lnTo>
                  <a:lnTo>
                    <a:pt x="629" y="1992"/>
                  </a:lnTo>
                  <a:lnTo>
                    <a:pt x="643" y="2008"/>
                  </a:lnTo>
                  <a:lnTo>
                    <a:pt x="671" y="2039"/>
                  </a:lnTo>
                  <a:lnTo>
                    <a:pt x="699" y="2070"/>
                  </a:lnTo>
                  <a:lnTo>
                    <a:pt x="725" y="2100"/>
                  </a:lnTo>
                  <a:lnTo>
                    <a:pt x="738" y="2115"/>
                  </a:lnTo>
                  <a:lnTo>
                    <a:pt x="753" y="2128"/>
                  </a:lnTo>
                  <a:lnTo>
                    <a:pt x="768" y="2139"/>
                  </a:lnTo>
                  <a:lnTo>
                    <a:pt x="786" y="2151"/>
                  </a:lnTo>
                  <a:lnTo>
                    <a:pt x="804" y="2161"/>
                  </a:lnTo>
                  <a:lnTo>
                    <a:pt x="823" y="2169"/>
                  </a:lnTo>
                  <a:lnTo>
                    <a:pt x="823" y="2169"/>
                  </a:lnTo>
                  <a:lnTo>
                    <a:pt x="846" y="2175"/>
                  </a:lnTo>
                  <a:lnTo>
                    <a:pt x="869" y="2179"/>
                  </a:lnTo>
                  <a:lnTo>
                    <a:pt x="891" y="2182"/>
                  </a:lnTo>
                  <a:lnTo>
                    <a:pt x="910" y="2182"/>
                  </a:lnTo>
                  <a:lnTo>
                    <a:pt x="931" y="2180"/>
                  </a:lnTo>
                  <a:lnTo>
                    <a:pt x="951" y="2179"/>
                  </a:lnTo>
                  <a:lnTo>
                    <a:pt x="990" y="2174"/>
                  </a:lnTo>
                  <a:lnTo>
                    <a:pt x="1031" y="2167"/>
                  </a:lnTo>
                  <a:lnTo>
                    <a:pt x="1074" y="2161"/>
                  </a:lnTo>
                  <a:lnTo>
                    <a:pt x="1097" y="2159"/>
                  </a:lnTo>
                  <a:lnTo>
                    <a:pt x="1120" y="2159"/>
                  </a:lnTo>
                  <a:lnTo>
                    <a:pt x="1146" y="2159"/>
                  </a:lnTo>
                  <a:lnTo>
                    <a:pt x="1172" y="2162"/>
                  </a:lnTo>
                  <a:lnTo>
                    <a:pt x="1172" y="2162"/>
                  </a:lnTo>
                  <a:lnTo>
                    <a:pt x="1200" y="2169"/>
                  </a:lnTo>
                  <a:lnTo>
                    <a:pt x="1224" y="2175"/>
                  </a:lnTo>
                  <a:lnTo>
                    <a:pt x="1247" y="2183"/>
                  </a:lnTo>
                  <a:lnTo>
                    <a:pt x="1269" y="2193"/>
                  </a:lnTo>
                  <a:lnTo>
                    <a:pt x="1305" y="2211"/>
                  </a:lnTo>
                  <a:lnTo>
                    <a:pt x="1337" y="2231"/>
                  </a:lnTo>
                  <a:lnTo>
                    <a:pt x="1369" y="2249"/>
                  </a:lnTo>
                  <a:lnTo>
                    <a:pt x="1385" y="2257"/>
                  </a:lnTo>
                  <a:lnTo>
                    <a:pt x="1403" y="2264"/>
                  </a:lnTo>
                  <a:lnTo>
                    <a:pt x="1421" y="2270"/>
                  </a:lnTo>
                  <a:lnTo>
                    <a:pt x="1441" y="2275"/>
                  </a:lnTo>
                  <a:lnTo>
                    <a:pt x="1463" y="2278"/>
                  </a:lnTo>
                  <a:lnTo>
                    <a:pt x="1488" y="2280"/>
                  </a:lnTo>
                  <a:lnTo>
                    <a:pt x="1488" y="2280"/>
                  </a:lnTo>
                  <a:lnTo>
                    <a:pt x="1488" y="2280"/>
                  </a:lnTo>
                  <a:lnTo>
                    <a:pt x="1513" y="2278"/>
                  </a:lnTo>
                  <a:lnTo>
                    <a:pt x="1534" y="2275"/>
                  </a:lnTo>
                  <a:lnTo>
                    <a:pt x="1555" y="2270"/>
                  </a:lnTo>
                  <a:lnTo>
                    <a:pt x="1573" y="2264"/>
                  </a:lnTo>
                  <a:lnTo>
                    <a:pt x="1591" y="2257"/>
                  </a:lnTo>
                  <a:lnTo>
                    <a:pt x="1607" y="2249"/>
                  </a:lnTo>
                  <a:lnTo>
                    <a:pt x="1639" y="2231"/>
                  </a:lnTo>
                  <a:lnTo>
                    <a:pt x="1671" y="2211"/>
                  </a:lnTo>
                  <a:lnTo>
                    <a:pt x="1707" y="2193"/>
                  </a:lnTo>
                  <a:lnTo>
                    <a:pt x="1729" y="2183"/>
                  </a:lnTo>
                  <a:lnTo>
                    <a:pt x="1752" y="2175"/>
                  </a:lnTo>
                  <a:lnTo>
                    <a:pt x="1776" y="2169"/>
                  </a:lnTo>
                  <a:lnTo>
                    <a:pt x="1804" y="2162"/>
                  </a:lnTo>
                  <a:lnTo>
                    <a:pt x="1804" y="2162"/>
                  </a:lnTo>
                  <a:lnTo>
                    <a:pt x="1830" y="2159"/>
                  </a:lnTo>
                  <a:lnTo>
                    <a:pt x="1855" y="2159"/>
                  </a:lnTo>
                  <a:lnTo>
                    <a:pt x="1879" y="2159"/>
                  </a:lnTo>
                  <a:lnTo>
                    <a:pt x="1901" y="2161"/>
                  </a:lnTo>
                  <a:lnTo>
                    <a:pt x="1945" y="2167"/>
                  </a:lnTo>
                  <a:lnTo>
                    <a:pt x="1984" y="2174"/>
                  </a:lnTo>
                  <a:lnTo>
                    <a:pt x="2025" y="2179"/>
                  </a:lnTo>
                  <a:lnTo>
                    <a:pt x="2045" y="2180"/>
                  </a:lnTo>
                  <a:lnTo>
                    <a:pt x="2064" y="2182"/>
                  </a:lnTo>
                  <a:lnTo>
                    <a:pt x="2085" y="2182"/>
                  </a:lnTo>
                  <a:lnTo>
                    <a:pt x="2107" y="2179"/>
                  </a:lnTo>
                  <a:lnTo>
                    <a:pt x="2130" y="2175"/>
                  </a:lnTo>
                  <a:lnTo>
                    <a:pt x="2153" y="2169"/>
                  </a:lnTo>
                  <a:lnTo>
                    <a:pt x="2153" y="2169"/>
                  </a:lnTo>
                  <a:lnTo>
                    <a:pt x="2172" y="2161"/>
                  </a:lnTo>
                  <a:lnTo>
                    <a:pt x="2190" y="2151"/>
                  </a:lnTo>
                  <a:lnTo>
                    <a:pt x="2207" y="2139"/>
                  </a:lnTo>
                  <a:lnTo>
                    <a:pt x="2223" y="2128"/>
                  </a:lnTo>
                  <a:lnTo>
                    <a:pt x="2238" y="2115"/>
                  </a:lnTo>
                  <a:lnTo>
                    <a:pt x="2251" y="2100"/>
                  </a:lnTo>
                  <a:lnTo>
                    <a:pt x="2277" y="2070"/>
                  </a:lnTo>
                  <a:lnTo>
                    <a:pt x="2303" y="2039"/>
                  </a:lnTo>
                  <a:lnTo>
                    <a:pt x="2333" y="2008"/>
                  </a:lnTo>
                  <a:lnTo>
                    <a:pt x="2347" y="1992"/>
                  </a:lnTo>
                  <a:lnTo>
                    <a:pt x="2364" y="1977"/>
                  </a:lnTo>
                  <a:lnTo>
                    <a:pt x="2383" y="1962"/>
                  </a:lnTo>
                  <a:lnTo>
                    <a:pt x="2403" y="1946"/>
                  </a:lnTo>
                  <a:lnTo>
                    <a:pt x="2403" y="1946"/>
                  </a:lnTo>
                  <a:lnTo>
                    <a:pt x="2424" y="1935"/>
                  </a:lnTo>
                  <a:lnTo>
                    <a:pt x="2447" y="1925"/>
                  </a:lnTo>
                  <a:lnTo>
                    <a:pt x="2469" y="1915"/>
                  </a:lnTo>
                  <a:lnTo>
                    <a:pt x="2490" y="1908"/>
                  </a:lnTo>
                  <a:lnTo>
                    <a:pt x="2531" y="1895"/>
                  </a:lnTo>
                  <a:lnTo>
                    <a:pt x="2572" y="1884"/>
                  </a:lnTo>
                  <a:lnTo>
                    <a:pt x="2611" y="1871"/>
                  </a:lnTo>
                  <a:lnTo>
                    <a:pt x="2631" y="1864"/>
                  </a:lnTo>
                  <a:lnTo>
                    <a:pt x="2649" y="1856"/>
                  </a:lnTo>
                  <a:lnTo>
                    <a:pt x="2668" y="1846"/>
                  </a:lnTo>
                  <a:lnTo>
                    <a:pt x="2686" y="1835"/>
                  </a:lnTo>
                  <a:lnTo>
                    <a:pt x="2704" y="1822"/>
                  </a:lnTo>
                  <a:lnTo>
                    <a:pt x="2722" y="1807"/>
                  </a:lnTo>
                  <a:lnTo>
                    <a:pt x="2722" y="1807"/>
                  </a:lnTo>
                  <a:lnTo>
                    <a:pt x="2735" y="1787"/>
                  </a:lnTo>
                  <a:lnTo>
                    <a:pt x="2747" y="1768"/>
                  </a:lnTo>
                  <a:lnTo>
                    <a:pt x="2757" y="1750"/>
                  </a:lnTo>
                  <a:lnTo>
                    <a:pt x="2765" y="1730"/>
                  </a:lnTo>
                  <a:lnTo>
                    <a:pt x="2771" y="1710"/>
                  </a:lnTo>
                  <a:lnTo>
                    <a:pt x="2776" y="1689"/>
                  </a:lnTo>
                  <a:lnTo>
                    <a:pt x="2784" y="1648"/>
                  </a:lnTo>
                  <a:lnTo>
                    <a:pt x="2798" y="1560"/>
                  </a:lnTo>
                  <a:lnTo>
                    <a:pt x="2806" y="1512"/>
                  </a:lnTo>
                  <a:lnTo>
                    <a:pt x="2812" y="1488"/>
                  </a:lnTo>
                  <a:lnTo>
                    <a:pt x="2820" y="1462"/>
                  </a:lnTo>
                  <a:lnTo>
                    <a:pt x="2820" y="1462"/>
                  </a:lnTo>
                  <a:lnTo>
                    <a:pt x="2832" y="1437"/>
                  </a:lnTo>
                  <a:lnTo>
                    <a:pt x="2843" y="1414"/>
                  </a:lnTo>
                  <a:lnTo>
                    <a:pt x="2857" y="1393"/>
                  </a:lnTo>
                  <a:lnTo>
                    <a:pt x="2868" y="1372"/>
                  </a:lnTo>
                  <a:lnTo>
                    <a:pt x="2894" y="1336"/>
                  </a:lnTo>
                  <a:lnTo>
                    <a:pt x="2919" y="1300"/>
                  </a:lnTo>
                  <a:lnTo>
                    <a:pt x="2942" y="1264"/>
                  </a:lnTo>
                  <a:lnTo>
                    <a:pt x="2951" y="1246"/>
                  </a:lnTo>
                  <a:lnTo>
                    <a:pt x="2960" y="1228"/>
                  </a:lnTo>
                  <a:lnTo>
                    <a:pt x="2966" y="1208"/>
                  </a:lnTo>
                  <a:lnTo>
                    <a:pt x="2971" y="1187"/>
                  </a:lnTo>
                  <a:lnTo>
                    <a:pt x="2974" y="1164"/>
                  </a:lnTo>
                  <a:lnTo>
                    <a:pt x="2976" y="1139"/>
                  </a:lnTo>
                  <a:lnTo>
                    <a:pt x="2976" y="1139"/>
                  </a:lnTo>
                  <a:lnTo>
                    <a:pt x="2974" y="1115"/>
                  </a:lnTo>
                  <a:lnTo>
                    <a:pt x="2971" y="1092"/>
                  </a:lnTo>
                  <a:lnTo>
                    <a:pt x="2966" y="1070"/>
                  </a:lnTo>
                  <a:lnTo>
                    <a:pt x="2960" y="1051"/>
                  </a:lnTo>
                  <a:lnTo>
                    <a:pt x="2951" y="1031"/>
                  </a:lnTo>
                  <a:lnTo>
                    <a:pt x="2942" y="1013"/>
                  </a:lnTo>
                  <a:lnTo>
                    <a:pt x="2919" y="979"/>
                  </a:lnTo>
                  <a:lnTo>
                    <a:pt x="2894" y="943"/>
                  </a:lnTo>
                  <a:lnTo>
                    <a:pt x="2868" y="907"/>
                  </a:lnTo>
                  <a:lnTo>
                    <a:pt x="2857" y="887"/>
                  </a:lnTo>
                  <a:lnTo>
                    <a:pt x="2843" y="866"/>
                  </a:lnTo>
                  <a:lnTo>
                    <a:pt x="2832" y="843"/>
                  </a:lnTo>
                  <a:lnTo>
                    <a:pt x="2820" y="818"/>
                  </a:lnTo>
                  <a:lnTo>
                    <a:pt x="2820" y="818"/>
                  </a:lnTo>
                  <a:close/>
                  <a:moveTo>
                    <a:pt x="1488" y="2030"/>
                  </a:moveTo>
                  <a:lnTo>
                    <a:pt x="1488" y="2030"/>
                  </a:lnTo>
                  <a:lnTo>
                    <a:pt x="1419" y="2028"/>
                  </a:lnTo>
                  <a:lnTo>
                    <a:pt x="1350" y="2025"/>
                  </a:lnTo>
                  <a:lnTo>
                    <a:pt x="1285" y="2018"/>
                  </a:lnTo>
                  <a:lnTo>
                    <a:pt x="1221" y="2012"/>
                  </a:lnTo>
                  <a:lnTo>
                    <a:pt x="1157" y="2002"/>
                  </a:lnTo>
                  <a:lnTo>
                    <a:pt x="1097" y="1990"/>
                  </a:lnTo>
                  <a:lnTo>
                    <a:pt x="1036" y="1976"/>
                  </a:lnTo>
                  <a:lnTo>
                    <a:pt x="979" y="1961"/>
                  </a:lnTo>
                  <a:lnTo>
                    <a:pt x="923" y="1943"/>
                  </a:lnTo>
                  <a:lnTo>
                    <a:pt x="869" y="1923"/>
                  </a:lnTo>
                  <a:lnTo>
                    <a:pt x="817" y="1902"/>
                  </a:lnTo>
                  <a:lnTo>
                    <a:pt x="768" y="1879"/>
                  </a:lnTo>
                  <a:lnTo>
                    <a:pt x="719" y="1854"/>
                  </a:lnTo>
                  <a:lnTo>
                    <a:pt x="673" y="1828"/>
                  </a:lnTo>
                  <a:lnTo>
                    <a:pt x="629" y="1800"/>
                  </a:lnTo>
                  <a:lnTo>
                    <a:pt x="586" y="1771"/>
                  </a:lnTo>
                  <a:lnTo>
                    <a:pt x="547" y="1742"/>
                  </a:lnTo>
                  <a:lnTo>
                    <a:pt x="509" y="1709"/>
                  </a:lnTo>
                  <a:lnTo>
                    <a:pt x="475" y="1674"/>
                  </a:lnTo>
                  <a:lnTo>
                    <a:pt x="442" y="1640"/>
                  </a:lnTo>
                  <a:lnTo>
                    <a:pt x="411" y="1604"/>
                  </a:lnTo>
                  <a:lnTo>
                    <a:pt x="383" y="1566"/>
                  </a:lnTo>
                  <a:lnTo>
                    <a:pt x="357" y="1529"/>
                  </a:lnTo>
                  <a:lnTo>
                    <a:pt x="334" y="1489"/>
                  </a:lnTo>
                  <a:lnTo>
                    <a:pt x="314" y="1449"/>
                  </a:lnTo>
                  <a:lnTo>
                    <a:pt x="296" y="1408"/>
                  </a:lnTo>
                  <a:lnTo>
                    <a:pt x="280" y="1365"/>
                  </a:lnTo>
                  <a:lnTo>
                    <a:pt x="267" y="1321"/>
                  </a:lnTo>
                  <a:lnTo>
                    <a:pt x="257" y="1277"/>
                  </a:lnTo>
                  <a:lnTo>
                    <a:pt x="250" y="1232"/>
                  </a:lnTo>
                  <a:lnTo>
                    <a:pt x="246" y="1187"/>
                  </a:lnTo>
                  <a:lnTo>
                    <a:pt x="246" y="1139"/>
                  </a:lnTo>
                  <a:lnTo>
                    <a:pt x="246" y="1139"/>
                  </a:lnTo>
                  <a:lnTo>
                    <a:pt x="246" y="1093"/>
                  </a:lnTo>
                  <a:lnTo>
                    <a:pt x="250" y="1048"/>
                  </a:lnTo>
                  <a:lnTo>
                    <a:pt x="257" y="1002"/>
                  </a:lnTo>
                  <a:lnTo>
                    <a:pt x="267" y="958"/>
                  </a:lnTo>
                  <a:lnTo>
                    <a:pt x="280" y="915"/>
                  </a:lnTo>
                  <a:lnTo>
                    <a:pt x="296" y="872"/>
                  </a:lnTo>
                  <a:lnTo>
                    <a:pt x="314" y="831"/>
                  </a:lnTo>
                  <a:lnTo>
                    <a:pt x="334" y="791"/>
                  </a:lnTo>
                  <a:lnTo>
                    <a:pt x="357" y="751"/>
                  </a:lnTo>
                  <a:lnTo>
                    <a:pt x="383" y="712"/>
                  </a:lnTo>
                  <a:lnTo>
                    <a:pt x="411" y="674"/>
                  </a:lnTo>
                  <a:lnTo>
                    <a:pt x="442" y="638"/>
                  </a:lnTo>
                  <a:lnTo>
                    <a:pt x="475" y="604"/>
                  </a:lnTo>
                  <a:lnTo>
                    <a:pt x="509" y="571"/>
                  </a:lnTo>
                  <a:lnTo>
                    <a:pt x="547" y="538"/>
                  </a:lnTo>
                  <a:lnTo>
                    <a:pt x="588" y="507"/>
                  </a:lnTo>
                  <a:lnTo>
                    <a:pt x="629" y="480"/>
                  </a:lnTo>
                  <a:lnTo>
                    <a:pt x="673" y="452"/>
                  </a:lnTo>
                  <a:lnTo>
                    <a:pt x="719" y="426"/>
                  </a:lnTo>
                  <a:lnTo>
                    <a:pt x="768" y="401"/>
                  </a:lnTo>
                  <a:lnTo>
                    <a:pt x="817" y="378"/>
                  </a:lnTo>
                  <a:lnTo>
                    <a:pt x="869" y="357"/>
                  </a:lnTo>
                  <a:lnTo>
                    <a:pt x="923" y="337"/>
                  </a:lnTo>
                  <a:lnTo>
                    <a:pt x="979" y="319"/>
                  </a:lnTo>
                  <a:lnTo>
                    <a:pt x="1036" y="303"/>
                  </a:lnTo>
                  <a:lnTo>
                    <a:pt x="1097" y="290"/>
                  </a:lnTo>
                  <a:lnTo>
                    <a:pt x="1157" y="278"/>
                  </a:lnTo>
                  <a:lnTo>
                    <a:pt x="1221" y="268"/>
                  </a:lnTo>
                  <a:lnTo>
                    <a:pt x="1285" y="260"/>
                  </a:lnTo>
                  <a:lnTo>
                    <a:pt x="1350" y="255"/>
                  </a:lnTo>
                  <a:lnTo>
                    <a:pt x="1419" y="252"/>
                  </a:lnTo>
                  <a:lnTo>
                    <a:pt x="1488" y="250"/>
                  </a:lnTo>
                  <a:lnTo>
                    <a:pt x="1488" y="250"/>
                  </a:lnTo>
                  <a:lnTo>
                    <a:pt x="1557" y="252"/>
                  </a:lnTo>
                  <a:lnTo>
                    <a:pt x="1626" y="255"/>
                  </a:lnTo>
                  <a:lnTo>
                    <a:pt x="1691" y="260"/>
                  </a:lnTo>
                  <a:lnTo>
                    <a:pt x="1756" y="268"/>
                  </a:lnTo>
                  <a:lnTo>
                    <a:pt x="1819" y="278"/>
                  </a:lnTo>
                  <a:lnTo>
                    <a:pt x="1879" y="290"/>
                  </a:lnTo>
                  <a:lnTo>
                    <a:pt x="1940" y="303"/>
                  </a:lnTo>
                  <a:lnTo>
                    <a:pt x="1997" y="319"/>
                  </a:lnTo>
                  <a:lnTo>
                    <a:pt x="2053" y="337"/>
                  </a:lnTo>
                  <a:lnTo>
                    <a:pt x="2107" y="357"/>
                  </a:lnTo>
                  <a:lnTo>
                    <a:pt x="2159" y="378"/>
                  </a:lnTo>
                  <a:lnTo>
                    <a:pt x="2210" y="401"/>
                  </a:lnTo>
                  <a:lnTo>
                    <a:pt x="2257" y="426"/>
                  </a:lnTo>
                  <a:lnTo>
                    <a:pt x="2303" y="452"/>
                  </a:lnTo>
                  <a:lnTo>
                    <a:pt x="2347" y="480"/>
                  </a:lnTo>
                  <a:lnTo>
                    <a:pt x="2390" y="507"/>
                  </a:lnTo>
                  <a:lnTo>
                    <a:pt x="2429" y="538"/>
                  </a:lnTo>
                  <a:lnTo>
                    <a:pt x="2467" y="571"/>
                  </a:lnTo>
                  <a:lnTo>
                    <a:pt x="2501" y="604"/>
                  </a:lnTo>
                  <a:lnTo>
                    <a:pt x="2534" y="638"/>
                  </a:lnTo>
                  <a:lnTo>
                    <a:pt x="2565" y="674"/>
                  </a:lnTo>
                  <a:lnTo>
                    <a:pt x="2593" y="712"/>
                  </a:lnTo>
                  <a:lnTo>
                    <a:pt x="2619" y="751"/>
                  </a:lnTo>
                  <a:lnTo>
                    <a:pt x="2642" y="791"/>
                  </a:lnTo>
                  <a:lnTo>
                    <a:pt x="2662" y="831"/>
                  </a:lnTo>
                  <a:lnTo>
                    <a:pt x="2680" y="872"/>
                  </a:lnTo>
                  <a:lnTo>
                    <a:pt x="2696" y="915"/>
                  </a:lnTo>
                  <a:lnTo>
                    <a:pt x="2708" y="958"/>
                  </a:lnTo>
                  <a:lnTo>
                    <a:pt x="2717" y="1002"/>
                  </a:lnTo>
                  <a:lnTo>
                    <a:pt x="2726" y="1048"/>
                  </a:lnTo>
                  <a:lnTo>
                    <a:pt x="2729" y="1093"/>
                  </a:lnTo>
                  <a:lnTo>
                    <a:pt x="2730" y="1139"/>
                  </a:lnTo>
                  <a:lnTo>
                    <a:pt x="2730" y="1139"/>
                  </a:lnTo>
                  <a:lnTo>
                    <a:pt x="2729" y="1187"/>
                  </a:lnTo>
                  <a:lnTo>
                    <a:pt x="2726" y="1232"/>
                  </a:lnTo>
                  <a:lnTo>
                    <a:pt x="2717" y="1277"/>
                  </a:lnTo>
                  <a:lnTo>
                    <a:pt x="2708" y="1321"/>
                  </a:lnTo>
                  <a:lnTo>
                    <a:pt x="2696" y="1365"/>
                  </a:lnTo>
                  <a:lnTo>
                    <a:pt x="2680" y="1408"/>
                  </a:lnTo>
                  <a:lnTo>
                    <a:pt x="2662" y="1449"/>
                  </a:lnTo>
                  <a:lnTo>
                    <a:pt x="2642" y="1489"/>
                  </a:lnTo>
                  <a:lnTo>
                    <a:pt x="2619" y="1529"/>
                  </a:lnTo>
                  <a:lnTo>
                    <a:pt x="2593" y="1566"/>
                  </a:lnTo>
                  <a:lnTo>
                    <a:pt x="2565" y="1604"/>
                  </a:lnTo>
                  <a:lnTo>
                    <a:pt x="2534" y="1640"/>
                  </a:lnTo>
                  <a:lnTo>
                    <a:pt x="2501" y="1674"/>
                  </a:lnTo>
                  <a:lnTo>
                    <a:pt x="2465" y="1709"/>
                  </a:lnTo>
                  <a:lnTo>
                    <a:pt x="2429" y="1742"/>
                  </a:lnTo>
                  <a:lnTo>
                    <a:pt x="2388" y="1771"/>
                  </a:lnTo>
                  <a:lnTo>
                    <a:pt x="2347" y="1800"/>
                  </a:lnTo>
                  <a:lnTo>
                    <a:pt x="2303" y="1828"/>
                  </a:lnTo>
                  <a:lnTo>
                    <a:pt x="2257" y="1854"/>
                  </a:lnTo>
                  <a:lnTo>
                    <a:pt x="2208" y="1879"/>
                  </a:lnTo>
                  <a:lnTo>
                    <a:pt x="2159" y="1902"/>
                  </a:lnTo>
                  <a:lnTo>
                    <a:pt x="2107" y="1923"/>
                  </a:lnTo>
                  <a:lnTo>
                    <a:pt x="2053" y="1943"/>
                  </a:lnTo>
                  <a:lnTo>
                    <a:pt x="1997" y="1961"/>
                  </a:lnTo>
                  <a:lnTo>
                    <a:pt x="1938" y="1976"/>
                  </a:lnTo>
                  <a:lnTo>
                    <a:pt x="1879" y="1990"/>
                  </a:lnTo>
                  <a:lnTo>
                    <a:pt x="1819" y="2002"/>
                  </a:lnTo>
                  <a:lnTo>
                    <a:pt x="1755" y="2012"/>
                  </a:lnTo>
                  <a:lnTo>
                    <a:pt x="1691" y="2018"/>
                  </a:lnTo>
                  <a:lnTo>
                    <a:pt x="1624" y="2025"/>
                  </a:lnTo>
                  <a:lnTo>
                    <a:pt x="1557" y="2028"/>
                  </a:lnTo>
                  <a:lnTo>
                    <a:pt x="1488" y="2030"/>
                  </a:lnTo>
                  <a:lnTo>
                    <a:pt x="1488" y="20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5" name="Freeform 18"/>
            <p:cNvSpPr>
              <a:spLocks/>
            </p:cNvSpPr>
            <p:nvPr/>
          </p:nvSpPr>
          <p:spPr bwMode="auto">
            <a:xfrm>
              <a:off x="7856254" y="5908560"/>
              <a:ext cx="206927" cy="269362"/>
            </a:xfrm>
            <a:custGeom>
              <a:avLst/>
              <a:gdLst>
                <a:gd name="T0" fmla="*/ 4 w 698"/>
                <a:gd name="T1" fmla="*/ 404 h 907"/>
                <a:gd name="T2" fmla="*/ 18 w 698"/>
                <a:gd name="T3" fmla="*/ 309 h 907"/>
                <a:gd name="T4" fmla="*/ 48 w 698"/>
                <a:gd name="T5" fmla="*/ 226 h 907"/>
                <a:gd name="T6" fmla="*/ 89 w 698"/>
                <a:gd name="T7" fmla="*/ 154 h 907"/>
                <a:gd name="T8" fmla="*/ 143 w 698"/>
                <a:gd name="T9" fmla="*/ 95 h 907"/>
                <a:gd name="T10" fmla="*/ 207 w 698"/>
                <a:gd name="T11" fmla="*/ 49 h 907"/>
                <a:gd name="T12" fmla="*/ 279 w 698"/>
                <a:gd name="T13" fmla="*/ 18 h 907"/>
                <a:gd name="T14" fmla="*/ 359 w 698"/>
                <a:gd name="T15" fmla="*/ 1 h 907"/>
                <a:gd name="T16" fmla="*/ 428 w 698"/>
                <a:gd name="T17" fmla="*/ 0 h 907"/>
                <a:gd name="T18" fmla="*/ 519 w 698"/>
                <a:gd name="T19" fmla="*/ 16 h 907"/>
                <a:gd name="T20" fmla="*/ 573 w 698"/>
                <a:gd name="T21" fmla="*/ 37 h 907"/>
                <a:gd name="T22" fmla="*/ 593 w 698"/>
                <a:gd name="T23" fmla="*/ 37 h 907"/>
                <a:gd name="T24" fmla="*/ 611 w 698"/>
                <a:gd name="T25" fmla="*/ 16 h 907"/>
                <a:gd name="T26" fmla="*/ 621 w 698"/>
                <a:gd name="T27" fmla="*/ 6 h 907"/>
                <a:gd name="T28" fmla="*/ 681 w 698"/>
                <a:gd name="T29" fmla="*/ 6 h 907"/>
                <a:gd name="T30" fmla="*/ 689 w 698"/>
                <a:gd name="T31" fmla="*/ 245 h 907"/>
                <a:gd name="T32" fmla="*/ 681 w 698"/>
                <a:gd name="T33" fmla="*/ 258 h 907"/>
                <a:gd name="T34" fmla="*/ 621 w 698"/>
                <a:gd name="T35" fmla="*/ 258 h 907"/>
                <a:gd name="T36" fmla="*/ 613 w 698"/>
                <a:gd name="T37" fmla="*/ 247 h 907"/>
                <a:gd name="T38" fmla="*/ 586 w 698"/>
                <a:gd name="T39" fmla="*/ 160 h 907"/>
                <a:gd name="T40" fmla="*/ 550 w 698"/>
                <a:gd name="T41" fmla="*/ 111 h 907"/>
                <a:gd name="T42" fmla="*/ 495 w 698"/>
                <a:gd name="T43" fmla="*/ 82 h 907"/>
                <a:gd name="T44" fmla="*/ 436 w 698"/>
                <a:gd name="T45" fmla="*/ 75 h 907"/>
                <a:gd name="T46" fmla="*/ 383 w 698"/>
                <a:gd name="T47" fmla="*/ 87 h 907"/>
                <a:gd name="T48" fmla="*/ 342 w 698"/>
                <a:gd name="T49" fmla="*/ 114 h 907"/>
                <a:gd name="T50" fmla="*/ 285 w 698"/>
                <a:gd name="T51" fmla="*/ 206 h 907"/>
                <a:gd name="T52" fmla="*/ 256 w 698"/>
                <a:gd name="T53" fmla="*/ 321 h 907"/>
                <a:gd name="T54" fmla="*/ 247 w 698"/>
                <a:gd name="T55" fmla="*/ 424 h 907"/>
                <a:gd name="T56" fmla="*/ 257 w 698"/>
                <a:gd name="T57" fmla="*/ 596 h 907"/>
                <a:gd name="T58" fmla="*/ 290 w 698"/>
                <a:gd name="T59" fmla="*/ 722 h 907"/>
                <a:gd name="T60" fmla="*/ 338 w 698"/>
                <a:gd name="T61" fmla="*/ 792 h 907"/>
                <a:gd name="T62" fmla="*/ 383 w 698"/>
                <a:gd name="T63" fmla="*/ 820 h 907"/>
                <a:gd name="T64" fmla="*/ 441 w 698"/>
                <a:gd name="T65" fmla="*/ 831 h 907"/>
                <a:gd name="T66" fmla="*/ 503 w 698"/>
                <a:gd name="T67" fmla="*/ 823 h 907"/>
                <a:gd name="T68" fmla="*/ 562 w 698"/>
                <a:gd name="T69" fmla="*/ 794 h 907"/>
                <a:gd name="T70" fmla="*/ 598 w 698"/>
                <a:gd name="T71" fmla="*/ 743 h 907"/>
                <a:gd name="T72" fmla="*/ 621 w 698"/>
                <a:gd name="T73" fmla="*/ 658 h 907"/>
                <a:gd name="T74" fmla="*/ 631 w 698"/>
                <a:gd name="T75" fmla="*/ 646 h 907"/>
                <a:gd name="T76" fmla="*/ 689 w 698"/>
                <a:gd name="T77" fmla="*/ 648 h 907"/>
                <a:gd name="T78" fmla="*/ 698 w 698"/>
                <a:gd name="T79" fmla="*/ 887 h 907"/>
                <a:gd name="T80" fmla="*/ 689 w 698"/>
                <a:gd name="T81" fmla="*/ 898 h 907"/>
                <a:gd name="T82" fmla="*/ 629 w 698"/>
                <a:gd name="T83" fmla="*/ 900 h 907"/>
                <a:gd name="T84" fmla="*/ 621 w 698"/>
                <a:gd name="T85" fmla="*/ 892 h 907"/>
                <a:gd name="T86" fmla="*/ 599 w 698"/>
                <a:gd name="T87" fmla="*/ 877 h 907"/>
                <a:gd name="T88" fmla="*/ 534 w 698"/>
                <a:gd name="T89" fmla="*/ 892 h 907"/>
                <a:gd name="T90" fmla="*/ 403 w 698"/>
                <a:gd name="T91" fmla="*/ 907 h 907"/>
                <a:gd name="T92" fmla="*/ 334 w 698"/>
                <a:gd name="T93" fmla="*/ 902 h 907"/>
                <a:gd name="T94" fmla="*/ 249 w 698"/>
                <a:gd name="T95" fmla="*/ 877 h 907"/>
                <a:gd name="T96" fmla="*/ 177 w 698"/>
                <a:gd name="T97" fmla="*/ 838 h 907"/>
                <a:gd name="T98" fmla="*/ 118 w 698"/>
                <a:gd name="T99" fmla="*/ 784 h 907"/>
                <a:gd name="T100" fmla="*/ 59 w 698"/>
                <a:gd name="T101" fmla="*/ 702 h 907"/>
                <a:gd name="T102" fmla="*/ 7 w 698"/>
                <a:gd name="T103" fmla="*/ 5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8" h="907">
                  <a:moveTo>
                    <a:pt x="0" y="455"/>
                  </a:moveTo>
                  <a:lnTo>
                    <a:pt x="0" y="455"/>
                  </a:lnTo>
                  <a:lnTo>
                    <a:pt x="2" y="429"/>
                  </a:lnTo>
                  <a:lnTo>
                    <a:pt x="4" y="404"/>
                  </a:lnTo>
                  <a:lnTo>
                    <a:pt x="5" y="378"/>
                  </a:lnTo>
                  <a:lnTo>
                    <a:pt x="8" y="355"/>
                  </a:lnTo>
                  <a:lnTo>
                    <a:pt x="13" y="332"/>
                  </a:lnTo>
                  <a:lnTo>
                    <a:pt x="18" y="309"/>
                  </a:lnTo>
                  <a:lnTo>
                    <a:pt x="25" y="286"/>
                  </a:lnTo>
                  <a:lnTo>
                    <a:pt x="31" y="265"/>
                  </a:lnTo>
                  <a:lnTo>
                    <a:pt x="38" y="245"/>
                  </a:lnTo>
                  <a:lnTo>
                    <a:pt x="48" y="226"/>
                  </a:lnTo>
                  <a:lnTo>
                    <a:pt x="56" y="206"/>
                  </a:lnTo>
                  <a:lnTo>
                    <a:pt x="67" y="188"/>
                  </a:lnTo>
                  <a:lnTo>
                    <a:pt x="77" y="170"/>
                  </a:lnTo>
                  <a:lnTo>
                    <a:pt x="89" y="154"/>
                  </a:lnTo>
                  <a:lnTo>
                    <a:pt x="102" y="137"/>
                  </a:lnTo>
                  <a:lnTo>
                    <a:pt x="115" y="123"/>
                  </a:lnTo>
                  <a:lnTo>
                    <a:pt x="128" y="108"/>
                  </a:lnTo>
                  <a:lnTo>
                    <a:pt x="143" y="95"/>
                  </a:lnTo>
                  <a:lnTo>
                    <a:pt x="157" y="82"/>
                  </a:lnTo>
                  <a:lnTo>
                    <a:pt x="174" y="70"/>
                  </a:lnTo>
                  <a:lnTo>
                    <a:pt x="190" y="59"/>
                  </a:lnTo>
                  <a:lnTo>
                    <a:pt x="207" y="49"/>
                  </a:lnTo>
                  <a:lnTo>
                    <a:pt x="225" y="39"/>
                  </a:lnTo>
                  <a:lnTo>
                    <a:pt x="243" y="31"/>
                  </a:lnTo>
                  <a:lnTo>
                    <a:pt x="261" y="24"/>
                  </a:lnTo>
                  <a:lnTo>
                    <a:pt x="279" y="18"/>
                  </a:lnTo>
                  <a:lnTo>
                    <a:pt x="298" y="11"/>
                  </a:lnTo>
                  <a:lnTo>
                    <a:pt x="318" y="8"/>
                  </a:lnTo>
                  <a:lnTo>
                    <a:pt x="339" y="3"/>
                  </a:lnTo>
                  <a:lnTo>
                    <a:pt x="359" y="1"/>
                  </a:lnTo>
                  <a:lnTo>
                    <a:pt x="380" y="0"/>
                  </a:lnTo>
                  <a:lnTo>
                    <a:pt x="401" y="0"/>
                  </a:lnTo>
                  <a:lnTo>
                    <a:pt x="401" y="0"/>
                  </a:lnTo>
                  <a:lnTo>
                    <a:pt x="428" y="0"/>
                  </a:lnTo>
                  <a:lnTo>
                    <a:pt x="452" y="1"/>
                  </a:lnTo>
                  <a:lnTo>
                    <a:pt x="472" y="5"/>
                  </a:lnTo>
                  <a:lnTo>
                    <a:pt x="490" y="8"/>
                  </a:lnTo>
                  <a:lnTo>
                    <a:pt x="519" y="16"/>
                  </a:lnTo>
                  <a:lnTo>
                    <a:pt x="541" y="24"/>
                  </a:lnTo>
                  <a:lnTo>
                    <a:pt x="541" y="24"/>
                  </a:lnTo>
                  <a:lnTo>
                    <a:pt x="563" y="34"/>
                  </a:lnTo>
                  <a:lnTo>
                    <a:pt x="573" y="37"/>
                  </a:lnTo>
                  <a:lnTo>
                    <a:pt x="583" y="39"/>
                  </a:lnTo>
                  <a:lnTo>
                    <a:pt x="583" y="39"/>
                  </a:lnTo>
                  <a:lnTo>
                    <a:pt x="588" y="39"/>
                  </a:lnTo>
                  <a:lnTo>
                    <a:pt x="593" y="37"/>
                  </a:lnTo>
                  <a:lnTo>
                    <a:pt x="598" y="36"/>
                  </a:lnTo>
                  <a:lnTo>
                    <a:pt x="601" y="33"/>
                  </a:lnTo>
                  <a:lnTo>
                    <a:pt x="608" y="24"/>
                  </a:lnTo>
                  <a:lnTo>
                    <a:pt x="611" y="16"/>
                  </a:lnTo>
                  <a:lnTo>
                    <a:pt x="611" y="16"/>
                  </a:lnTo>
                  <a:lnTo>
                    <a:pt x="614" y="11"/>
                  </a:lnTo>
                  <a:lnTo>
                    <a:pt x="617" y="8"/>
                  </a:lnTo>
                  <a:lnTo>
                    <a:pt x="621" y="6"/>
                  </a:lnTo>
                  <a:lnTo>
                    <a:pt x="624" y="5"/>
                  </a:lnTo>
                  <a:lnTo>
                    <a:pt x="676" y="5"/>
                  </a:lnTo>
                  <a:lnTo>
                    <a:pt x="676" y="5"/>
                  </a:lnTo>
                  <a:lnTo>
                    <a:pt x="681" y="6"/>
                  </a:lnTo>
                  <a:lnTo>
                    <a:pt x="686" y="8"/>
                  </a:lnTo>
                  <a:lnTo>
                    <a:pt x="688" y="13"/>
                  </a:lnTo>
                  <a:lnTo>
                    <a:pt x="689" y="18"/>
                  </a:lnTo>
                  <a:lnTo>
                    <a:pt x="689" y="245"/>
                  </a:lnTo>
                  <a:lnTo>
                    <a:pt x="689" y="245"/>
                  </a:lnTo>
                  <a:lnTo>
                    <a:pt x="688" y="250"/>
                  </a:lnTo>
                  <a:lnTo>
                    <a:pt x="686" y="255"/>
                  </a:lnTo>
                  <a:lnTo>
                    <a:pt x="681" y="258"/>
                  </a:lnTo>
                  <a:lnTo>
                    <a:pt x="676" y="258"/>
                  </a:lnTo>
                  <a:lnTo>
                    <a:pt x="626" y="258"/>
                  </a:lnTo>
                  <a:lnTo>
                    <a:pt x="626" y="258"/>
                  </a:lnTo>
                  <a:lnTo>
                    <a:pt x="621" y="258"/>
                  </a:lnTo>
                  <a:lnTo>
                    <a:pt x="617" y="257"/>
                  </a:lnTo>
                  <a:lnTo>
                    <a:pt x="614" y="252"/>
                  </a:lnTo>
                  <a:lnTo>
                    <a:pt x="613" y="247"/>
                  </a:lnTo>
                  <a:lnTo>
                    <a:pt x="613" y="247"/>
                  </a:lnTo>
                  <a:lnTo>
                    <a:pt x="604" y="209"/>
                  </a:lnTo>
                  <a:lnTo>
                    <a:pt x="599" y="191"/>
                  </a:lnTo>
                  <a:lnTo>
                    <a:pt x="593" y="175"/>
                  </a:lnTo>
                  <a:lnTo>
                    <a:pt x="586" y="160"/>
                  </a:lnTo>
                  <a:lnTo>
                    <a:pt x="580" y="145"/>
                  </a:lnTo>
                  <a:lnTo>
                    <a:pt x="572" y="132"/>
                  </a:lnTo>
                  <a:lnTo>
                    <a:pt x="562" y="121"/>
                  </a:lnTo>
                  <a:lnTo>
                    <a:pt x="550" y="111"/>
                  </a:lnTo>
                  <a:lnTo>
                    <a:pt x="539" y="101"/>
                  </a:lnTo>
                  <a:lnTo>
                    <a:pt x="526" y="93"/>
                  </a:lnTo>
                  <a:lnTo>
                    <a:pt x="511" y="87"/>
                  </a:lnTo>
                  <a:lnTo>
                    <a:pt x="495" y="82"/>
                  </a:lnTo>
                  <a:lnTo>
                    <a:pt x="477" y="78"/>
                  </a:lnTo>
                  <a:lnTo>
                    <a:pt x="457" y="77"/>
                  </a:lnTo>
                  <a:lnTo>
                    <a:pt x="436" y="75"/>
                  </a:lnTo>
                  <a:lnTo>
                    <a:pt x="436" y="75"/>
                  </a:lnTo>
                  <a:lnTo>
                    <a:pt x="421" y="77"/>
                  </a:lnTo>
                  <a:lnTo>
                    <a:pt x="408" y="78"/>
                  </a:lnTo>
                  <a:lnTo>
                    <a:pt x="395" y="82"/>
                  </a:lnTo>
                  <a:lnTo>
                    <a:pt x="383" y="87"/>
                  </a:lnTo>
                  <a:lnTo>
                    <a:pt x="372" y="91"/>
                  </a:lnTo>
                  <a:lnTo>
                    <a:pt x="362" y="98"/>
                  </a:lnTo>
                  <a:lnTo>
                    <a:pt x="352" y="105"/>
                  </a:lnTo>
                  <a:lnTo>
                    <a:pt x="342" y="114"/>
                  </a:lnTo>
                  <a:lnTo>
                    <a:pt x="324" y="132"/>
                  </a:lnTo>
                  <a:lnTo>
                    <a:pt x="310" y="155"/>
                  </a:lnTo>
                  <a:lnTo>
                    <a:pt x="297" y="180"/>
                  </a:lnTo>
                  <a:lnTo>
                    <a:pt x="285" y="206"/>
                  </a:lnTo>
                  <a:lnTo>
                    <a:pt x="275" y="234"/>
                  </a:lnTo>
                  <a:lnTo>
                    <a:pt x="267" y="263"/>
                  </a:lnTo>
                  <a:lnTo>
                    <a:pt x="261" y="291"/>
                  </a:lnTo>
                  <a:lnTo>
                    <a:pt x="256" y="321"/>
                  </a:lnTo>
                  <a:lnTo>
                    <a:pt x="252" y="348"/>
                  </a:lnTo>
                  <a:lnTo>
                    <a:pt x="249" y="375"/>
                  </a:lnTo>
                  <a:lnTo>
                    <a:pt x="247" y="424"/>
                  </a:lnTo>
                  <a:lnTo>
                    <a:pt x="247" y="424"/>
                  </a:lnTo>
                  <a:lnTo>
                    <a:pt x="249" y="491"/>
                  </a:lnTo>
                  <a:lnTo>
                    <a:pt x="251" y="525"/>
                  </a:lnTo>
                  <a:lnTo>
                    <a:pt x="254" y="561"/>
                  </a:lnTo>
                  <a:lnTo>
                    <a:pt x="257" y="596"/>
                  </a:lnTo>
                  <a:lnTo>
                    <a:pt x="264" y="628"/>
                  </a:lnTo>
                  <a:lnTo>
                    <a:pt x="270" y="661"/>
                  </a:lnTo>
                  <a:lnTo>
                    <a:pt x="280" y="692"/>
                  </a:lnTo>
                  <a:lnTo>
                    <a:pt x="290" y="722"/>
                  </a:lnTo>
                  <a:lnTo>
                    <a:pt x="303" y="748"/>
                  </a:lnTo>
                  <a:lnTo>
                    <a:pt x="320" y="772"/>
                  </a:lnTo>
                  <a:lnTo>
                    <a:pt x="328" y="782"/>
                  </a:lnTo>
                  <a:lnTo>
                    <a:pt x="338" y="792"/>
                  </a:lnTo>
                  <a:lnTo>
                    <a:pt x="347" y="800"/>
                  </a:lnTo>
                  <a:lnTo>
                    <a:pt x="359" y="808"/>
                  </a:lnTo>
                  <a:lnTo>
                    <a:pt x="370" y="815"/>
                  </a:lnTo>
                  <a:lnTo>
                    <a:pt x="383" y="820"/>
                  </a:lnTo>
                  <a:lnTo>
                    <a:pt x="396" y="825"/>
                  </a:lnTo>
                  <a:lnTo>
                    <a:pt x="411" y="828"/>
                  </a:lnTo>
                  <a:lnTo>
                    <a:pt x="426" y="830"/>
                  </a:lnTo>
                  <a:lnTo>
                    <a:pt x="441" y="831"/>
                  </a:lnTo>
                  <a:lnTo>
                    <a:pt x="441" y="831"/>
                  </a:lnTo>
                  <a:lnTo>
                    <a:pt x="464" y="830"/>
                  </a:lnTo>
                  <a:lnTo>
                    <a:pt x="485" y="828"/>
                  </a:lnTo>
                  <a:lnTo>
                    <a:pt x="503" y="823"/>
                  </a:lnTo>
                  <a:lnTo>
                    <a:pt x="521" y="818"/>
                  </a:lnTo>
                  <a:lnTo>
                    <a:pt x="536" y="812"/>
                  </a:lnTo>
                  <a:lnTo>
                    <a:pt x="549" y="803"/>
                  </a:lnTo>
                  <a:lnTo>
                    <a:pt x="562" y="794"/>
                  </a:lnTo>
                  <a:lnTo>
                    <a:pt x="572" y="782"/>
                  </a:lnTo>
                  <a:lnTo>
                    <a:pt x="581" y="771"/>
                  </a:lnTo>
                  <a:lnTo>
                    <a:pt x="590" y="758"/>
                  </a:lnTo>
                  <a:lnTo>
                    <a:pt x="598" y="743"/>
                  </a:lnTo>
                  <a:lnTo>
                    <a:pt x="603" y="728"/>
                  </a:lnTo>
                  <a:lnTo>
                    <a:pt x="609" y="712"/>
                  </a:lnTo>
                  <a:lnTo>
                    <a:pt x="614" y="695"/>
                  </a:lnTo>
                  <a:lnTo>
                    <a:pt x="621" y="658"/>
                  </a:lnTo>
                  <a:lnTo>
                    <a:pt x="621" y="658"/>
                  </a:lnTo>
                  <a:lnTo>
                    <a:pt x="622" y="653"/>
                  </a:lnTo>
                  <a:lnTo>
                    <a:pt x="626" y="648"/>
                  </a:lnTo>
                  <a:lnTo>
                    <a:pt x="631" y="646"/>
                  </a:lnTo>
                  <a:lnTo>
                    <a:pt x="634" y="646"/>
                  </a:lnTo>
                  <a:lnTo>
                    <a:pt x="685" y="646"/>
                  </a:lnTo>
                  <a:lnTo>
                    <a:pt x="685" y="646"/>
                  </a:lnTo>
                  <a:lnTo>
                    <a:pt x="689" y="648"/>
                  </a:lnTo>
                  <a:lnTo>
                    <a:pt x="694" y="650"/>
                  </a:lnTo>
                  <a:lnTo>
                    <a:pt x="696" y="654"/>
                  </a:lnTo>
                  <a:lnTo>
                    <a:pt x="698" y="659"/>
                  </a:lnTo>
                  <a:lnTo>
                    <a:pt x="698" y="887"/>
                  </a:lnTo>
                  <a:lnTo>
                    <a:pt x="698" y="887"/>
                  </a:lnTo>
                  <a:lnTo>
                    <a:pt x="696" y="892"/>
                  </a:lnTo>
                  <a:lnTo>
                    <a:pt x="694" y="897"/>
                  </a:lnTo>
                  <a:lnTo>
                    <a:pt x="689" y="898"/>
                  </a:lnTo>
                  <a:lnTo>
                    <a:pt x="685" y="900"/>
                  </a:lnTo>
                  <a:lnTo>
                    <a:pt x="632" y="900"/>
                  </a:lnTo>
                  <a:lnTo>
                    <a:pt x="632" y="900"/>
                  </a:lnTo>
                  <a:lnTo>
                    <a:pt x="629" y="900"/>
                  </a:lnTo>
                  <a:lnTo>
                    <a:pt x="626" y="898"/>
                  </a:lnTo>
                  <a:lnTo>
                    <a:pt x="622" y="895"/>
                  </a:lnTo>
                  <a:lnTo>
                    <a:pt x="621" y="892"/>
                  </a:lnTo>
                  <a:lnTo>
                    <a:pt x="621" y="892"/>
                  </a:lnTo>
                  <a:lnTo>
                    <a:pt x="617" y="887"/>
                  </a:lnTo>
                  <a:lnTo>
                    <a:pt x="613" y="882"/>
                  </a:lnTo>
                  <a:lnTo>
                    <a:pt x="608" y="877"/>
                  </a:lnTo>
                  <a:lnTo>
                    <a:pt x="599" y="877"/>
                  </a:lnTo>
                  <a:lnTo>
                    <a:pt x="599" y="877"/>
                  </a:lnTo>
                  <a:lnTo>
                    <a:pt x="588" y="877"/>
                  </a:lnTo>
                  <a:lnTo>
                    <a:pt x="573" y="880"/>
                  </a:lnTo>
                  <a:lnTo>
                    <a:pt x="534" y="892"/>
                  </a:lnTo>
                  <a:lnTo>
                    <a:pt x="509" y="897"/>
                  </a:lnTo>
                  <a:lnTo>
                    <a:pt x="478" y="902"/>
                  </a:lnTo>
                  <a:lnTo>
                    <a:pt x="444" y="905"/>
                  </a:lnTo>
                  <a:lnTo>
                    <a:pt x="403" y="907"/>
                  </a:lnTo>
                  <a:lnTo>
                    <a:pt x="403" y="907"/>
                  </a:lnTo>
                  <a:lnTo>
                    <a:pt x="380" y="907"/>
                  </a:lnTo>
                  <a:lnTo>
                    <a:pt x="356" y="903"/>
                  </a:lnTo>
                  <a:lnTo>
                    <a:pt x="334" y="902"/>
                  </a:lnTo>
                  <a:lnTo>
                    <a:pt x="311" y="897"/>
                  </a:lnTo>
                  <a:lnTo>
                    <a:pt x="290" y="892"/>
                  </a:lnTo>
                  <a:lnTo>
                    <a:pt x="270" y="885"/>
                  </a:lnTo>
                  <a:lnTo>
                    <a:pt x="249" y="877"/>
                  </a:lnTo>
                  <a:lnTo>
                    <a:pt x="231" y="869"/>
                  </a:lnTo>
                  <a:lnTo>
                    <a:pt x="213" y="859"/>
                  </a:lnTo>
                  <a:lnTo>
                    <a:pt x="195" y="849"/>
                  </a:lnTo>
                  <a:lnTo>
                    <a:pt x="177" y="838"/>
                  </a:lnTo>
                  <a:lnTo>
                    <a:pt x="162" y="826"/>
                  </a:lnTo>
                  <a:lnTo>
                    <a:pt x="146" y="813"/>
                  </a:lnTo>
                  <a:lnTo>
                    <a:pt x="131" y="799"/>
                  </a:lnTo>
                  <a:lnTo>
                    <a:pt x="118" y="784"/>
                  </a:lnTo>
                  <a:lnTo>
                    <a:pt x="105" y="769"/>
                  </a:lnTo>
                  <a:lnTo>
                    <a:pt x="92" y="753"/>
                  </a:lnTo>
                  <a:lnTo>
                    <a:pt x="81" y="736"/>
                  </a:lnTo>
                  <a:lnTo>
                    <a:pt x="59" y="702"/>
                  </a:lnTo>
                  <a:lnTo>
                    <a:pt x="41" y="664"/>
                  </a:lnTo>
                  <a:lnTo>
                    <a:pt x="26" y="625"/>
                  </a:lnTo>
                  <a:lnTo>
                    <a:pt x="15" y="584"/>
                  </a:lnTo>
                  <a:lnTo>
                    <a:pt x="7" y="542"/>
                  </a:lnTo>
                  <a:lnTo>
                    <a:pt x="2" y="499"/>
                  </a:lnTo>
                  <a:lnTo>
                    <a:pt x="0"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6" name="Freeform 20"/>
            <p:cNvSpPr>
              <a:spLocks noEditPoints="1"/>
            </p:cNvSpPr>
            <p:nvPr/>
          </p:nvSpPr>
          <p:spPr bwMode="auto">
            <a:xfrm>
              <a:off x="8051289" y="5957319"/>
              <a:ext cx="137357" cy="129032"/>
            </a:xfrm>
            <a:custGeom>
              <a:avLst/>
              <a:gdLst>
                <a:gd name="T0" fmla="*/ 345 w 461"/>
                <a:gd name="T1" fmla="*/ 187 h 436"/>
                <a:gd name="T2" fmla="*/ 339 w 461"/>
                <a:gd name="T3" fmla="*/ 194 h 436"/>
                <a:gd name="T4" fmla="*/ 291 w 461"/>
                <a:gd name="T5" fmla="*/ 290 h 436"/>
                <a:gd name="T6" fmla="*/ 263 w 461"/>
                <a:gd name="T7" fmla="*/ 179 h 436"/>
                <a:gd name="T8" fmla="*/ 316 w 461"/>
                <a:gd name="T9" fmla="*/ 128 h 436"/>
                <a:gd name="T10" fmla="*/ 325 w 461"/>
                <a:gd name="T11" fmla="*/ 94 h 436"/>
                <a:gd name="T12" fmla="*/ 321 w 461"/>
                <a:gd name="T13" fmla="*/ 64 h 436"/>
                <a:gd name="T14" fmla="*/ 299 w 461"/>
                <a:gd name="T15" fmla="*/ 32 h 436"/>
                <a:gd name="T16" fmla="*/ 257 w 461"/>
                <a:gd name="T17" fmla="*/ 7 h 436"/>
                <a:gd name="T18" fmla="*/ 186 w 461"/>
                <a:gd name="T19" fmla="*/ 2 h 436"/>
                <a:gd name="T20" fmla="*/ 131 w 461"/>
                <a:gd name="T21" fmla="*/ 22 h 436"/>
                <a:gd name="T22" fmla="*/ 98 w 461"/>
                <a:gd name="T23" fmla="*/ 51 h 436"/>
                <a:gd name="T24" fmla="*/ 83 w 461"/>
                <a:gd name="T25" fmla="*/ 97 h 436"/>
                <a:gd name="T26" fmla="*/ 85 w 461"/>
                <a:gd name="T27" fmla="*/ 133 h 436"/>
                <a:gd name="T28" fmla="*/ 111 w 461"/>
                <a:gd name="T29" fmla="*/ 187 h 436"/>
                <a:gd name="T30" fmla="*/ 54 w 461"/>
                <a:gd name="T31" fmla="*/ 217 h 436"/>
                <a:gd name="T32" fmla="*/ 10 w 461"/>
                <a:gd name="T33" fmla="*/ 269 h 436"/>
                <a:gd name="T34" fmla="*/ 0 w 461"/>
                <a:gd name="T35" fmla="*/ 315 h 436"/>
                <a:gd name="T36" fmla="*/ 8 w 461"/>
                <a:gd name="T37" fmla="*/ 354 h 436"/>
                <a:gd name="T38" fmla="*/ 36 w 461"/>
                <a:gd name="T39" fmla="*/ 395 h 436"/>
                <a:gd name="T40" fmla="*/ 80 w 461"/>
                <a:gd name="T41" fmla="*/ 423 h 436"/>
                <a:gd name="T42" fmla="*/ 137 w 461"/>
                <a:gd name="T43" fmla="*/ 434 h 436"/>
                <a:gd name="T44" fmla="*/ 195 w 461"/>
                <a:gd name="T45" fmla="*/ 431 h 436"/>
                <a:gd name="T46" fmla="*/ 255 w 461"/>
                <a:gd name="T47" fmla="*/ 410 h 436"/>
                <a:gd name="T48" fmla="*/ 294 w 461"/>
                <a:gd name="T49" fmla="*/ 416 h 436"/>
                <a:gd name="T50" fmla="*/ 350 w 461"/>
                <a:gd name="T51" fmla="*/ 426 h 436"/>
                <a:gd name="T52" fmla="*/ 401 w 461"/>
                <a:gd name="T53" fmla="*/ 424 h 436"/>
                <a:gd name="T54" fmla="*/ 416 w 461"/>
                <a:gd name="T55" fmla="*/ 388 h 436"/>
                <a:gd name="T56" fmla="*/ 416 w 461"/>
                <a:gd name="T57" fmla="*/ 380 h 436"/>
                <a:gd name="T58" fmla="*/ 389 w 461"/>
                <a:gd name="T59" fmla="*/ 379 h 436"/>
                <a:gd name="T60" fmla="*/ 343 w 461"/>
                <a:gd name="T61" fmla="*/ 362 h 436"/>
                <a:gd name="T62" fmla="*/ 327 w 461"/>
                <a:gd name="T63" fmla="*/ 344 h 436"/>
                <a:gd name="T64" fmla="*/ 375 w 461"/>
                <a:gd name="T65" fmla="*/ 289 h 436"/>
                <a:gd name="T66" fmla="*/ 404 w 461"/>
                <a:gd name="T67" fmla="*/ 243 h 436"/>
                <a:gd name="T68" fmla="*/ 435 w 461"/>
                <a:gd name="T69" fmla="*/ 233 h 436"/>
                <a:gd name="T70" fmla="*/ 445 w 461"/>
                <a:gd name="T71" fmla="*/ 228 h 436"/>
                <a:gd name="T72" fmla="*/ 461 w 461"/>
                <a:gd name="T73" fmla="*/ 190 h 436"/>
                <a:gd name="T74" fmla="*/ 452 w 461"/>
                <a:gd name="T75" fmla="*/ 187 h 436"/>
                <a:gd name="T76" fmla="*/ 226 w 461"/>
                <a:gd name="T77" fmla="*/ 43 h 436"/>
                <a:gd name="T78" fmla="*/ 244 w 461"/>
                <a:gd name="T79" fmla="*/ 68 h 436"/>
                <a:gd name="T80" fmla="*/ 244 w 461"/>
                <a:gd name="T81" fmla="*/ 95 h 436"/>
                <a:gd name="T82" fmla="*/ 226 w 461"/>
                <a:gd name="T83" fmla="*/ 135 h 436"/>
                <a:gd name="T84" fmla="*/ 196 w 461"/>
                <a:gd name="T85" fmla="*/ 158 h 436"/>
                <a:gd name="T86" fmla="*/ 170 w 461"/>
                <a:gd name="T87" fmla="*/ 84 h 436"/>
                <a:gd name="T88" fmla="*/ 175 w 461"/>
                <a:gd name="T89" fmla="*/ 59 h 436"/>
                <a:gd name="T90" fmla="*/ 201 w 461"/>
                <a:gd name="T91" fmla="*/ 40 h 436"/>
                <a:gd name="T92" fmla="*/ 167 w 461"/>
                <a:gd name="T93" fmla="*/ 388 h 436"/>
                <a:gd name="T94" fmla="*/ 113 w 461"/>
                <a:gd name="T95" fmla="*/ 367 h 436"/>
                <a:gd name="T96" fmla="*/ 91 w 461"/>
                <a:gd name="T97" fmla="*/ 310 h 436"/>
                <a:gd name="T98" fmla="*/ 100 w 461"/>
                <a:gd name="T99" fmla="*/ 275 h 436"/>
                <a:gd name="T100" fmla="*/ 127 w 461"/>
                <a:gd name="T101" fmla="*/ 235 h 436"/>
                <a:gd name="T102" fmla="*/ 217 w 461"/>
                <a:gd name="T103" fmla="*/ 369 h 436"/>
                <a:gd name="T104" fmla="*/ 177 w 461"/>
                <a:gd name="T105" fmla="*/ 38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1" h="436">
                  <a:moveTo>
                    <a:pt x="452" y="187"/>
                  </a:moveTo>
                  <a:lnTo>
                    <a:pt x="350" y="187"/>
                  </a:lnTo>
                  <a:lnTo>
                    <a:pt x="350" y="187"/>
                  </a:lnTo>
                  <a:lnTo>
                    <a:pt x="345" y="187"/>
                  </a:lnTo>
                  <a:lnTo>
                    <a:pt x="340" y="189"/>
                  </a:lnTo>
                  <a:lnTo>
                    <a:pt x="339" y="190"/>
                  </a:lnTo>
                  <a:lnTo>
                    <a:pt x="339" y="194"/>
                  </a:lnTo>
                  <a:lnTo>
                    <a:pt x="339" y="194"/>
                  </a:lnTo>
                  <a:lnTo>
                    <a:pt x="330" y="218"/>
                  </a:lnTo>
                  <a:lnTo>
                    <a:pt x="321" y="241"/>
                  </a:lnTo>
                  <a:lnTo>
                    <a:pt x="307" y="266"/>
                  </a:lnTo>
                  <a:lnTo>
                    <a:pt x="291" y="290"/>
                  </a:lnTo>
                  <a:lnTo>
                    <a:pt x="229" y="197"/>
                  </a:lnTo>
                  <a:lnTo>
                    <a:pt x="229" y="197"/>
                  </a:lnTo>
                  <a:lnTo>
                    <a:pt x="245" y="189"/>
                  </a:lnTo>
                  <a:lnTo>
                    <a:pt x="263" y="179"/>
                  </a:lnTo>
                  <a:lnTo>
                    <a:pt x="280" y="169"/>
                  </a:lnTo>
                  <a:lnTo>
                    <a:pt x="294" y="156"/>
                  </a:lnTo>
                  <a:lnTo>
                    <a:pt x="306" y="143"/>
                  </a:lnTo>
                  <a:lnTo>
                    <a:pt x="316" y="128"/>
                  </a:lnTo>
                  <a:lnTo>
                    <a:pt x="321" y="122"/>
                  </a:lnTo>
                  <a:lnTo>
                    <a:pt x="322" y="112"/>
                  </a:lnTo>
                  <a:lnTo>
                    <a:pt x="324" y="104"/>
                  </a:lnTo>
                  <a:lnTo>
                    <a:pt x="325" y="94"/>
                  </a:lnTo>
                  <a:lnTo>
                    <a:pt x="325" y="94"/>
                  </a:lnTo>
                  <a:lnTo>
                    <a:pt x="324" y="84"/>
                  </a:lnTo>
                  <a:lnTo>
                    <a:pt x="322" y="74"/>
                  </a:lnTo>
                  <a:lnTo>
                    <a:pt x="321" y="64"/>
                  </a:lnTo>
                  <a:lnTo>
                    <a:pt x="317" y="56"/>
                  </a:lnTo>
                  <a:lnTo>
                    <a:pt x="312" y="46"/>
                  </a:lnTo>
                  <a:lnTo>
                    <a:pt x="306" y="40"/>
                  </a:lnTo>
                  <a:lnTo>
                    <a:pt x="299" y="32"/>
                  </a:lnTo>
                  <a:lnTo>
                    <a:pt x="293" y="25"/>
                  </a:lnTo>
                  <a:lnTo>
                    <a:pt x="285" y="20"/>
                  </a:lnTo>
                  <a:lnTo>
                    <a:pt x="276" y="15"/>
                  </a:lnTo>
                  <a:lnTo>
                    <a:pt x="257" y="7"/>
                  </a:lnTo>
                  <a:lnTo>
                    <a:pt x="235" y="2"/>
                  </a:lnTo>
                  <a:lnTo>
                    <a:pt x="211" y="0"/>
                  </a:lnTo>
                  <a:lnTo>
                    <a:pt x="211" y="0"/>
                  </a:lnTo>
                  <a:lnTo>
                    <a:pt x="186" y="2"/>
                  </a:lnTo>
                  <a:lnTo>
                    <a:pt x="163" y="7"/>
                  </a:lnTo>
                  <a:lnTo>
                    <a:pt x="152" y="10"/>
                  </a:lnTo>
                  <a:lnTo>
                    <a:pt x="141" y="15"/>
                  </a:lnTo>
                  <a:lnTo>
                    <a:pt x="131" y="22"/>
                  </a:lnTo>
                  <a:lnTo>
                    <a:pt x="123" y="28"/>
                  </a:lnTo>
                  <a:lnTo>
                    <a:pt x="113" y="35"/>
                  </a:lnTo>
                  <a:lnTo>
                    <a:pt x="106" y="43"/>
                  </a:lnTo>
                  <a:lnTo>
                    <a:pt x="98" y="51"/>
                  </a:lnTo>
                  <a:lnTo>
                    <a:pt x="93" y="61"/>
                  </a:lnTo>
                  <a:lnTo>
                    <a:pt x="88" y="72"/>
                  </a:lnTo>
                  <a:lnTo>
                    <a:pt x="85" y="84"/>
                  </a:lnTo>
                  <a:lnTo>
                    <a:pt x="83" y="97"/>
                  </a:lnTo>
                  <a:lnTo>
                    <a:pt x="82" y="110"/>
                  </a:lnTo>
                  <a:lnTo>
                    <a:pt x="82" y="110"/>
                  </a:lnTo>
                  <a:lnTo>
                    <a:pt x="83" y="122"/>
                  </a:lnTo>
                  <a:lnTo>
                    <a:pt x="85" y="133"/>
                  </a:lnTo>
                  <a:lnTo>
                    <a:pt x="86" y="143"/>
                  </a:lnTo>
                  <a:lnTo>
                    <a:pt x="91" y="153"/>
                  </a:lnTo>
                  <a:lnTo>
                    <a:pt x="100" y="171"/>
                  </a:lnTo>
                  <a:lnTo>
                    <a:pt x="111" y="187"/>
                  </a:lnTo>
                  <a:lnTo>
                    <a:pt x="111" y="187"/>
                  </a:lnTo>
                  <a:lnTo>
                    <a:pt x="91" y="194"/>
                  </a:lnTo>
                  <a:lnTo>
                    <a:pt x="72" y="203"/>
                  </a:lnTo>
                  <a:lnTo>
                    <a:pt x="54" y="217"/>
                  </a:lnTo>
                  <a:lnTo>
                    <a:pt x="36" y="231"/>
                  </a:lnTo>
                  <a:lnTo>
                    <a:pt x="21" y="249"/>
                  </a:lnTo>
                  <a:lnTo>
                    <a:pt x="14" y="259"/>
                  </a:lnTo>
                  <a:lnTo>
                    <a:pt x="10" y="269"/>
                  </a:lnTo>
                  <a:lnTo>
                    <a:pt x="5" y="279"/>
                  </a:lnTo>
                  <a:lnTo>
                    <a:pt x="1" y="290"/>
                  </a:lnTo>
                  <a:lnTo>
                    <a:pt x="0" y="302"/>
                  </a:lnTo>
                  <a:lnTo>
                    <a:pt x="0" y="315"/>
                  </a:lnTo>
                  <a:lnTo>
                    <a:pt x="0" y="315"/>
                  </a:lnTo>
                  <a:lnTo>
                    <a:pt x="1" y="328"/>
                  </a:lnTo>
                  <a:lnTo>
                    <a:pt x="3" y="341"/>
                  </a:lnTo>
                  <a:lnTo>
                    <a:pt x="8" y="354"/>
                  </a:lnTo>
                  <a:lnTo>
                    <a:pt x="13" y="365"/>
                  </a:lnTo>
                  <a:lnTo>
                    <a:pt x="19" y="377"/>
                  </a:lnTo>
                  <a:lnTo>
                    <a:pt x="28" y="387"/>
                  </a:lnTo>
                  <a:lnTo>
                    <a:pt x="36" y="395"/>
                  </a:lnTo>
                  <a:lnTo>
                    <a:pt x="46" y="403"/>
                  </a:lnTo>
                  <a:lnTo>
                    <a:pt x="57" y="411"/>
                  </a:lnTo>
                  <a:lnTo>
                    <a:pt x="68" y="418"/>
                  </a:lnTo>
                  <a:lnTo>
                    <a:pt x="80" y="423"/>
                  </a:lnTo>
                  <a:lnTo>
                    <a:pt x="95" y="428"/>
                  </a:lnTo>
                  <a:lnTo>
                    <a:pt x="108" y="431"/>
                  </a:lnTo>
                  <a:lnTo>
                    <a:pt x="123" y="433"/>
                  </a:lnTo>
                  <a:lnTo>
                    <a:pt x="137" y="434"/>
                  </a:lnTo>
                  <a:lnTo>
                    <a:pt x="154" y="436"/>
                  </a:lnTo>
                  <a:lnTo>
                    <a:pt x="154" y="436"/>
                  </a:lnTo>
                  <a:lnTo>
                    <a:pt x="180" y="434"/>
                  </a:lnTo>
                  <a:lnTo>
                    <a:pt x="195" y="431"/>
                  </a:lnTo>
                  <a:lnTo>
                    <a:pt x="209" y="428"/>
                  </a:lnTo>
                  <a:lnTo>
                    <a:pt x="226" y="423"/>
                  </a:lnTo>
                  <a:lnTo>
                    <a:pt x="240" y="418"/>
                  </a:lnTo>
                  <a:lnTo>
                    <a:pt x="255" y="410"/>
                  </a:lnTo>
                  <a:lnTo>
                    <a:pt x="270" y="400"/>
                  </a:lnTo>
                  <a:lnTo>
                    <a:pt x="270" y="400"/>
                  </a:lnTo>
                  <a:lnTo>
                    <a:pt x="281" y="410"/>
                  </a:lnTo>
                  <a:lnTo>
                    <a:pt x="294" y="416"/>
                  </a:lnTo>
                  <a:lnTo>
                    <a:pt x="309" y="421"/>
                  </a:lnTo>
                  <a:lnTo>
                    <a:pt x="321" y="424"/>
                  </a:lnTo>
                  <a:lnTo>
                    <a:pt x="342" y="426"/>
                  </a:lnTo>
                  <a:lnTo>
                    <a:pt x="350" y="426"/>
                  </a:lnTo>
                  <a:lnTo>
                    <a:pt x="391" y="426"/>
                  </a:lnTo>
                  <a:lnTo>
                    <a:pt x="391" y="426"/>
                  </a:lnTo>
                  <a:lnTo>
                    <a:pt x="396" y="426"/>
                  </a:lnTo>
                  <a:lnTo>
                    <a:pt x="401" y="424"/>
                  </a:lnTo>
                  <a:lnTo>
                    <a:pt x="402" y="421"/>
                  </a:lnTo>
                  <a:lnTo>
                    <a:pt x="404" y="418"/>
                  </a:lnTo>
                  <a:lnTo>
                    <a:pt x="416" y="388"/>
                  </a:lnTo>
                  <a:lnTo>
                    <a:pt x="416" y="388"/>
                  </a:lnTo>
                  <a:lnTo>
                    <a:pt x="417" y="385"/>
                  </a:lnTo>
                  <a:lnTo>
                    <a:pt x="417" y="382"/>
                  </a:lnTo>
                  <a:lnTo>
                    <a:pt x="416" y="380"/>
                  </a:lnTo>
                  <a:lnTo>
                    <a:pt x="416" y="380"/>
                  </a:lnTo>
                  <a:lnTo>
                    <a:pt x="411" y="379"/>
                  </a:lnTo>
                  <a:lnTo>
                    <a:pt x="407" y="379"/>
                  </a:lnTo>
                  <a:lnTo>
                    <a:pt x="389" y="379"/>
                  </a:lnTo>
                  <a:lnTo>
                    <a:pt x="389" y="379"/>
                  </a:lnTo>
                  <a:lnTo>
                    <a:pt x="375" y="377"/>
                  </a:lnTo>
                  <a:lnTo>
                    <a:pt x="361" y="374"/>
                  </a:lnTo>
                  <a:lnTo>
                    <a:pt x="352" y="367"/>
                  </a:lnTo>
                  <a:lnTo>
                    <a:pt x="343" y="362"/>
                  </a:lnTo>
                  <a:lnTo>
                    <a:pt x="337" y="356"/>
                  </a:lnTo>
                  <a:lnTo>
                    <a:pt x="332" y="351"/>
                  </a:lnTo>
                  <a:lnTo>
                    <a:pt x="327" y="344"/>
                  </a:lnTo>
                  <a:lnTo>
                    <a:pt x="327" y="344"/>
                  </a:lnTo>
                  <a:lnTo>
                    <a:pt x="343" y="328"/>
                  </a:lnTo>
                  <a:lnTo>
                    <a:pt x="355" y="316"/>
                  </a:lnTo>
                  <a:lnTo>
                    <a:pt x="375" y="289"/>
                  </a:lnTo>
                  <a:lnTo>
                    <a:pt x="375" y="289"/>
                  </a:lnTo>
                  <a:lnTo>
                    <a:pt x="391" y="264"/>
                  </a:lnTo>
                  <a:lnTo>
                    <a:pt x="399" y="249"/>
                  </a:lnTo>
                  <a:lnTo>
                    <a:pt x="399" y="249"/>
                  </a:lnTo>
                  <a:lnTo>
                    <a:pt x="404" y="243"/>
                  </a:lnTo>
                  <a:lnTo>
                    <a:pt x="409" y="238"/>
                  </a:lnTo>
                  <a:lnTo>
                    <a:pt x="414" y="235"/>
                  </a:lnTo>
                  <a:lnTo>
                    <a:pt x="420" y="233"/>
                  </a:lnTo>
                  <a:lnTo>
                    <a:pt x="435" y="233"/>
                  </a:lnTo>
                  <a:lnTo>
                    <a:pt x="435" y="233"/>
                  </a:lnTo>
                  <a:lnTo>
                    <a:pt x="438" y="233"/>
                  </a:lnTo>
                  <a:lnTo>
                    <a:pt x="442" y="231"/>
                  </a:lnTo>
                  <a:lnTo>
                    <a:pt x="445" y="228"/>
                  </a:lnTo>
                  <a:lnTo>
                    <a:pt x="447" y="225"/>
                  </a:lnTo>
                  <a:lnTo>
                    <a:pt x="460" y="197"/>
                  </a:lnTo>
                  <a:lnTo>
                    <a:pt x="460" y="197"/>
                  </a:lnTo>
                  <a:lnTo>
                    <a:pt x="461" y="190"/>
                  </a:lnTo>
                  <a:lnTo>
                    <a:pt x="460" y="187"/>
                  </a:lnTo>
                  <a:lnTo>
                    <a:pt x="455" y="187"/>
                  </a:lnTo>
                  <a:lnTo>
                    <a:pt x="452" y="187"/>
                  </a:lnTo>
                  <a:lnTo>
                    <a:pt x="452" y="187"/>
                  </a:lnTo>
                  <a:close/>
                  <a:moveTo>
                    <a:pt x="209" y="40"/>
                  </a:moveTo>
                  <a:lnTo>
                    <a:pt x="209" y="40"/>
                  </a:lnTo>
                  <a:lnTo>
                    <a:pt x="217" y="40"/>
                  </a:lnTo>
                  <a:lnTo>
                    <a:pt x="226" y="43"/>
                  </a:lnTo>
                  <a:lnTo>
                    <a:pt x="232" y="48"/>
                  </a:lnTo>
                  <a:lnTo>
                    <a:pt x="237" y="53"/>
                  </a:lnTo>
                  <a:lnTo>
                    <a:pt x="240" y="59"/>
                  </a:lnTo>
                  <a:lnTo>
                    <a:pt x="244" y="68"/>
                  </a:lnTo>
                  <a:lnTo>
                    <a:pt x="244" y="76"/>
                  </a:lnTo>
                  <a:lnTo>
                    <a:pt x="245" y="84"/>
                  </a:lnTo>
                  <a:lnTo>
                    <a:pt x="245" y="84"/>
                  </a:lnTo>
                  <a:lnTo>
                    <a:pt x="244" y="95"/>
                  </a:lnTo>
                  <a:lnTo>
                    <a:pt x="242" y="107"/>
                  </a:lnTo>
                  <a:lnTo>
                    <a:pt x="239" y="117"/>
                  </a:lnTo>
                  <a:lnTo>
                    <a:pt x="234" y="127"/>
                  </a:lnTo>
                  <a:lnTo>
                    <a:pt x="226" y="135"/>
                  </a:lnTo>
                  <a:lnTo>
                    <a:pt x="217" y="143"/>
                  </a:lnTo>
                  <a:lnTo>
                    <a:pt x="208" y="151"/>
                  </a:lnTo>
                  <a:lnTo>
                    <a:pt x="196" y="158"/>
                  </a:lnTo>
                  <a:lnTo>
                    <a:pt x="196" y="158"/>
                  </a:lnTo>
                  <a:lnTo>
                    <a:pt x="185" y="138"/>
                  </a:lnTo>
                  <a:lnTo>
                    <a:pt x="177" y="122"/>
                  </a:lnTo>
                  <a:lnTo>
                    <a:pt x="172" y="104"/>
                  </a:lnTo>
                  <a:lnTo>
                    <a:pt x="170" y="84"/>
                  </a:lnTo>
                  <a:lnTo>
                    <a:pt x="170" y="84"/>
                  </a:lnTo>
                  <a:lnTo>
                    <a:pt x="170" y="76"/>
                  </a:lnTo>
                  <a:lnTo>
                    <a:pt x="172" y="68"/>
                  </a:lnTo>
                  <a:lnTo>
                    <a:pt x="175" y="59"/>
                  </a:lnTo>
                  <a:lnTo>
                    <a:pt x="180" y="53"/>
                  </a:lnTo>
                  <a:lnTo>
                    <a:pt x="186" y="48"/>
                  </a:lnTo>
                  <a:lnTo>
                    <a:pt x="193" y="43"/>
                  </a:lnTo>
                  <a:lnTo>
                    <a:pt x="201" y="40"/>
                  </a:lnTo>
                  <a:lnTo>
                    <a:pt x="209" y="40"/>
                  </a:lnTo>
                  <a:lnTo>
                    <a:pt x="209" y="40"/>
                  </a:lnTo>
                  <a:close/>
                  <a:moveTo>
                    <a:pt x="167" y="388"/>
                  </a:moveTo>
                  <a:lnTo>
                    <a:pt x="167" y="388"/>
                  </a:lnTo>
                  <a:lnTo>
                    <a:pt x="150" y="387"/>
                  </a:lnTo>
                  <a:lnTo>
                    <a:pt x="136" y="383"/>
                  </a:lnTo>
                  <a:lnTo>
                    <a:pt x="123" y="377"/>
                  </a:lnTo>
                  <a:lnTo>
                    <a:pt x="113" y="367"/>
                  </a:lnTo>
                  <a:lnTo>
                    <a:pt x="103" y="357"/>
                  </a:lnTo>
                  <a:lnTo>
                    <a:pt x="96" y="343"/>
                  </a:lnTo>
                  <a:lnTo>
                    <a:pt x="93" y="328"/>
                  </a:lnTo>
                  <a:lnTo>
                    <a:pt x="91" y="310"/>
                  </a:lnTo>
                  <a:lnTo>
                    <a:pt x="91" y="310"/>
                  </a:lnTo>
                  <a:lnTo>
                    <a:pt x="93" y="298"/>
                  </a:lnTo>
                  <a:lnTo>
                    <a:pt x="95" y="287"/>
                  </a:lnTo>
                  <a:lnTo>
                    <a:pt x="100" y="275"/>
                  </a:lnTo>
                  <a:lnTo>
                    <a:pt x="104" y="264"/>
                  </a:lnTo>
                  <a:lnTo>
                    <a:pt x="111" y="253"/>
                  </a:lnTo>
                  <a:lnTo>
                    <a:pt x="119" y="244"/>
                  </a:lnTo>
                  <a:lnTo>
                    <a:pt x="127" y="235"/>
                  </a:lnTo>
                  <a:lnTo>
                    <a:pt x="137" y="228"/>
                  </a:lnTo>
                  <a:lnTo>
                    <a:pt x="231" y="357"/>
                  </a:lnTo>
                  <a:lnTo>
                    <a:pt x="231" y="357"/>
                  </a:lnTo>
                  <a:lnTo>
                    <a:pt x="217" y="369"/>
                  </a:lnTo>
                  <a:lnTo>
                    <a:pt x="203" y="380"/>
                  </a:lnTo>
                  <a:lnTo>
                    <a:pt x="195" y="383"/>
                  </a:lnTo>
                  <a:lnTo>
                    <a:pt x="186" y="387"/>
                  </a:lnTo>
                  <a:lnTo>
                    <a:pt x="177" y="388"/>
                  </a:lnTo>
                  <a:lnTo>
                    <a:pt x="167" y="388"/>
                  </a:lnTo>
                  <a:lnTo>
                    <a:pt x="167"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7" name="Freeform 21"/>
            <p:cNvSpPr>
              <a:spLocks noEditPoints="1"/>
            </p:cNvSpPr>
            <p:nvPr/>
          </p:nvSpPr>
          <p:spPr bwMode="auto">
            <a:xfrm>
              <a:off x="8136319" y="5909749"/>
              <a:ext cx="269362" cy="266388"/>
            </a:xfrm>
            <a:custGeom>
              <a:avLst/>
              <a:gdLst>
                <a:gd name="T0" fmla="*/ 878 w 905"/>
                <a:gd name="T1" fmla="*/ 818 h 895"/>
                <a:gd name="T2" fmla="*/ 865 w 905"/>
                <a:gd name="T3" fmla="*/ 818 h 895"/>
                <a:gd name="T4" fmla="*/ 845 w 905"/>
                <a:gd name="T5" fmla="*/ 813 h 895"/>
                <a:gd name="T6" fmla="*/ 830 w 905"/>
                <a:gd name="T7" fmla="*/ 803 h 895"/>
                <a:gd name="T8" fmla="*/ 820 w 905"/>
                <a:gd name="T9" fmla="*/ 787 h 895"/>
                <a:gd name="T10" fmla="*/ 817 w 905"/>
                <a:gd name="T11" fmla="*/ 776 h 895"/>
                <a:gd name="T12" fmla="*/ 549 w 905"/>
                <a:gd name="T13" fmla="*/ 11 h 895"/>
                <a:gd name="T14" fmla="*/ 542 w 905"/>
                <a:gd name="T15" fmla="*/ 3 h 895"/>
                <a:gd name="T16" fmla="*/ 532 w 905"/>
                <a:gd name="T17" fmla="*/ 0 h 895"/>
                <a:gd name="T18" fmla="*/ 429 w 905"/>
                <a:gd name="T19" fmla="*/ 0 h 895"/>
                <a:gd name="T20" fmla="*/ 419 w 905"/>
                <a:gd name="T21" fmla="*/ 3 h 895"/>
                <a:gd name="T22" fmla="*/ 413 w 905"/>
                <a:gd name="T23" fmla="*/ 11 h 895"/>
                <a:gd name="T24" fmla="*/ 92 w 905"/>
                <a:gd name="T25" fmla="*/ 779 h 895"/>
                <a:gd name="T26" fmla="*/ 80 w 905"/>
                <a:gd name="T27" fmla="*/ 798 h 895"/>
                <a:gd name="T28" fmla="*/ 64 w 905"/>
                <a:gd name="T29" fmla="*/ 812 h 895"/>
                <a:gd name="T30" fmla="*/ 51 w 905"/>
                <a:gd name="T31" fmla="*/ 816 h 895"/>
                <a:gd name="T32" fmla="*/ 21 w 905"/>
                <a:gd name="T33" fmla="*/ 818 h 895"/>
                <a:gd name="T34" fmla="*/ 13 w 905"/>
                <a:gd name="T35" fmla="*/ 818 h 895"/>
                <a:gd name="T36" fmla="*/ 3 w 905"/>
                <a:gd name="T37" fmla="*/ 823 h 895"/>
                <a:gd name="T38" fmla="*/ 0 w 905"/>
                <a:gd name="T39" fmla="*/ 831 h 895"/>
                <a:gd name="T40" fmla="*/ 0 w 905"/>
                <a:gd name="T41" fmla="*/ 882 h 895"/>
                <a:gd name="T42" fmla="*/ 3 w 905"/>
                <a:gd name="T43" fmla="*/ 892 h 895"/>
                <a:gd name="T44" fmla="*/ 13 w 905"/>
                <a:gd name="T45" fmla="*/ 895 h 895"/>
                <a:gd name="T46" fmla="*/ 264 w 905"/>
                <a:gd name="T47" fmla="*/ 895 h 895"/>
                <a:gd name="T48" fmla="*/ 274 w 905"/>
                <a:gd name="T49" fmla="*/ 890 h 895"/>
                <a:gd name="T50" fmla="*/ 277 w 905"/>
                <a:gd name="T51" fmla="*/ 882 h 895"/>
                <a:gd name="T52" fmla="*/ 277 w 905"/>
                <a:gd name="T53" fmla="*/ 831 h 895"/>
                <a:gd name="T54" fmla="*/ 274 w 905"/>
                <a:gd name="T55" fmla="*/ 821 h 895"/>
                <a:gd name="T56" fmla="*/ 264 w 905"/>
                <a:gd name="T57" fmla="*/ 818 h 895"/>
                <a:gd name="T58" fmla="*/ 236 w 905"/>
                <a:gd name="T59" fmla="*/ 818 h 895"/>
                <a:gd name="T60" fmla="*/ 211 w 905"/>
                <a:gd name="T61" fmla="*/ 816 h 895"/>
                <a:gd name="T62" fmla="*/ 198 w 905"/>
                <a:gd name="T63" fmla="*/ 812 h 895"/>
                <a:gd name="T64" fmla="*/ 190 w 905"/>
                <a:gd name="T65" fmla="*/ 800 h 895"/>
                <a:gd name="T66" fmla="*/ 188 w 905"/>
                <a:gd name="T67" fmla="*/ 792 h 895"/>
                <a:gd name="T68" fmla="*/ 197 w 905"/>
                <a:gd name="T69" fmla="*/ 762 h 895"/>
                <a:gd name="T70" fmla="*/ 537 w 905"/>
                <a:gd name="T71" fmla="*/ 641 h 895"/>
                <a:gd name="T72" fmla="*/ 560 w 905"/>
                <a:gd name="T73" fmla="*/ 710 h 895"/>
                <a:gd name="T74" fmla="*/ 573 w 905"/>
                <a:gd name="T75" fmla="*/ 749 h 895"/>
                <a:gd name="T76" fmla="*/ 583 w 905"/>
                <a:gd name="T77" fmla="*/ 782 h 895"/>
                <a:gd name="T78" fmla="*/ 585 w 905"/>
                <a:gd name="T79" fmla="*/ 795 h 895"/>
                <a:gd name="T80" fmla="*/ 583 w 905"/>
                <a:gd name="T81" fmla="*/ 803 h 895"/>
                <a:gd name="T82" fmla="*/ 578 w 905"/>
                <a:gd name="T83" fmla="*/ 810 h 895"/>
                <a:gd name="T84" fmla="*/ 568 w 905"/>
                <a:gd name="T85" fmla="*/ 816 h 895"/>
                <a:gd name="T86" fmla="*/ 553 w 905"/>
                <a:gd name="T87" fmla="*/ 818 h 895"/>
                <a:gd name="T88" fmla="*/ 524 w 905"/>
                <a:gd name="T89" fmla="*/ 818 h 895"/>
                <a:gd name="T90" fmla="*/ 514 w 905"/>
                <a:gd name="T91" fmla="*/ 823 h 895"/>
                <a:gd name="T92" fmla="*/ 511 w 905"/>
                <a:gd name="T93" fmla="*/ 831 h 895"/>
                <a:gd name="T94" fmla="*/ 511 w 905"/>
                <a:gd name="T95" fmla="*/ 882 h 895"/>
                <a:gd name="T96" fmla="*/ 514 w 905"/>
                <a:gd name="T97" fmla="*/ 890 h 895"/>
                <a:gd name="T98" fmla="*/ 524 w 905"/>
                <a:gd name="T99" fmla="*/ 895 h 895"/>
                <a:gd name="T100" fmla="*/ 892 w 905"/>
                <a:gd name="T101" fmla="*/ 895 h 895"/>
                <a:gd name="T102" fmla="*/ 902 w 905"/>
                <a:gd name="T103" fmla="*/ 892 h 895"/>
                <a:gd name="T104" fmla="*/ 905 w 905"/>
                <a:gd name="T105" fmla="*/ 882 h 895"/>
                <a:gd name="T106" fmla="*/ 905 w 905"/>
                <a:gd name="T107" fmla="*/ 831 h 895"/>
                <a:gd name="T108" fmla="*/ 902 w 905"/>
                <a:gd name="T109" fmla="*/ 823 h 895"/>
                <a:gd name="T110" fmla="*/ 892 w 905"/>
                <a:gd name="T111" fmla="*/ 818 h 895"/>
                <a:gd name="T112" fmla="*/ 272 w 905"/>
                <a:gd name="T113" fmla="*/ 573 h 895"/>
                <a:gd name="T114" fmla="*/ 517 w 905"/>
                <a:gd name="T115" fmla="*/ 573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95">
                  <a:moveTo>
                    <a:pt x="892" y="818"/>
                  </a:moveTo>
                  <a:lnTo>
                    <a:pt x="878" y="818"/>
                  </a:lnTo>
                  <a:lnTo>
                    <a:pt x="878" y="818"/>
                  </a:lnTo>
                  <a:lnTo>
                    <a:pt x="865" y="818"/>
                  </a:lnTo>
                  <a:lnTo>
                    <a:pt x="853" y="816"/>
                  </a:lnTo>
                  <a:lnTo>
                    <a:pt x="845" y="813"/>
                  </a:lnTo>
                  <a:lnTo>
                    <a:pt x="837" y="810"/>
                  </a:lnTo>
                  <a:lnTo>
                    <a:pt x="830" y="803"/>
                  </a:lnTo>
                  <a:lnTo>
                    <a:pt x="825" y="795"/>
                  </a:lnTo>
                  <a:lnTo>
                    <a:pt x="820" y="787"/>
                  </a:lnTo>
                  <a:lnTo>
                    <a:pt x="817" y="776"/>
                  </a:lnTo>
                  <a:lnTo>
                    <a:pt x="817" y="776"/>
                  </a:lnTo>
                  <a:lnTo>
                    <a:pt x="549" y="11"/>
                  </a:lnTo>
                  <a:lnTo>
                    <a:pt x="549" y="11"/>
                  </a:lnTo>
                  <a:lnTo>
                    <a:pt x="547" y="6"/>
                  </a:lnTo>
                  <a:lnTo>
                    <a:pt x="542" y="3"/>
                  </a:lnTo>
                  <a:lnTo>
                    <a:pt x="537" y="1"/>
                  </a:lnTo>
                  <a:lnTo>
                    <a:pt x="532" y="0"/>
                  </a:lnTo>
                  <a:lnTo>
                    <a:pt x="429" y="0"/>
                  </a:lnTo>
                  <a:lnTo>
                    <a:pt x="429" y="0"/>
                  </a:lnTo>
                  <a:lnTo>
                    <a:pt x="424" y="1"/>
                  </a:lnTo>
                  <a:lnTo>
                    <a:pt x="419" y="3"/>
                  </a:lnTo>
                  <a:lnTo>
                    <a:pt x="416" y="6"/>
                  </a:lnTo>
                  <a:lnTo>
                    <a:pt x="413" y="11"/>
                  </a:lnTo>
                  <a:lnTo>
                    <a:pt x="92" y="779"/>
                  </a:lnTo>
                  <a:lnTo>
                    <a:pt x="92" y="779"/>
                  </a:lnTo>
                  <a:lnTo>
                    <a:pt x="87" y="790"/>
                  </a:lnTo>
                  <a:lnTo>
                    <a:pt x="80" y="798"/>
                  </a:lnTo>
                  <a:lnTo>
                    <a:pt x="74" y="805"/>
                  </a:lnTo>
                  <a:lnTo>
                    <a:pt x="64" y="812"/>
                  </a:lnTo>
                  <a:lnTo>
                    <a:pt x="64" y="812"/>
                  </a:lnTo>
                  <a:lnTo>
                    <a:pt x="51" y="816"/>
                  </a:lnTo>
                  <a:lnTo>
                    <a:pt x="38" y="818"/>
                  </a:lnTo>
                  <a:lnTo>
                    <a:pt x="21" y="818"/>
                  </a:lnTo>
                  <a:lnTo>
                    <a:pt x="13" y="818"/>
                  </a:lnTo>
                  <a:lnTo>
                    <a:pt x="13" y="818"/>
                  </a:lnTo>
                  <a:lnTo>
                    <a:pt x="8" y="820"/>
                  </a:lnTo>
                  <a:lnTo>
                    <a:pt x="3" y="823"/>
                  </a:lnTo>
                  <a:lnTo>
                    <a:pt x="2" y="826"/>
                  </a:lnTo>
                  <a:lnTo>
                    <a:pt x="0" y="831"/>
                  </a:lnTo>
                  <a:lnTo>
                    <a:pt x="0" y="882"/>
                  </a:lnTo>
                  <a:lnTo>
                    <a:pt x="0" y="882"/>
                  </a:lnTo>
                  <a:lnTo>
                    <a:pt x="2" y="887"/>
                  </a:lnTo>
                  <a:lnTo>
                    <a:pt x="3" y="892"/>
                  </a:lnTo>
                  <a:lnTo>
                    <a:pt x="8" y="893"/>
                  </a:lnTo>
                  <a:lnTo>
                    <a:pt x="13" y="895"/>
                  </a:lnTo>
                  <a:lnTo>
                    <a:pt x="264" y="895"/>
                  </a:lnTo>
                  <a:lnTo>
                    <a:pt x="264" y="895"/>
                  </a:lnTo>
                  <a:lnTo>
                    <a:pt x="269" y="893"/>
                  </a:lnTo>
                  <a:lnTo>
                    <a:pt x="274" y="890"/>
                  </a:lnTo>
                  <a:lnTo>
                    <a:pt x="275" y="887"/>
                  </a:lnTo>
                  <a:lnTo>
                    <a:pt x="277" y="882"/>
                  </a:lnTo>
                  <a:lnTo>
                    <a:pt x="277" y="831"/>
                  </a:lnTo>
                  <a:lnTo>
                    <a:pt x="277" y="831"/>
                  </a:lnTo>
                  <a:lnTo>
                    <a:pt x="275" y="826"/>
                  </a:lnTo>
                  <a:lnTo>
                    <a:pt x="274" y="821"/>
                  </a:lnTo>
                  <a:lnTo>
                    <a:pt x="269" y="820"/>
                  </a:lnTo>
                  <a:lnTo>
                    <a:pt x="264" y="818"/>
                  </a:lnTo>
                  <a:lnTo>
                    <a:pt x="236" y="818"/>
                  </a:lnTo>
                  <a:lnTo>
                    <a:pt x="236" y="818"/>
                  </a:lnTo>
                  <a:lnTo>
                    <a:pt x="218" y="818"/>
                  </a:lnTo>
                  <a:lnTo>
                    <a:pt x="211" y="816"/>
                  </a:lnTo>
                  <a:lnTo>
                    <a:pt x="203" y="815"/>
                  </a:lnTo>
                  <a:lnTo>
                    <a:pt x="198" y="812"/>
                  </a:lnTo>
                  <a:lnTo>
                    <a:pt x="193" y="807"/>
                  </a:lnTo>
                  <a:lnTo>
                    <a:pt x="190" y="800"/>
                  </a:lnTo>
                  <a:lnTo>
                    <a:pt x="188" y="792"/>
                  </a:lnTo>
                  <a:lnTo>
                    <a:pt x="188" y="792"/>
                  </a:lnTo>
                  <a:lnTo>
                    <a:pt x="190" y="779"/>
                  </a:lnTo>
                  <a:lnTo>
                    <a:pt x="197" y="762"/>
                  </a:lnTo>
                  <a:lnTo>
                    <a:pt x="246" y="641"/>
                  </a:lnTo>
                  <a:lnTo>
                    <a:pt x="537" y="641"/>
                  </a:lnTo>
                  <a:lnTo>
                    <a:pt x="537" y="641"/>
                  </a:lnTo>
                  <a:lnTo>
                    <a:pt x="560" y="710"/>
                  </a:lnTo>
                  <a:lnTo>
                    <a:pt x="573" y="749"/>
                  </a:lnTo>
                  <a:lnTo>
                    <a:pt x="573" y="749"/>
                  </a:lnTo>
                  <a:lnTo>
                    <a:pt x="583" y="782"/>
                  </a:lnTo>
                  <a:lnTo>
                    <a:pt x="583" y="782"/>
                  </a:lnTo>
                  <a:lnTo>
                    <a:pt x="583" y="789"/>
                  </a:lnTo>
                  <a:lnTo>
                    <a:pt x="585" y="795"/>
                  </a:lnTo>
                  <a:lnTo>
                    <a:pt x="585" y="795"/>
                  </a:lnTo>
                  <a:lnTo>
                    <a:pt x="583" y="803"/>
                  </a:lnTo>
                  <a:lnTo>
                    <a:pt x="581" y="807"/>
                  </a:lnTo>
                  <a:lnTo>
                    <a:pt x="578" y="810"/>
                  </a:lnTo>
                  <a:lnTo>
                    <a:pt x="575" y="813"/>
                  </a:lnTo>
                  <a:lnTo>
                    <a:pt x="568" y="816"/>
                  </a:lnTo>
                  <a:lnTo>
                    <a:pt x="562" y="818"/>
                  </a:lnTo>
                  <a:lnTo>
                    <a:pt x="553" y="818"/>
                  </a:lnTo>
                  <a:lnTo>
                    <a:pt x="524" y="818"/>
                  </a:lnTo>
                  <a:lnTo>
                    <a:pt x="524" y="818"/>
                  </a:lnTo>
                  <a:lnTo>
                    <a:pt x="517" y="820"/>
                  </a:lnTo>
                  <a:lnTo>
                    <a:pt x="514" y="823"/>
                  </a:lnTo>
                  <a:lnTo>
                    <a:pt x="511" y="826"/>
                  </a:lnTo>
                  <a:lnTo>
                    <a:pt x="511" y="831"/>
                  </a:lnTo>
                  <a:lnTo>
                    <a:pt x="511" y="882"/>
                  </a:lnTo>
                  <a:lnTo>
                    <a:pt x="511" y="882"/>
                  </a:lnTo>
                  <a:lnTo>
                    <a:pt x="511" y="887"/>
                  </a:lnTo>
                  <a:lnTo>
                    <a:pt x="514" y="890"/>
                  </a:lnTo>
                  <a:lnTo>
                    <a:pt x="517" y="893"/>
                  </a:lnTo>
                  <a:lnTo>
                    <a:pt x="524" y="895"/>
                  </a:lnTo>
                  <a:lnTo>
                    <a:pt x="892" y="895"/>
                  </a:lnTo>
                  <a:lnTo>
                    <a:pt x="892" y="895"/>
                  </a:lnTo>
                  <a:lnTo>
                    <a:pt x="897" y="893"/>
                  </a:lnTo>
                  <a:lnTo>
                    <a:pt x="902" y="892"/>
                  </a:lnTo>
                  <a:lnTo>
                    <a:pt x="905" y="887"/>
                  </a:lnTo>
                  <a:lnTo>
                    <a:pt x="905" y="882"/>
                  </a:lnTo>
                  <a:lnTo>
                    <a:pt x="905" y="831"/>
                  </a:lnTo>
                  <a:lnTo>
                    <a:pt x="905" y="831"/>
                  </a:lnTo>
                  <a:lnTo>
                    <a:pt x="905" y="826"/>
                  </a:lnTo>
                  <a:lnTo>
                    <a:pt x="902" y="823"/>
                  </a:lnTo>
                  <a:lnTo>
                    <a:pt x="897" y="820"/>
                  </a:lnTo>
                  <a:lnTo>
                    <a:pt x="892" y="818"/>
                  </a:lnTo>
                  <a:lnTo>
                    <a:pt x="892" y="818"/>
                  </a:lnTo>
                  <a:close/>
                  <a:moveTo>
                    <a:pt x="272" y="573"/>
                  </a:moveTo>
                  <a:lnTo>
                    <a:pt x="413" y="226"/>
                  </a:lnTo>
                  <a:lnTo>
                    <a:pt x="517" y="573"/>
                  </a:lnTo>
                  <a:lnTo>
                    <a:pt x="272" y="5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grpSp>
      <p:sp>
        <p:nvSpPr>
          <p:cNvPr id="4" name="Datumsplatzhalter 3"/>
          <p:cNvSpPr>
            <a:spLocks noGrp="1"/>
          </p:cNvSpPr>
          <p:nvPr>
            <p:ph type="dt" sz="half" idx="14"/>
          </p:nvPr>
        </p:nvSpPr>
        <p:spPr>
          <a:xfrm>
            <a:off x="747184" y="6597536"/>
            <a:ext cx="1057790" cy="139590"/>
          </a:xfrm>
        </p:spPr>
        <p:txBody>
          <a:bodyPr/>
          <a:lstStyle/>
          <a:p>
            <a:fld id="{E3BDED9A-B086-4E73-ABA8-EF8BF3D09BFD}" type="datetime4">
              <a:rPr lang="en-GB" smtClean="0"/>
              <a:t>15 February 2024</a:t>
            </a:fld>
            <a:endParaRPr lang="en-GB"/>
          </a:p>
        </p:txBody>
      </p:sp>
      <p:cxnSp>
        <p:nvCxnSpPr>
          <p:cNvPr id="19" name="Gerade Verbindung 18"/>
          <p:cNvCxnSpPr/>
          <p:nvPr userDrawn="1"/>
        </p:nvCxnSpPr>
        <p:spPr>
          <a:xfrm>
            <a:off x="632870" y="6617659"/>
            <a:ext cx="0" cy="993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Foliennummernplatzhalter 5"/>
          <p:cNvSpPr txBox="1">
            <a:spLocks/>
          </p:cNvSpPr>
          <p:nvPr userDrawn="1"/>
        </p:nvSpPr>
        <p:spPr>
          <a:xfrm>
            <a:off x="331601" y="6597536"/>
            <a:ext cx="210955" cy="139590"/>
          </a:xfrm>
          <a:prstGeom prst="rect">
            <a:avLst/>
          </a:prstGeom>
        </p:spPr>
        <p:txBody>
          <a:bodyPr vert="horz" wrap="none" lIns="0" tIns="0" rIns="0" bIns="0" rtlCol="0" anchor="ctr" anchorCtr="0">
            <a:spAutoFit/>
          </a:bodyPr>
          <a:lstStyle>
            <a:defPPr>
              <a:defRPr lang="de-DE"/>
            </a:defPPr>
            <a:lvl1pPr marL="0" algn="l" defTabSz="1043056" rtl="0" eaLnBrk="1" latinLnBrk="0" hangingPunct="1">
              <a:defRPr lang="de-AT" sz="1000" b="0" kern="1200" spc="190" baseline="0" smtClean="0">
                <a:solidFill>
                  <a:schemeClr val="tx1"/>
                </a:solidFill>
                <a:latin typeface="CA Sans" pitchFamily="50" charset="0"/>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fld id="{30272582-AA89-4A5B-9BA7-B311A460C225}" type="slidenum">
              <a:rPr lang="en-GB" sz="907" smtClean="0"/>
              <a:pPr algn="r"/>
              <a:t>‹#›</a:t>
            </a:fld>
            <a:endParaRPr lang="en-GB" sz="907"/>
          </a:p>
        </p:txBody>
      </p:sp>
      <p:sp>
        <p:nvSpPr>
          <p:cNvPr id="22" name="Inhaltsplatzhalter 5"/>
          <p:cNvSpPr>
            <a:spLocks noGrp="1"/>
          </p:cNvSpPr>
          <p:nvPr>
            <p:ph sz="quarter" idx="16" hasCustomPrompt="1"/>
          </p:nvPr>
        </p:nvSpPr>
        <p:spPr>
          <a:xfrm>
            <a:off x="259913" y="1895563"/>
            <a:ext cx="5496835" cy="1512273"/>
          </a:xfrm>
        </p:spPr>
        <p:txBody>
          <a:bodyPr/>
          <a:lstStyle/>
          <a:p>
            <a:pPr lvl="0"/>
            <a:r>
              <a:rPr lang="en-GB" noProof="0" err="1"/>
              <a:t>Bodytext</a:t>
            </a:r>
            <a:r>
              <a:rPr lang="en-GB" noProof="0"/>
              <a:t> heading</a:t>
            </a:r>
          </a:p>
          <a:p>
            <a:pPr lvl="1"/>
            <a:r>
              <a:rPr lang="en-GB" noProof="0" err="1"/>
              <a:t>Bodytext</a:t>
            </a:r>
            <a:r>
              <a:rPr lang="en-GB" noProof="0"/>
              <a:t> 2</a:t>
            </a:r>
          </a:p>
          <a:p>
            <a:pPr lvl="2"/>
            <a:r>
              <a:rPr lang="en-GB" noProof="0" err="1"/>
              <a:t>Bodytext</a:t>
            </a:r>
            <a:r>
              <a:rPr lang="en-GB" noProof="0"/>
              <a:t> 3</a:t>
            </a:r>
          </a:p>
          <a:p>
            <a:pPr lvl="3"/>
            <a:r>
              <a:rPr lang="en-GB" noProof="0" err="1"/>
              <a:t>Bodytext</a:t>
            </a:r>
            <a:r>
              <a:rPr lang="en-GB" noProof="0"/>
              <a:t> 4</a:t>
            </a:r>
          </a:p>
          <a:p>
            <a:pPr lvl="4"/>
            <a:r>
              <a:rPr lang="en-GB" noProof="0" err="1"/>
              <a:t>Bodytext</a:t>
            </a:r>
            <a:r>
              <a:rPr lang="en-GB" noProof="0"/>
              <a:t> 5</a:t>
            </a:r>
          </a:p>
        </p:txBody>
      </p:sp>
      <p:sp>
        <p:nvSpPr>
          <p:cNvPr id="20" name="Inhaltsplatzhalter 5"/>
          <p:cNvSpPr>
            <a:spLocks noGrp="1"/>
          </p:cNvSpPr>
          <p:nvPr>
            <p:ph sz="quarter" idx="17" hasCustomPrompt="1"/>
          </p:nvPr>
        </p:nvSpPr>
        <p:spPr>
          <a:xfrm>
            <a:off x="259913" y="1432652"/>
            <a:ext cx="5496835" cy="251236"/>
          </a:xfrm>
        </p:spPr>
        <p:txBody>
          <a:bodyPr/>
          <a:lstStyle>
            <a:lvl1pPr marL="0" indent="0">
              <a:buNone/>
              <a:defRPr>
                <a:solidFill>
                  <a:schemeClr val="tx2"/>
                </a:solidFill>
              </a:defRPr>
            </a:lvl1pPr>
          </a:lstStyle>
          <a:p>
            <a:pPr lvl="0"/>
            <a:r>
              <a:rPr lang="en-GB" err="1"/>
              <a:t>Subheadline</a:t>
            </a:r>
            <a:endParaRPr lang="en-GB"/>
          </a:p>
        </p:txBody>
      </p:sp>
      <p:sp>
        <p:nvSpPr>
          <p:cNvPr id="26" name="Inhaltsplatzhalter 2"/>
          <p:cNvSpPr>
            <a:spLocks noGrp="1"/>
          </p:cNvSpPr>
          <p:nvPr>
            <p:ph idx="20" hasCustomPrompt="1"/>
          </p:nvPr>
        </p:nvSpPr>
        <p:spPr>
          <a:xfrm>
            <a:off x="259914" y="6191440"/>
            <a:ext cx="11666021" cy="139575"/>
          </a:xfrm>
        </p:spPr>
        <p:txBody>
          <a:bodyPr anchor="b"/>
          <a:lstStyle>
            <a:lvl1pPr marL="0" indent="0">
              <a:buNone/>
              <a:defRPr sz="907">
                <a:latin typeface="+mn-lt"/>
              </a:defRPr>
            </a:lvl1pPr>
            <a:lvl2pPr>
              <a:defRPr sz="907">
                <a:latin typeface="+mn-lt"/>
              </a:defRPr>
            </a:lvl2pPr>
            <a:lvl3pPr>
              <a:defRPr sz="907">
                <a:latin typeface="+mn-lt"/>
              </a:defRPr>
            </a:lvl3pPr>
            <a:lvl4pPr>
              <a:defRPr sz="907">
                <a:latin typeface="+mn-lt"/>
              </a:defRPr>
            </a:lvl4pPr>
            <a:lvl5pPr>
              <a:defRPr sz="907">
                <a:latin typeface="+mn-lt"/>
              </a:defRPr>
            </a:lvl5pPr>
          </a:lstStyle>
          <a:p>
            <a:pPr lvl="0"/>
            <a:r>
              <a:rPr lang="en-GB"/>
              <a:t>Footnotes and Sources</a:t>
            </a:r>
          </a:p>
        </p:txBody>
      </p:sp>
      <p:sp>
        <p:nvSpPr>
          <p:cNvPr id="27" name="Inhaltsplatzhalter 5"/>
          <p:cNvSpPr>
            <a:spLocks noGrp="1"/>
          </p:cNvSpPr>
          <p:nvPr>
            <p:ph sz="quarter" idx="21" hasCustomPrompt="1"/>
          </p:nvPr>
        </p:nvSpPr>
        <p:spPr>
          <a:xfrm>
            <a:off x="6429099" y="1895563"/>
            <a:ext cx="5496835" cy="1512273"/>
          </a:xfrm>
        </p:spPr>
        <p:txBody>
          <a:bodyPr/>
          <a:lstStyle/>
          <a:p>
            <a:pPr lvl="0"/>
            <a:r>
              <a:rPr lang="en-GB" noProof="0" err="1"/>
              <a:t>Bodytext</a:t>
            </a:r>
            <a:r>
              <a:rPr lang="en-GB" noProof="0"/>
              <a:t> heading</a:t>
            </a:r>
          </a:p>
          <a:p>
            <a:pPr lvl="1"/>
            <a:r>
              <a:rPr lang="en-GB" noProof="0" err="1"/>
              <a:t>Bodytext</a:t>
            </a:r>
            <a:r>
              <a:rPr lang="en-GB" noProof="0"/>
              <a:t> 2</a:t>
            </a:r>
          </a:p>
          <a:p>
            <a:pPr lvl="2"/>
            <a:r>
              <a:rPr lang="en-GB" noProof="0" err="1"/>
              <a:t>Bodytext</a:t>
            </a:r>
            <a:r>
              <a:rPr lang="en-GB" noProof="0"/>
              <a:t> 3</a:t>
            </a:r>
          </a:p>
          <a:p>
            <a:pPr lvl="3"/>
            <a:r>
              <a:rPr lang="en-GB" noProof="0" err="1"/>
              <a:t>Bodytext</a:t>
            </a:r>
            <a:r>
              <a:rPr lang="en-GB" noProof="0"/>
              <a:t> 4</a:t>
            </a:r>
          </a:p>
          <a:p>
            <a:pPr lvl="4"/>
            <a:r>
              <a:rPr lang="en-GB" noProof="0" err="1"/>
              <a:t>Bodytext</a:t>
            </a:r>
            <a:r>
              <a:rPr lang="en-GB" noProof="0"/>
              <a:t> 5</a:t>
            </a:r>
          </a:p>
        </p:txBody>
      </p:sp>
      <p:sp>
        <p:nvSpPr>
          <p:cNvPr id="28" name="Inhaltsplatzhalter 5"/>
          <p:cNvSpPr>
            <a:spLocks noGrp="1"/>
          </p:cNvSpPr>
          <p:nvPr>
            <p:ph sz="quarter" idx="22" hasCustomPrompt="1"/>
          </p:nvPr>
        </p:nvSpPr>
        <p:spPr>
          <a:xfrm>
            <a:off x="6429099" y="1432652"/>
            <a:ext cx="5496835" cy="251236"/>
          </a:xfrm>
        </p:spPr>
        <p:txBody>
          <a:bodyPr/>
          <a:lstStyle>
            <a:lvl1pPr marL="0" indent="0">
              <a:buNone/>
              <a:defRPr>
                <a:solidFill>
                  <a:schemeClr val="tx2"/>
                </a:solidFill>
              </a:defRPr>
            </a:lvl1pPr>
          </a:lstStyle>
          <a:p>
            <a:pPr lvl="0"/>
            <a:r>
              <a:rPr lang="en-GB" err="1"/>
              <a:t>Subheadline</a:t>
            </a:r>
            <a:endParaRPr lang="en-GB"/>
          </a:p>
        </p:txBody>
      </p:sp>
    </p:spTree>
    <p:extLst>
      <p:ext uri="{BB962C8B-B14F-4D97-AF65-F5344CB8AC3E}">
        <p14:creationId xmlns:p14="http://schemas.microsoft.com/office/powerpoint/2010/main" val="27570661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55090786"/>
              </p:ext>
            </p:extLst>
          </p:nvPr>
        </p:nvGraphicFramePr>
        <p:xfrm>
          <a:off x="1812" y="1443"/>
          <a:ext cx="1809" cy="143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kt 7" hidden="1"/>
                      <p:cNvPicPr/>
                      <p:nvPr/>
                    </p:nvPicPr>
                    <p:blipFill>
                      <a:blip r:embed="rId4"/>
                      <a:stretch>
                        <a:fillRect/>
                      </a:stretch>
                    </p:blipFill>
                    <p:spPr>
                      <a:xfrm>
                        <a:off x="1812" y="1443"/>
                        <a:ext cx="1809" cy="1439"/>
                      </a:xfrm>
                      <a:prstGeom prst="rect">
                        <a:avLst/>
                      </a:prstGeom>
                    </p:spPr>
                  </p:pic>
                </p:oleObj>
              </mc:Fallback>
            </mc:AlternateContent>
          </a:graphicData>
        </a:graphic>
      </p:graphicFrame>
      <p:sp>
        <p:nvSpPr>
          <p:cNvPr id="7" name="Rechteck 6"/>
          <p:cNvSpPr/>
          <p:nvPr userDrawn="1"/>
        </p:nvSpPr>
        <p:spPr>
          <a:xfrm>
            <a:off x="1" y="6470680"/>
            <a:ext cx="12192000" cy="387320"/>
          </a:xfrm>
          <a:prstGeom prst="rect">
            <a:avLst/>
          </a:prstGeom>
          <a:solidFill>
            <a:srgbClr val="D5D4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904"/>
          </a:p>
        </p:txBody>
      </p:sp>
      <p:sp>
        <p:nvSpPr>
          <p:cNvPr id="2" name="Titel 1"/>
          <p:cNvSpPr>
            <a:spLocks noGrp="1"/>
          </p:cNvSpPr>
          <p:nvPr>
            <p:ph type="title" hasCustomPrompt="1"/>
          </p:nvPr>
        </p:nvSpPr>
        <p:spPr>
          <a:xfrm>
            <a:off x="259913" y="143890"/>
            <a:ext cx="11666020" cy="418726"/>
          </a:xfrm>
        </p:spPr>
        <p:txBody>
          <a:bodyPr/>
          <a:lstStyle>
            <a:lvl1pPr>
              <a:lnSpc>
                <a:spcPts val="3265"/>
              </a:lnSpc>
              <a:defRPr/>
            </a:lvl1pPr>
          </a:lstStyle>
          <a:p>
            <a:r>
              <a:rPr lang="en-GB"/>
              <a:t>Page title</a:t>
            </a:r>
          </a:p>
        </p:txBody>
      </p:sp>
      <p:grpSp>
        <p:nvGrpSpPr>
          <p:cNvPr id="11" name="Gruppieren 10"/>
          <p:cNvGrpSpPr>
            <a:grpSpLocks noChangeAspect="1"/>
          </p:cNvGrpSpPr>
          <p:nvPr userDrawn="1"/>
        </p:nvGrpSpPr>
        <p:grpSpPr>
          <a:xfrm>
            <a:off x="11522251" y="6541937"/>
            <a:ext cx="401810" cy="244888"/>
            <a:chOff x="7680842" y="5709958"/>
            <a:chExt cx="884790" cy="677863"/>
          </a:xfrm>
          <a:solidFill>
            <a:schemeClr val="bg1"/>
          </a:solidFill>
        </p:grpSpPr>
        <p:sp>
          <p:nvSpPr>
            <p:cNvPr id="12" name="Freeform 17"/>
            <p:cNvSpPr>
              <a:spLocks noEditPoints="1"/>
            </p:cNvSpPr>
            <p:nvPr/>
          </p:nvSpPr>
          <p:spPr bwMode="auto">
            <a:xfrm>
              <a:off x="7680842" y="5709958"/>
              <a:ext cx="884790" cy="677863"/>
            </a:xfrm>
            <a:custGeom>
              <a:avLst/>
              <a:gdLst>
                <a:gd name="T0" fmla="*/ 2771 w 2976"/>
                <a:gd name="T1" fmla="*/ 570 h 2280"/>
                <a:gd name="T2" fmla="*/ 2686 w 2976"/>
                <a:gd name="T3" fmla="*/ 444 h 2280"/>
                <a:gd name="T4" fmla="*/ 2469 w 2976"/>
                <a:gd name="T5" fmla="*/ 363 h 2280"/>
                <a:gd name="T6" fmla="*/ 2333 w 2976"/>
                <a:gd name="T7" fmla="*/ 272 h 2280"/>
                <a:gd name="T8" fmla="*/ 2172 w 2976"/>
                <a:gd name="T9" fmla="*/ 119 h 2280"/>
                <a:gd name="T10" fmla="*/ 2025 w 2976"/>
                <a:gd name="T11" fmla="*/ 100 h 2280"/>
                <a:gd name="T12" fmla="*/ 1804 w 2976"/>
                <a:gd name="T13" fmla="*/ 118 h 2280"/>
                <a:gd name="T14" fmla="*/ 1591 w 2976"/>
                <a:gd name="T15" fmla="*/ 23 h 2280"/>
                <a:gd name="T16" fmla="*/ 1488 w 2976"/>
                <a:gd name="T17" fmla="*/ 0 h 2280"/>
                <a:gd name="T18" fmla="*/ 1305 w 2976"/>
                <a:gd name="T19" fmla="*/ 69 h 2280"/>
                <a:gd name="T20" fmla="*/ 1120 w 2976"/>
                <a:gd name="T21" fmla="*/ 121 h 2280"/>
                <a:gd name="T22" fmla="*/ 891 w 2976"/>
                <a:gd name="T23" fmla="*/ 98 h 2280"/>
                <a:gd name="T24" fmla="*/ 753 w 2976"/>
                <a:gd name="T25" fmla="*/ 152 h 2280"/>
                <a:gd name="T26" fmla="*/ 593 w 2976"/>
                <a:gd name="T27" fmla="*/ 318 h 2280"/>
                <a:gd name="T28" fmla="*/ 404 w 2976"/>
                <a:gd name="T29" fmla="*/ 396 h 2280"/>
                <a:gd name="T30" fmla="*/ 254 w 2976"/>
                <a:gd name="T31" fmla="*/ 473 h 2280"/>
                <a:gd name="T32" fmla="*/ 178 w 2976"/>
                <a:gd name="T33" fmla="*/ 719 h 2280"/>
                <a:gd name="T34" fmla="*/ 106 w 2976"/>
                <a:gd name="T35" fmla="*/ 907 h 2280"/>
                <a:gd name="T36" fmla="*/ 2 w 2976"/>
                <a:gd name="T37" fmla="*/ 1115 h 2280"/>
                <a:gd name="T38" fmla="*/ 34 w 2976"/>
                <a:gd name="T39" fmla="*/ 1265 h 2280"/>
                <a:gd name="T40" fmla="*/ 154 w 2976"/>
                <a:gd name="T41" fmla="*/ 1462 h 2280"/>
                <a:gd name="T42" fmla="*/ 219 w 2976"/>
                <a:gd name="T43" fmla="*/ 1750 h 2280"/>
                <a:gd name="T44" fmla="*/ 326 w 2976"/>
                <a:gd name="T45" fmla="*/ 1856 h 2280"/>
                <a:gd name="T46" fmla="*/ 550 w 2976"/>
                <a:gd name="T47" fmla="*/ 1935 h 2280"/>
                <a:gd name="T48" fmla="*/ 699 w 2976"/>
                <a:gd name="T49" fmla="*/ 2070 h 2280"/>
                <a:gd name="T50" fmla="*/ 823 w 2976"/>
                <a:gd name="T51" fmla="*/ 2169 h 2280"/>
                <a:gd name="T52" fmla="*/ 1031 w 2976"/>
                <a:gd name="T53" fmla="*/ 2167 h 2280"/>
                <a:gd name="T54" fmla="*/ 1224 w 2976"/>
                <a:gd name="T55" fmla="*/ 2175 h 2280"/>
                <a:gd name="T56" fmla="*/ 1421 w 2976"/>
                <a:gd name="T57" fmla="*/ 2270 h 2280"/>
                <a:gd name="T58" fmla="*/ 1555 w 2976"/>
                <a:gd name="T59" fmla="*/ 2270 h 2280"/>
                <a:gd name="T60" fmla="*/ 1752 w 2976"/>
                <a:gd name="T61" fmla="*/ 2175 h 2280"/>
                <a:gd name="T62" fmla="*/ 1945 w 2976"/>
                <a:gd name="T63" fmla="*/ 2167 h 2280"/>
                <a:gd name="T64" fmla="*/ 2153 w 2976"/>
                <a:gd name="T65" fmla="*/ 2169 h 2280"/>
                <a:gd name="T66" fmla="*/ 2277 w 2976"/>
                <a:gd name="T67" fmla="*/ 2070 h 2280"/>
                <a:gd name="T68" fmla="*/ 2424 w 2976"/>
                <a:gd name="T69" fmla="*/ 1935 h 2280"/>
                <a:gd name="T70" fmla="*/ 2649 w 2976"/>
                <a:gd name="T71" fmla="*/ 1856 h 2280"/>
                <a:gd name="T72" fmla="*/ 2757 w 2976"/>
                <a:gd name="T73" fmla="*/ 1750 h 2280"/>
                <a:gd name="T74" fmla="*/ 2820 w 2976"/>
                <a:gd name="T75" fmla="*/ 1462 h 2280"/>
                <a:gd name="T76" fmla="*/ 2942 w 2976"/>
                <a:gd name="T77" fmla="*/ 1264 h 2280"/>
                <a:gd name="T78" fmla="*/ 2974 w 2976"/>
                <a:gd name="T79" fmla="*/ 1115 h 2280"/>
                <a:gd name="T80" fmla="*/ 2868 w 2976"/>
                <a:gd name="T81" fmla="*/ 907 h 2280"/>
                <a:gd name="T82" fmla="*/ 1419 w 2976"/>
                <a:gd name="T83" fmla="*/ 2028 h 2280"/>
                <a:gd name="T84" fmla="*/ 923 w 2976"/>
                <a:gd name="T85" fmla="*/ 1943 h 2280"/>
                <a:gd name="T86" fmla="*/ 547 w 2976"/>
                <a:gd name="T87" fmla="*/ 1742 h 2280"/>
                <a:gd name="T88" fmla="*/ 314 w 2976"/>
                <a:gd name="T89" fmla="*/ 1449 h 2280"/>
                <a:gd name="T90" fmla="*/ 246 w 2976"/>
                <a:gd name="T91" fmla="*/ 1139 h 2280"/>
                <a:gd name="T92" fmla="*/ 334 w 2976"/>
                <a:gd name="T93" fmla="*/ 791 h 2280"/>
                <a:gd name="T94" fmla="*/ 588 w 2976"/>
                <a:gd name="T95" fmla="*/ 507 h 2280"/>
                <a:gd name="T96" fmla="*/ 979 w 2976"/>
                <a:gd name="T97" fmla="*/ 319 h 2280"/>
                <a:gd name="T98" fmla="*/ 1488 w 2976"/>
                <a:gd name="T99" fmla="*/ 250 h 2280"/>
                <a:gd name="T100" fmla="*/ 1940 w 2976"/>
                <a:gd name="T101" fmla="*/ 303 h 2280"/>
                <a:gd name="T102" fmla="*/ 2347 w 2976"/>
                <a:gd name="T103" fmla="*/ 480 h 2280"/>
                <a:gd name="T104" fmla="*/ 2619 w 2976"/>
                <a:gd name="T105" fmla="*/ 751 h 2280"/>
                <a:gd name="T106" fmla="*/ 2729 w 2976"/>
                <a:gd name="T107" fmla="*/ 1093 h 2280"/>
                <a:gd name="T108" fmla="*/ 2680 w 2976"/>
                <a:gd name="T109" fmla="*/ 1408 h 2280"/>
                <a:gd name="T110" fmla="*/ 2465 w 2976"/>
                <a:gd name="T111" fmla="*/ 1709 h 2280"/>
                <a:gd name="T112" fmla="*/ 2107 w 2976"/>
                <a:gd name="T113" fmla="*/ 1923 h 2280"/>
                <a:gd name="T114" fmla="*/ 1624 w 2976"/>
                <a:gd name="T115" fmla="*/ 2025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76" h="2280">
                  <a:moveTo>
                    <a:pt x="2820" y="818"/>
                  </a:moveTo>
                  <a:lnTo>
                    <a:pt x="2820" y="818"/>
                  </a:lnTo>
                  <a:lnTo>
                    <a:pt x="2812" y="792"/>
                  </a:lnTo>
                  <a:lnTo>
                    <a:pt x="2806" y="768"/>
                  </a:lnTo>
                  <a:lnTo>
                    <a:pt x="2798" y="719"/>
                  </a:lnTo>
                  <a:lnTo>
                    <a:pt x="2784" y="630"/>
                  </a:lnTo>
                  <a:lnTo>
                    <a:pt x="2776" y="589"/>
                  </a:lnTo>
                  <a:lnTo>
                    <a:pt x="2771" y="570"/>
                  </a:lnTo>
                  <a:lnTo>
                    <a:pt x="2765" y="550"/>
                  </a:lnTo>
                  <a:lnTo>
                    <a:pt x="2757" y="530"/>
                  </a:lnTo>
                  <a:lnTo>
                    <a:pt x="2747" y="511"/>
                  </a:lnTo>
                  <a:lnTo>
                    <a:pt x="2735" y="493"/>
                  </a:lnTo>
                  <a:lnTo>
                    <a:pt x="2722" y="473"/>
                  </a:lnTo>
                  <a:lnTo>
                    <a:pt x="2722" y="473"/>
                  </a:lnTo>
                  <a:lnTo>
                    <a:pt x="2704" y="458"/>
                  </a:lnTo>
                  <a:lnTo>
                    <a:pt x="2686" y="444"/>
                  </a:lnTo>
                  <a:lnTo>
                    <a:pt x="2668" y="434"/>
                  </a:lnTo>
                  <a:lnTo>
                    <a:pt x="2649" y="424"/>
                  </a:lnTo>
                  <a:lnTo>
                    <a:pt x="2631" y="416"/>
                  </a:lnTo>
                  <a:lnTo>
                    <a:pt x="2611" y="408"/>
                  </a:lnTo>
                  <a:lnTo>
                    <a:pt x="2572" y="396"/>
                  </a:lnTo>
                  <a:lnTo>
                    <a:pt x="2531" y="385"/>
                  </a:lnTo>
                  <a:lnTo>
                    <a:pt x="2490" y="372"/>
                  </a:lnTo>
                  <a:lnTo>
                    <a:pt x="2469" y="363"/>
                  </a:lnTo>
                  <a:lnTo>
                    <a:pt x="2447" y="355"/>
                  </a:lnTo>
                  <a:lnTo>
                    <a:pt x="2424" y="345"/>
                  </a:lnTo>
                  <a:lnTo>
                    <a:pt x="2403" y="332"/>
                  </a:lnTo>
                  <a:lnTo>
                    <a:pt x="2403" y="332"/>
                  </a:lnTo>
                  <a:lnTo>
                    <a:pt x="2383" y="318"/>
                  </a:lnTo>
                  <a:lnTo>
                    <a:pt x="2364" y="303"/>
                  </a:lnTo>
                  <a:lnTo>
                    <a:pt x="2347" y="286"/>
                  </a:lnTo>
                  <a:lnTo>
                    <a:pt x="2333" y="272"/>
                  </a:lnTo>
                  <a:lnTo>
                    <a:pt x="2303" y="239"/>
                  </a:lnTo>
                  <a:lnTo>
                    <a:pt x="2277" y="208"/>
                  </a:lnTo>
                  <a:lnTo>
                    <a:pt x="2251" y="178"/>
                  </a:lnTo>
                  <a:lnTo>
                    <a:pt x="2238" y="165"/>
                  </a:lnTo>
                  <a:lnTo>
                    <a:pt x="2223" y="152"/>
                  </a:lnTo>
                  <a:lnTo>
                    <a:pt x="2207" y="139"/>
                  </a:lnTo>
                  <a:lnTo>
                    <a:pt x="2190" y="129"/>
                  </a:lnTo>
                  <a:lnTo>
                    <a:pt x="2172" y="119"/>
                  </a:lnTo>
                  <a:lnTo>
                    <a:pt x="2153" y="110"/>
                  </a:lnTo>
                  <a:lnTo>
                    <a:pt x="2153" y="110"/>
                  </a:lnTo>
                  <a:lnTo>
                    <a:pt x="2130" y="105"/>
                  </a:lnTo>
                  <a:lnTo>
                    <a:pt x="2107" y="100"/>
                  </a:lnTo>
                  <a:lnTo>
                    <a:pt x="2085" y="98"/>
                  </a:lnTo>
                  <a:lnTo>
                    <a:pt x="2064" y="98"/>
                  </a:lnTo>
                  <a:lnTo>
                    <a:pt x="2045" y="98"/>
                  </a:lnTo>
                  <a:lnTo>
                    <a:pt x="2025" y="100"/>
                  </a:lnTo>
                  <a:lnTo>
                    <a:pt x="1984" y="106"/>
                  </a:lnTo>
                  <a:lnTo>
                    <a:pt x="1945" y="113"/>
                  </a:lnTo>
                  <a:lnTo>
                    <a:pt x="1901" y="119"/>
                  </a:lnTo>
                  <a:lnTo>
                    <a:pt x="1879" y="121"/>
                  </a:lnTo>
                  <a:lnTo>
                    <a:pt x="1855" y="121"/>
                  </a:lnTo>
                  <a:lnTo>
                    <a:pt x="1830" y="119"/>
                  </a:lnTo>
                  <a:lnTo>
                    <a:pt x="1804" y="118"/>
                  </a:lnTo>
                  <a:lnTo>
                    <a:pt x="1804" y="118"/>
                  </a:lnTo>
                  <a:lnTo>
                    <a:pt x="1776" y="111"/>
                  </a:lnTo>
                  <a:lnTo>
                    <a:pt x="1752" y="105"/>
                  </a:lnTo>
                  <a:lnTo>
                    <a:pt x="1729" y="97"/>
                  </a:lnTo>
                  <a:lnTo>
                    <a:pt x="1707" y="87"/>
                  </a:lnTo>
                  <a:lnTo>
                    <a:pt x="1671" y="69"/>
                  </a:lnTo>
                  <a:lnTo>
                    <a:pt x="1639" y="49"/>
                  </a:lnTo>
                  <a:lnTo>
                    <a:pt x="1607" y="31"/>
                  </a:lnTo>
                  <a:lnTo>
                    <a:pt x="1591" y="23"/>
                  </a:lnTo>
                  <a:lnTo>
                    <a:pt x="1573" y="16"/>
                  </a:lnTo>
                  <a:lnTo>
                    <a:pt x="1555" y="10"/>
                  </a:lnTo>
                  <a:lnTo>
                    <a:pt x="1534" y="5"/>
                  </a:lnTo>
                  <a:lnTo>
                    <a:pt x="1513" y="2"/>
                  </a:lnTo>
                  <a:lnTo>
                    <a:pt x="1488" y="0"/>
                  </a:lnTo>
                  <a:lnTo>
                    <a:pt x="1488" y="0"/>
                  </a:lnTo>
                  <a:lnTo>
                    <a:pt x="1488" y="0"/>
                  </a:lnTo>
                  <a:lnTo>
                    <a:pt x="1488" y="0"/>
                  </a:lnTo>
                  <a:lnTo>
                    <a:pt x="1463" y="2"/>
                  </a:lnTo>
                  <a:lnTo>
                    <a:pt x="1441" y="5"/>
                  </a:lnTo>
                  <a:lnTo>
                    <a:pt x="1421" y="10"/>
                  </a:lnTo>
                  <a:lnTo>
                    <a:pt x="1403" y="16"/>
                  </a:lnTo>
                  <a:lnTo>
                    <a:pt x="1385" y="23"/>
                  </a:lnTo>
                  <a:lnTo>
                    <a:pt x="1369" y="31"/>
                  </a:lnTo>
                  <a:lnTo>
                    <a:pt x="1337" y="49"/>
                  </a:lnTo>
                  <a:lnTo>
                    <a:pt x="1305" y="69"/>
                  </a:lnTo>
                  <a:lnTo>
                    <a:pt x="1269" y="87"/>
                  </a:lnTo>
                  <a:lnTo>
                    <a:pt x="1247" y="97"/>
                  </a:lnTo>
                  <a:lnTo>
                    <a:pt x="1224" y="105"/>
                  </a:lnTo>
                  <a:lnTo>
                    <a:pt x="1200" y="111"/>
                  </a:lnTo>
                  <a:lnTo>
                    <a:pt x="1172" y="118"/>
                  </a:lnTo>
                  <a:lnTo>
                    <a:pt x="1172" y="118"/>
                  </a:lnTo>
                  <a:lnTo>
                    <a:pt x="1146" y="119"/>
                  </a:lnTo>
                  <a:lnTo>
                    <a:pt x="1120" y="121"/>
                  </a:lnTo>
                  <a:lnTo>
                    <a:pt x="1097" y="121"/>
                  </a:lnTo>
                  <a:lnTo>
                    <a:pt x="1074" y="119"/>
                  </a:lnTo>
                  <a:lnTo>
                    <a:pt x="1031" y="113"/>
                  </a:lnTo>
                  <a:lnTo>
                    <a:pt x="990" y="106"/>
                  </a:lnTo>
                  <a:lnTo>
                    <a:pt x="951" y="100"/>
                  </a:lnTo>
                  <a:lnTo>
                    <a:pt x="931" y="98"/>
                  </a:lnTo>
                  <a:lnTo>
                    <a:pt x="910" y="98"/>
                  </a:lnTo>
                  <a:lnTo>
                    <a:pt x="891" y="98"/>
                  </a:lnTo>
                  <a:lnTo>
                    <a:pt x="869" y="100"/>
                  </a:lnTo>
                  <a:lnTo>
                    <a:pt x="846" y="105"/>
                  </a:lnTo>
                  <a:lnTo>
                    <a:pt x="823" y="110"/>
                  </a:lnTo>
                  <a:lnTo>
                    <a:pt x="823" y="110"/>
                  </a:lnTo>
                  <a:lnTo>
                    <a:pt x="804" y="119"/>
                  </a:lnTo>
                  <a:lnTo>
                    <a:pt x="786" y="129"/>
                  </a:lnTo>
                  <a:lnTo>
                    <a:pt x="768" y="139"/>
                  </a:lnTo>
                  <a:lnTo>
                    <a:pt x="753" y="152"/>
                  </a:lnTo>
                  <a:lnTo>
                    <a:pt x="738" y="165"/>
                  </a:lnTo>
                  <a:lnTo>
                    <a:pt x="725" y="178"/>
                  </a:lnTo>
                  <a:lnTo>
                    <a:pt x="699" y="208"/>
                  </a:lnTo>
                  <a:lnTo>
                    <a:pt x="671" y="239"/>
                  </a:lnTo>
                  <a:lnTo>
                    <a:pt x="643" y="272"/>
                  </a:lnTo>
                  <a:lnTo>
                    <a:pt x="629" y="286"/>
                  </a:lnTo>
                  <a:lnTo>
                    <a:pt x="611" y="303"/>
                  </a:lnTo>
                  <a:lnTo>
                    <a:pt x="593" y="318"/>
                  </a:lnTo>
                  <a:lnTo>
                    <a:pt x="573" y="332"/>
                  </a:lnTo>
                  <a:lnTo>
                    <a:pt x="573" y="332"/>
                  </a:lnTo>
                  <a:lnTo>
                    <a:pt x="550" y="345"/>
                  </a:lnTo>
                  <a:lnTo>
                    <a:pt x="529" y="355"/>
                  </a:lnTo>
                  <a:lnTo>
                    <a:pt x="507" y="363"/>
                  </a:lnTo>
                  <a:lnTo>
                    <a:pt x="486" y="372"/>
                  </a:lnTo>
                  <a:lnTo>
                    <a:pt x="445" y="385"/>
                  </a:lnTo>
                  <a:lnTo>
                    <a:pt x="404" y="396"/>
                  </a:lnTo>
                  <a:lnTo>
                    <a:pt x="365" y="408"/>
                  </a:lnTo>
                  <a:lnTo>
                    <a:pt x="345" y="416"/>
                  </a:lnTo>
                  <a:lnTo>
                    <a:pt x="326" y="424"/>
                  </a:lnTo>
                  <a:lnTo>
                    <a:pt x="308" y="434"/>
                  </a:lnTo>
                  <a:lnTo>
                    <a:pt x="290" y="444"/>
                  </a:lnTo>
                  <a:lnTo>
                    <a:pt x="272" y="458"/>
                  </a:lnTo>
                  <a:lnTo>
                    <a:pt x="254" y="473"/>
                  </a:lnTo>
                  <a:lnTo>
                    <a:pt x="254" y="473"/>
                  </a:lnTo>
                  <a:lnTo>
                    <a:pt x="241" y="493"/>
                  </a:lnTo>
                  <a:lnTo>
                    <a:pt x="228" y="511"/>
                  </a:lnTo>
                  <a:lnTo>
                    <a:pt x="219" y="530"/>
                  </a:lnTo>
                  <a:lnTo>
                    <a:pt x="211" y="550"/>
                  </a:lnTo>
                  <a:lnTo>
                    <a:pt x="205" y="570"/>
                  </a:lnTo>
                  <a:lnTo>
                    <a:pt x="200" y="589"/>
                  </a:lnTo>
                  <a:lnTo>
                    <a:pt x="192" y="630"/>
                  </a:lnTo>
                  <a:lnTo>
                    <a:pt x="178" y="719"/>
                  </a:lnTo>
                  <a:lnTo>
                    <a:pt x="169" y="768"/>
                  </a:lnTo>
                  <a:lnTo>
                    <a:pt x="162" y="792"/>
                  </a:lnTo>
                  <a:lnTo>
                    <a:pt x="154" y="818"/>
                  </a:lnTo>
                  <a:lnTo>
                    <a:pt x="154" y="818"/>
                  </a:lnTo>
                  <a:lnTo>
                    <a:pt x="144" y="843"/>
                  </a:lnTo>
                  <a:lnTo>
                    <a:pt x="133" y="866"/>
                  </a:lnTo>
                  <a:lnTo>
                    <a:pt x="119" y="887"/>
                  </a:lnTo>
                  <a:lnTo>
                    <a:pt x="106" y="907"/>
                  </a:lnTo>
                  <a:lnTo>
                    <a:pt x="82" y="944"/>
                  </a:lnTo>
                  <a:lnTo>
                    <a:pt x="57" y="979"/>
                  </a:lnTo>
                  <a:lnTo>
                    <a:pt x="34" y="1013"/>
                  </a:lnTo>
                  <a:lnTo>
                    <a:pt x="25" y="1031"/>
                  </a:lnTo>
                  <a:lnTo>
                    <a:pt x="16" y="1051"/>
                  </a:lnTo>
                  <a:lnTo>
                    <a:pt x="10" y="1070"/>
                  </a:lnTo>
                  <a:lnTo>
                    <a:pt x="5" y="1092"/>
                  </a:lnTo>
                  <a:lnTo>
                    <a:pt x="2" y="1115"/>
                  </a:lnTo>
                  <a:lnTo>
                    <a:pt x="0" y="1139"/>
                  </a:lnTo>
                  <a:lnTo>
                    <a:pt x="0" y="1139"/>
                  </a:lnTo>
                  <a:lnTo>
                    <a:pt x="2" y="1164"/>
                  </a:lnTo>
                  <a:lnTo>
                    <a:pt x="5" y="1187"/>
                  </a:lnTo>
                  <a:lnTo>
                    <a:pt x="10" y="1208"/>
                  </a:lnTo>
                  <a:lnTo>
                    <a:pt x="16" y="1228"/>
                  </a:lnTo>
                  <a:lnTo>
                    <a:pt x="25" y="1247"/>
                  </a:lnTo>
                  <a:lnTo>
                    <a:pt x="34" y="1265"/>
                  </a:lnTo>
                  <a:lnTo>
                    <a:pt x="57" y="1300"/>
                  </a:lnTo>
                  <a:lnTo>
                    <a:pt x="82" y="1336"/>
                  </a:lnTo>
                  <a:lnTo>
                    <a:pt x="106" y="1373"/>
                  </a:lnTo>
                  <a:lnTo>
                    <a:pt x="119" y="1393"/>
                  </a:lnTo>
                  <a:lnTo>
                    <a:pt x="133" y="1414"/>
                  </a:lnTo>
                  <a:lnTo>
                    <a:pt x="144" y="1437"/>
                  </a:lnTo>
                  <a:lnTo>
                    <a:pt x="154" y="1462"/>
                  </a:lnTo>
                  <a:lnTo>
                    <a:pt x="154" y="1462"/>
                  </a:lnTo>
                  <a:lnTo>
                    <a:pt x="162" y="1488"/>
                  </a:lnTo>
                  <a:lnTo>
                    <a:pt x="169" y="1512"/>
                  </a:lnTo>
                  <a:lnTo>
                    <a:pt x="178" y="1560"/>
                  </a:lnTo>
                  <a:lnTo>
                    <a:pt x="192" y="1648"/>
                  </a:lnTo>
                  <a:lnTo>
                    <a:pt x="200" y="1689"/>
                  </a:lnTo>
                  <a:lnTo>
                    <a:pt x="205" y="1710"/>
                  </a:lnTo>
                  <a:lnTo>
                    <a:pt x="211" y="1730"/>
                  </a:lnTo>
                  <a:lnTo>
                    <a:pt x="219" y="1750"/>
                  </a:lnTo>
                  <a:lnTo>
                    <a:pt x="228" y="1768"/>
                  </a:lnTo>
                  <a:lnTo>
                    <a:pt x="241" y="1787"/>
                  </a:lnTo>
                  <a:lnTo>
                    <a:pt x="254" y="1807"/>
                  </a:lnTo>
                  <a:lnTo>
                    <a:pt x="254" y="1807"/>
                  </a:lnTo>
                  <a:lnTo>
                    <a:pt x="272" y="1822"/>
                  </a:lnTo>
                  <a:lnTo>
                    <a:pt x="290" y="1835"/>
                  </a:lnTo>
                  <a:lnTo>
                    <a:pt x="308" y="1846"/>
                  </a:lnTo>
                  <a:lnTo>
                    <a:pt x="326" y="1856"/>
                  </a:lnTo>
                  <a:lnTo>
                    <a:pt x="345" y="1864"/>
                  </a:lnTo>
                  <a:lnTo>
                    <a:pt x="365" y="1871"/>
                  </a:lnTo>
                  <a:lnTo>
                    <a:pt x="404" y="1884"/>
                  </a:lnTo>
                  <a:lnTo>
                    <a:pt x="445" y="1895"/>
                  </a:lnTo>
                  <a:lnTo>
                    <a:pt x="486" y="1908"/>
                  </a:lnTo>
                  <a:lnTo>
                    <a:pt x="507" y="1915"/>
                  </a:lnTo>
                  <a:lnTo>
                    <a:pt x="529" y="1925"/>
                  </a:lnTo>
                  <a:lnTo>
                    <a:pt x="550" y="1935"/>
                  </a:lnTo>
                  <a:lnTo>
                    <a:pt x="573" y="1946"/>
                  </a:lnTo>
                  <a:lnTo>
                    <a:pt x="573" y="1946"/>
                  </a:lnTo>
                  <a:lnTo>
                    <a:pt x="593" y="1962"/>
                  </a:lnTo>
                  <a:lnTo>
                    <a:pt x="611" y="1977"/>
                  </a:lnTo>
                  <a:lnTo>
                    <a:pt x="629" y="1992"/>
                  </a:lnTo>
                  <a:lnTo>
                    <a:pt x="643" y="2008"/>
                  </a:lnTo>
                  <a:lnTo>
                    <a:pt x="671" y="2039"/>
                  </a:lnTo>
                  <a:lnTo>
                    <a:pt x="699" y="2070"/>
                  </a:lnTo>
                  <a:lnTo>
                    <a:pt x="725" y="2100"/>
                  </a:lnTo>
                  <a:lnTo>
                    <a:pt x="738" y="2115"/>
                  </a:lnTo>
                  <a:lnTo>
                    <a:pt x="753" y="2128"/>
                  </a:lnTo>
                  <a:lnTo>
                    <a:pt x="768" y="2139"/>
                  </a:lnTo>
                  <a:lnTo>
                    <a:pt x="786" y="2151"/>
                  </a:lnTo>
                  <a:lnTo>
                    <a:pt x="804" y="2161"/>
                  </a:lnTo>
                  <a:lnTo>
                    <a:pt x="823" y="2169"/>
                  </a:lnTo>
                  <a:lnTo>
                    <a:pt x="823" y="2169"/>
                  </a:lnTo>
                  <a:lnTo>
                    <a:pt x="846" y="2175"/>
                  </a:lnTo>
                  <a:lnTo>
                    <a:pt x="869" y="2179"/>
                  </a:lnTo>
                  <a:lnTo>
                    <a:pt x="891" y="2182"/>
                  </a:lnTo>
                  <a:lnTo>
                    <a:pt x="910" y="2182"/>
                  </a:lnTo>
                  <a:lnTo>
                    <a:pt x="931" y="2180"/>
                  </a:lnTo>
                  <a:lnTo>
                    <a:pt x="951" y="2179"/>
                  </a:lnTo>
                  <a:lnTo>
                    <a:pt x="990" y="2174"/>
                  </a:lnTo>
                  <a:lnTo>
                    <a:pt x="1031" y="2167"/>
                  </a:lnTo>
                  <a:lnTo>
                    <a:pt x="1074" y="2161"/>
                  </a:lnTo>
                  <a:lnTo>
                    <a:pt x="1097" y="2159"/>
                  </a:lnTo>
                  <a:lnTo>
                    <a:pt x="1120" y="2159"/>
                  </a:lnTo>
                  <a:lnTo>
                    <a:pt x="1146" y="2159"/>
                  </a:lnTo>
                  <a:lnTo>
                    <a:pt x="1172" y="2162"/>
                  </a:lnTo>
                  <a:lnTo>
                    <a:pt x="1172" y="2162"/>
                  </a:lnTo>
                  <a:lnTo>
                    <a:pt x="1200" y="2169"/>
                  </a:lnTo>
                  <a:lnTo>
                    <a:pt x="1224" y="2175"/>
                  </a:lnTo>
                  <a:lnTo>
                    <a:pt x="1247" y="2183"/>
                  </a:lnTo>
                  <a:lnTo>
                    <a:pt x="1269" y="2193"/>
                  </a:lnTo>
                  <a:lnTo>
                    <a:pt x="1305" y="2211"/>
                  </a:lnTo>
                  <a:lnTo>
                    <a:pt x="1337" y="2231"/>
                  </a:lnTo>
                  <a:lnTo>
                    <a:pt x="1369" y="2249"/>
                  </a:lnTo>
                  <a:lnTo>
                    <a:pt x="1385" y="2257"/>
                  </a:lnTo>
                  <a:lnTo>
                    <a:pt x="1403" y="2264"/>
                  </a:lnTo>
                  <a:lnTo>
                    <a:pt x="1421" y="2270"/>
                  </a:lnTo>
                  <a:lnTo>
                    <a:pt x="1441" y="2275"/>
                  </a:lnTo>
                  <a:lnTo>
                    <a:pt x="1463" y="2278"/>
                  </a:lnTo>
                  <a:lnTo>
                    <a:pt x="1488" y="2280"/>
                  </a:lnTo>
                  <a:lnTo>
                    <a:pt x="1488" y="2280"/>
                  </a:lnTo>
                  <a:lnTo>
                    <a:pt x="1488" y="2280"/>
                  </a:lnTo>
                  <a:lnTo>
                    <a:pt x="1513" y="2278"/>
                  </a:lnTo>
                  <a:lnTo>
                    <a:pt x="1534" y="2275"/>
                  </a:lnTo>
                  <a:lnTo>
                    <a:pt x="1555" y="2270"/>
                  </a:lnTo>
                  <a:lnTo>
                    <a:pt x="1573" y="2264"/>
                  </a:lnTo>
                  <a:lnTo>
                    <a:pt x="1591" y="2257"/>
                  </a:lnTo>
                  <a:lnTo>
                    <a:pt x="1607" y="2249"/>
                  </a:lnTo>
                  <a:lnTo>
                    <a:pt x="1639" y="2231"/>
                  </a:lnTo>
                  <a:lnTo>
                    <a:pt x="1671" y="2211"/>
                  </a:lnTo>
                  <a:lnTo>
                    <a:pt x="1707" y="2193"/>
                  </a:lnTo>
                  <a:lnTo>
                    <a:pt x="1729" y="2183"/>
                  </a:lnTo>
                  <a:lnTo>
                    <a:pt x="1752" y="2175"/>
                  </a:lnTo>
                  <a:lnTo>
                    <a:pt x="1776" y="2169"/>
                  </a:lnTo>
                  <a:lnTo>
                    <a:pt x="1804" y="2162"/>
                  </a:lnTo>
                  <a:lnTo>
                    <a:pt x="1804" y="2162"/>
                  </a:lnTo>
                  <a:lnTo>
                    <a:pt x="1830" y="2159"/>
                  </a:lnTo>
                  <a:lnTo>
                    <a:pt x="1855" y="2159"/>
                  </a:lnTo>
                  <a:lnTo>
                    <a:pt x="1879" y="2159"/>
                  </a:lnTo>
                  <a:lnTo>
                    <a:pt x="1901" y="2161"/>
                  </a:lnTo>
                  <a:lnTo>
                    <a:pt x="1945" y="2167"/>
                  </a:lnTo>
                  <a:lnTo>
                    <a:pt x="1984" y="2174"/>
                  </a:lnTo>
                  <a:lnTo>
                    <a:pt x="2025" y="2179"/>
                  </a:lnTo>
                  <a:lnTo>
                    <a:pt x="2045" y="2180"/>
                  </a:lnTo>
                  <a:lnTo>
                    <a:pt x="2064" y="2182"/>
                  </a:lnTo>
                  <a:lnTo>
                    <a:pt x="2085" y="2182"/>
                  </a:lnTo>
                  <a:lnTo>
                    <a:pt x="2107" y="2179"/>
                  </a:lnTo>
                  <a:lnTo>
                    <a:pt x="2130" y="2175"/>
                  </a:lnTo>
                  <a:lnTo>
                    <a:pt x="2153" y="2169"/>
                  </a:lnTo>
                  <a:lnTo>
                    <a:pt x="2153" y="2169"/>
                  </a:lnTo>
                  <a:lnTo>
                    <a:pt x="2172" y="2161"/>
                  </a:lnTo>
                  <a:lnTo>
                    <a:pt x="2190" y="2151"/>
                  </a:lnTo>
                  <a:lnTo>
                    <a:pt x="2207" y="2139"/>
                  </a:lnTo>
                  <a:lnTo>
                    <a:pt x="2223" y="2128"/>
                  </a:lnTo>
                  <a:lnTo>
                    <a:pt x="2238" y="2115"/>
                  </a:lnTo>
                  <a:lnTo>
                    <a:pt x="2251" y="2100"/>
                  </a:lnTo>
                  <a:lnTo>
                    <a:pt x="2277" y="2070"/>
                  </a:lnTo>
                  <a:lnTo>
                    <a:pt x="2303" y="2039"/>
                  </a:lnTo>
                  <a:lnTo>
                    <a:pt x="2333" y="2008"/>
                  </a:lnTo>
                  <a:lnTo>
                    <a:pt x="2347" y="1992"/>
                  </a:lnTo>
                  <a:lnTo>
                    <a:pt x="2364" y="1977"/>
                  </a:lnTo>
                  <a:lnTo>
                    <a:pt x="2383" y="1962"/>
                  </a:lnTo>
                  <a:lnTo>
                    <a:pt x="2403" y="1946"/>
                  </a:lnTo>
                  <a:lnTo>
                    <a:pt x="2403" y="1946"/>
                  </a:lnTo>
                  <a:lnTo>
                    <a:pt x="2424" y="1935"/>
                  </a:lnTo>
                  <a:lnTo>
                    <a:pt x="2447" y="1925"/>
                  </a:lnTo>
                  <a:lnTo>
                    <a:pt x="2469" y="1915"/>
                  </a:lnTo>
                  <a:lnTo>
                    <a:pt x="2490" y="1908"/>
                  </a:lnTo>
                  <a:lnTo>
                    <a:pt x="2531" y="1895"/>
                  </a:lnTo>
                  <a:lnTo>
                    <a:pt x="2572" y="1884"/>
                  </a:lnTo>
                  <a:lnTo>
                    <a:pt x="2611" y="1871"/>
                  </a:lnTo>
                  <a:lnTo>
                    <a:pt x="2631" y="1864"/>
                  </a:lnTo>
                  <a:lnTo>
                    <a:pt x="2649" y="1856"/>
                  </a:lnTo>
                  <a:lnTo>
                    <a:pt x="2668" y="1846"/>
                  </a:lnTo>
                  <a:lnTo>
                    <a:pt x="2686" y="1835"/>
                  </a:lnTo>
                  <a:lnTo>
                    <a:pt x="2704" y="1822"/>
                  </a:lnTo>
                  <a:lnTo>
                    <a:pt x="2722" y="1807"/>
                  </a:lnTo>
                  <a:lnTo>
                    <a:pt x="2722" y="1807"/>
                  </a:lnTo>
                  <a:lnTo>
                    <a:pt x="2735" y="1787"/>
                  </a:lnTo>
                  <a:lnTo>
                    <a:pt x="2747" y="1768"/>
                  </a:lnTo>
                  <a:lnTo>
                    <a:pt x="2757" y="1750"/>
                  </a:lnTo>
                  <a:lnTo>
                    <a:pt x="2765" y="1730"/>
                  </a:lnTo>
                  <a:lnTo>
                    <a:pt x="2771" y="1710"/>
                  </a:lnTo>
                  <a:lnTo>
                    <a:pt x="2776" y="1689"/>
                  </a:lnTo>
                  <a:lnTo>
                    <a:pt x="2784" y="1648"/>
                  </a:lnTo>
                  <a:lnTo>
                    <a:pt x="2798" y="1560"/>
                  </a:lnTo>
                  <a:lnTo>
                    <a:pt x="2806" y="1512"/>
                  </a:lnTo>
                  <a:lnTo>
                    <a:pt x="2812" y="1488"/>
                  </a:lnTo>
                  <a:lnTo>
                    <a:pt x="2820" y="1462"/>
                  </a:lnTo>
                  <a:lnTo>
                    <a:pt x="2820" y="1462"/>
                  </a:lnTo>
                  <a:lnTo>
                    <a:pt x="2832" y="1437"/>
                  </a:lnTo>
                  <a:lnTo>
                    <a:pt x="2843" y="1414"/>
                  </a:lnTo>
                  <a:lnTo>
                    <a:pt x="2857" y="1393"/>
                  </a:lnTo>
                  <a:lnTo>
                    <a:pt x="2868" y="1372"/>
                  </a:lnTo>
                  <a:lnTo>
                    <a:pt x="2894" y="1336"/>
                  </a:lnTo>
                  <a:lnTo>
                    <a:pt x="2919" y="1300"/>
                  </a:lnTo>
                  <a:lnTo>
                    <a:pt x="2942" y="1264"/>
                  </a:lnTo>
                  <a:lnTo>
                    <a:pt x="2951" y="1246"/>
                  </a:lnTo>
                  <a:lnTo>
                    <a:pt x="2960" y="1228"/>
                  </a:lnTo>
                  <a:lnTo>
                    <a:pt x="2966" y="1208"/>
                  </a:lnTo>
                  <a:lnTo>
                    <a:pt x="2971" y="1187"/>
                  </a:lnTo>
                  <a:lnTo>
                    <a:pt x="2974" y="1164"/>
                  </a:lnTo>
                  <a:lnTo>
                    <a:pt x="2976" y="1139"/>
                  </a:lnTo>
                  <a:lnTo>
                    <a:pt x="2976" y="1139"/>
                  </a:lnTo>
                  <a:lnTo>
                    <a:pt x="2974" y="1115"/>
                  </a:lnTo>
                  <a:lnTo>
                    <a:pt x="2971" y="1092"/>
                  </a:lnTo>
                  <a:lnTo>
                    <a:pt x="2966" y="1070"/>
                  </a:lnTo>
                  <a:lnTo>
                    <a:pt x="2960" y="1051"/>
                  </a:lnTo>
                  <a:lnTo>
                    <a:pt x="2951" y="1031"/>
                  </a:lnTo>
                  <a:lnTo>
                    <a:pt x="2942" y="1013"/>
                  </a:lnTo>
                  <a:lnTo>
                    <a:pt x="2919" y="979"/>
                  </a:lnTo>
                  <a:lnTo>
                    <a:pt x="2894" y="943"/>
                  </a:lnTo>
                  <a:lnTo>
                    <a:pt x="2868" y="907"/>
                  </a:lnTo>
                  <a:lnTo>
                    <a:pt x="2857" y="887"/>
                  </a:lnTo>
                  <a:lnTo>
                    <a:pt x="2843" y="866"/>
                  </a:lnTo>
                  <a:lnTo>
                    <a:pt x="2832" y="843"/>
                  </a:lnTo>
                  <a:lnTo>
                    <a:pt x="2820" y="818"/>
                  </a:lnTo>
                  <a:lnTo>
                    <a:pt x="2820" y="818"/>
                  </a:lnTo>
                  <a:close/>
                  <a:moveTo>
                    <a:pt x="1488" y="2030"/>
                  </a:moveTo>
                  <a:lnTo>
                    <a:pt x="1488" y="2030"/>
                  </a:lnTo>
                  <a:lnTo>
                    <a:pt x="1419" y="2028"/>
                  </a:lnTo>
                  <a:lnTo>
                    <a:pt x="1350" y="2025"/>
                  </a:lnTo>
                  <a:lnTo>
                    <a:pt x="1285" y="2018"/>
                  </a:lnTo>
                  <a:lnTo>
                    <a:pt x="1221" y="2012"/>
                  </a:lnTo>
                  <a:lnTo>
                    <a:pt x="1157" y="2002"/>
                  </a:lnTo>
                  <a:lnTo>
                    <a:pt x="1097" y="1990"/>
                  </a:lnTo>
                  <a:lnTo>
                    <a:pt x="1036" y="1976"/>
                  </a:lnTo>
                  <a:lnTo>
                    <a:pt x="979" y="1961"/>
                  </a:lnTo>
                  <a:lnTo>
                    <a:pt x="923" y="1943"/>
                  </a:lnTo>
                  <a:lnTo>
                    <a:pt x="869" y="1923"/>
                  </a:lnTo>
                  <a:lnTo>
                    <a:pt x="817" y="1902"/>
                  </a:lnTo>
                  <a:lnTo>
                    <a:pt x="768" y="1879"/>
                  </a:lnTo>
                  <a:lnTo>
                    <a:pt x="719" y="1854"/>
                  </a:lnTo>
                  <a:lnTo>
                    <a:pt x="673" y="1828"/>
                  </a:lnTo>
                  <a:lnTo>
                    <a:pt x="629" y="1800"/>
                  </a:lnTo>
                  <a:lnTo>
                    <a:pt x="586" y="1771"/>
                  </a:lnTo>
                  <a:lnTo>
                    <a:pt x="547" y="1742"/>
                  </a:lnTo>
                  <a:lnTo>
                    <a:pt x="509" y="1709"/>
                  </a:lnTo>
                  <a:lnTo>
                    <a:pt x="475" y="1674"/>
                  </a:lnTo>
                  <a:lnTo>
                    <a:pt x="442" y="1640"/>
                  </a:lnTo>
                  <a:lnTo>
                    <a:pt x="411" y="1604"/>
                  </a:lnTo>
                  <a:lnTo>
                    <a:pt x="383" y="1566"/>
                  </a:lnTo>
                  <a:lnTo>
                    <a:pt x="357" y="1529"/>
                  </a:lnTo>
                  <a:lnTo>
                    <a:pt x="334" y="1489"/>
                  </a:lnTo>
                  <a:lnTo>
                    <a:pt x="314" y="1449"/>
                  </a:lnTo>
                  <a:lnTo>
                    <a:pt x="296" y="1408"/>
                  </a:lnTo>
                  <a:lnTo>
                    <a:pt x="280" y="1365"/>
                  </a:lnTo>
                  <a:lnTo>
                    <a:pt x="267" y="1321"/>
                  </a:lnTo>
                  <a:lnTo>
                    <a:pt x="257" y="1277"/>
                  </a:lnTo>
                  <a:lnTo>
                    <a:pt x="250" y="1232"/>
                  </a:lnTo>
                  <a:lnTo>
                    <a:pt x="246" y="1187"/>
                  </a:lnTo>
                  <a:lnTo>
                    <a:pt x="246" y="1139"/>
                  </a:lnTo>
                  <a:lnTo>
                    <a:pt x="246" y="1139"/>
                  </a:lnTo>
                  <a:lnTo>
                    <a:pt x="246" y="1093"/>
                  </a:lnTo>
                  <a:lnTo>
                    <a:pt x="250" y="1048"/>
                  </a:lnTo>
                  <a:lnTo>
                    <a:pt x="257" y="1002"/>
                  </a:lnTo>
                  <a:lnTo>
                    <a:pt x="267" y="958"/>
                  </a:lnTo>
                  <a:lnTo>
                    <a:pt x="280" y="915"/>
                  </a:lnTo>
                  <a:lnTo>
                    <a:pt x="296" y="872"/>
                  </a:lnTo>
                  <a:lnTo>
                    <a:pt x="314" y="831"/>
                  </a:lnTo>
                  <a:lnTo>
                    <a:pt x="334" y="791"/>
                  </a:lnTo>
                  <a:lnTo>
                    <a:pt x="357" y="751"/>
                  </a:lnTo>
                  <a:lnTo>
                    <a:pt x="383" y="712"/>
                  </a:lnTo>
                  <a:lnTo>
                    <a:pt x="411" y="674"/>
                  </a:lnTo>
                  <a:lnTo>
                    <a:pt x="442" y="638"/>
                  </a:lnTo>
                  <a:lnTo>
                    <a:pt x="475" y="604"/>
                  </a:lnTo>
                  <a:lnTo>
                    <a:pt x="509" y="571"/>
                  </a:lnTo>
                  <a:lnTo>
                    <a:pt x="547" y="538"/>
                  </a:lnTo>
                  <a:lnTo>
                    <a:pt x="588" y="507"/>
                  </a:lnTo>
                  <a:lnTo>
                    <a:pt x="629" y="480"/>
                  </a:lnTo>
                  <a:lnTo>
                    <a:pt x="673" y="452"/>
                  </a:lnTo>
                  <a:lnTo>
                    <a:pt x="719" y="426"/>
                  </a:lnTo>
                  <a:lnTo>
                    <a:pt x="768" y="401"/>
                  </a:lnTo>
                  <a:lnTo>
                    <a:pt x="817" y="378"/>
                  </a:lnTo>
                  <a:lnTo>
                    <a:pt x="869" y="357"/>
                  </a:lnTo>
                  <a:lnTo>
                    <a:pt x="923" y="337"/>
                  </a:lnTo>
                  <a:lnTo>
                    <a:pt x="979" y="319"/>
                  </a:lnTo>
                  <a:lnTo>
                    <a:pt x="1036" y="303"/>
                  </a:lnTo>
                  <a:lnTo>
                    <a:pt x="1097" y="290"/>
                  </a:lnTo>
                  <a:lnTo>
                    <a:pt x="1157" y="278"/>
                  </a:lnTo>
                  <a:lnTo>
                    <a:pt x="1221" y="268"/>
                  </a:lnTo>
                  <a:lnTo>
                    <a:pt x="1285" y="260"/>
                  </a:lnTo>
                  <a:lnTo>
                    <a:pt x="1350" y="255"/>
                  </a:lnTo>
                  <a:lnTo>
                    <a:pt x="1419" y="252"/>
                  </a:lnTo>
                  <a:lnTo>
                    <a:pt x="1488" y="250"/>
                  </a:lnTo>
                  <a:lnTo>
                    <a:pt x="1488" y="250"/>
                  </a:lnTo>
                  <a:lnTo>
                    <a:pt x="1557" y="252"/>
                  </a:lnTo>
                  <a:lnTo>
                    <a:pt x="1626" y="255"/>
                  </a:lnTo>
                  <a:lnTo>
                    <a:pt x="1691" y="260"/>
                  </a:lnTo>
                  <a:lnTo>
                    <a:pt x="1756" y="268"/>
                  </a:lnTo>
                  <a:lnTo>
                    <a:pt x="1819" y="278"/>
                  </a:lnTo>
                  <a:lnTo>
                    <a:pt x="1879" y="290"/>
                  </a:lnTo>
                  <a:lnTo>
                    <a:pt x="1940" y="303"/>
                  </a:lnTo>
                  <a:lnTo>
                    <a:pt x="1997" y="319"/>
                  </a:lnTo>
                  <a:lnTo>
                    <a:pt x="2053" y="337"/>
                  </a:lnTo>
                  <a:lnTo>
                    <a:pt x="2107" y="357"/>
                  </a:lnTo>
                  <a:lnTo>
                    <a:pt x="2159" y="378"/>
                  </a:lnTo>
                  <a:lnTo>
                    <a:pt x="2210" y="401"/>
                  </a:lnTo>
                  <a:lnTo>
                    <a:pt x="2257" y="426"/>
                  </a:lnTo>
                  <a:lnTo>
                    <a:pt x="2303" y="452"/>
                  </a:lnTo>
                  <a:lnTo>
                    <a:pt x="2347" y="480"/>
                  </a:lnTo>
                  <a:lnTo>
                    <a:pt x="2390" y="507"/>
                  </a:lnTo>
                  <a:lnTo>
                    <a:pt x="2429" y="538"/>
                  </a:lnTo>
                  <a:lnTo>
                    <a:pt x="2467" y="571"/>
                  </a:lnTo>
                  <a:lnTo>
                    <a:pt x="2501" y="604"/>
                  </a:lnTo>
                  <a:lnTo>
                    <a:pt x="2534" y="638"/>
                  </a:lnTo>
                  <a:lnTo>
                    <a:pt x="2565" y="674"/>
                  </a:lnTo>
                  <a:lnTo>
                    <a:pt x="2593" y="712"/>
                  </a:lnTo>
                  <a:lnTo>
                    <a:pt x="2619" y="751"/>
                  </a:lnTo>
                  <a:lnTo>
                    <a:pt x="2642" y="791"/>
                  </a:lnTo>
                  <a:lnTo>
                    <a:pt x="2662" y="831"/>
                  </a:lnTo>
                  <a:lnTo>
                    <a:pt x="2680" y="872"/>
                  </a:lnTo>
                  <a:lnTo>
                    <a:pt x="2696" y="915"/>
                  </a:lnTo>
                  <a:lnTo>
                    <a:pt x="2708" y="958"/>
                  </a:lnTo>
                  <a:lnTo>
                    <a:pt x="2717" y="1002"/>
                  </a:lnTo>
                  <a:lnTo>
                    <a:pt x="2726" y="1048"/>
                  </a:lnTo>
                  <a:lnTo>
                    <a:pt x="2729" y="1093"/>
                  </a:lnTo>
                  <a:lnTo>
                    <a:pt x="2730" y="1139"/>
                  </a:lnTo>
                  <a:lnTo>
                    <a:pt x="2730" y="1139"/>
                  </a:lnTo>
                  <a:lnTo>
                    <a:pt x="2729" y="1187"/>
                  </a:lnTo>
                  <a:lnTo>
                    <a:pt x="2726" y="1232"/>
                  </a:lnTo>
                  <a:lnTo>
                    <a:pt x="2717" y="1277"/>
                  </a:lnTo>
                  <a:lnTo>
                    <a:pt x="2708" y="1321"/>
                  </a:lnTo>
                  <a:lnTo>
                    <a:pt x="2696" y="1365"/>
                  </a:lnTo>
                  <a:lnTo>
                    <a:pt x="2680" y="1408"/>
                  </a:lnTo>
                  <a:lnTo>
                    <a:pt x="2662" y="1449"/>
                  </a:lnTo>
                  <a:lnTo>
                    <a:pt x="2642" y="1489"/>
                  </a:lnTo>
                  <a:lnTo>
                    <a:pt x="2619" y="1529"/>
                  </a:lnTo>
                  <a:lnTo>
                    <a:pt x="2593" y="1566"/>
                  </a:lnTo>
                  <a:lnTo>
                    <a:pt x="2565" y="1604"/>
                  </a:lnTo>
                  <a:lnTo>
                    <a:pt x="2534" y="1640"/>
                  </a:lnTo>
                  <a:lnTo>
                    <a:pt x="2501" y="1674"/>
                  </a:lnTo>
                  <a:lnTo>
                    <a:pt x="2465" y="1709"/>
                  </a:lnTo>
                  <a:lnTo>
                    <a:pt x="2429" y="1742"/>
                  </a:lnTo>
                  <a:lnTo>
                    <a:pt x="2388" y="1771"/>
                  </a:lnTo>
                  <a:lnTo>
                    <a:pt x="2347" y="1800"/>
                  </a:lnTo>
                  <a:lnTo>
                    <a:pt x="2303" y="1828"/>
                  </a:lnTo>
                  <a:lnTo>
                    <a:pt x="2257" y="1854"/>
                  </a:lnTo>
                  <a:lnTo>
                    <a:pt x="2208" y="1879"/>
                  </a:lnTo>
                  <a:lnTo>
                    <a:pt x="2159" y="1902"/>
                  </a:lnTo>
                  <a:lnTo>
                    <a:pt x="2107" y="1923"/>
                  </a:lnTo>
                  <a:lnTo>
                    <a:pt x="2053" y="1943"/>
                  </a:lnTo>
                  <a:lnTo>
                    <a:pt x="1997" y="1961"/>
                  </a:lnTo>
                  <a:lnTo>
                    <a:pt x="1938" y="1976"/>
                  </a:lnTo>
                  <a:lnTo>
                    <a:pt x="1879" y="1990"/>
                  </a:lnTo>
                  <a:lnTo>
                    <a:pt x="1819" y="2002"/>
                  </a:lnTo>
                  <a:lnTo>
                    <a:pt x="1755" y="2012"/>
                  </a:lnTo>
                  <a:lnTo>
                    <a:pt x="1691" y="2018"/>
                  </a:lnTo>
                  <a:lnTo>
                    <a:pt x="1624" y="2025"/>
                  </a:lnTo>
                  <a:lnTo>
                    <a:pt x="1557" y="2028"/>
                  </a:lnTo>
                  <a:lnTo>
                    <a:pt x="1488" y="2030"/>
                  </a:lnTo>
                  <a:lnTo>
                    <a:pt x="1488" y="20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5" name="Freeform 18"/>
            <p:cNvSpPr>
              <a:spLocks/>
            </p:cNvSpPr>
            <p:nvPr/>
          </p:nvSpPr>
          <p:spPr bwMode="auto">
            <a:xfrm>
              <a:off x="7856254" y="5908560"/>
              <a:ext cx="206927" cy="269362"/>
            </a:xfrm>
            <a:custGeom>
              <a:avLst/>
              <a:gdLst>
                <a:gd name="T0" fmla="*/ 4 w 698"/>
                <a:gd name="T1" fmla="*/ 404 h 907"/>
                <a:gd name="T2" fmla="*/ 18 w 698"/>
                <a:gd name="T3" fmla="*/ 309 h 907"/>
                <a:gd name="T4" fmla="*/ 48 w 698"/>
                <a:gd name="T5" fmla="*/ 226 h 907"/>
                <a:gd name="T6" fmla="*/ 89 w 698"/>
                <a:gd name="T7" fmla="*/ 154 h 907"/>
                <a:gd name="T8" fmla="*/ 143 w 698"/>
                <a:gd name="T9" fmla="*/ 95 h 907"/>
                <a:gd name="T10" fmla="*/ 207 w 698"/>
                <a:gd name="T11" fmla="*/ 49 h 907"/>
                <a:gd name="T12" fmla="*/ 279 w 698"/>
                <a:gd name="T13" fmla="*/ 18 h 907"/>
                <a:gd name="T14" fmla="*/ 359 w 698"/>
                <a:gd name="T15" fmla="*/ 1 h 907"/>
                <a:gd name="T16" fmla="*/ 428 w 698"/>
                <a:gd name="T17" fmla="*/ 0 h 907"/>
                <a:gd name="T18" fmla="*/ 519 w 698"/>
                <a:gd name="T19" fmla="*/ 16 h 907"/>
                <a:gd name="T20" fmla="*/ 573 w 698"/>
                <a:gd name="T21" fmla="*/ 37 h 907"/>
                <a:gd name="T22" fmla="*/ 593 w 698"/>
                <a:gd name="T23" fmla="*/ 37 h 907"/>
                <a:gd name="T24" fmla="*/ 611 w 698"/>
                <a:gd name="T25" fmla="*/ 16 h 907"/>
                <a:gd name="T26" fmla="*/ 621 w 698"/>
                <a:gd name="T27" fmla="*/ 6 h 907"/>
                <a:gd name="T28" fmla="*/ 681 w 698"/>
                <a:gd name="T29" fmla="*/ 6 h 907"/>
                <a:gd name="T30" fmla="*/ 689 w 698"/>
                <a:gd name="T31" fmla="*/ 245 h 907"/>
                <a:gd name="T32" fmla="*/ 681 w 698"/>
                <a:gd name="T33" fmla="*/ 258 h 907"/>
                <a:gd name="T34" fmla="*/ 621 w 698"/>
                <a:gd name="T35" fmla="*/ 258 h 907"/>
                <a:gd name="T36" fmla="*/ 613 w 698"/>
                <a:gd name="T37" fmla="*/ 247 h 907"/>
                <a:gd name="T38" fmla="*/ 586 w 698"/>
                <a:gd name="T39" fmla="*/ 160 h 907"/>
                <a:gd name="T40" fmla="*/ 550 w 698"/>
                <a:gd name="T41" fmla="*/ 111 h 907"/>
                <a:gd name="T42" fmla="*/ 495 w 698"/>
                <a:gd name="T43" fmla="*/ 82 h 907"/>
                <a:gd name="T44" fmla="*/ 436 w 698"/>
                <a:gd name="T45" fmla="*/ 75 h 907"/>
                <a:gd name="T46" fmla="*/ 383 w 698"/>
                <a:gd name="T47" fmla="*/ 87 h 907"/>
                <a:gd name="T48" fmla="*/ 342 w 698"/>
                <a:gd name="T49" fmla="*/ 114 h 907"/>
                <a:gd name="T50" fmla="*/ 285 w 698"/>
                <a:gd name="T51" fmla="*/ 206 h 907"/>
                <a:gd name="T52" fmla="*/ 256 w 698"/>
                <a:gd name="T53" fmla="*/ 321 h 907"/>
                <a:gd name="T54" fmla="*/ 247 w 698"/>
                <a:gd name="T55" fmla="*/ 424 h 907"/>
                <a:gd name="T56" fmla="*/ 257 w 698"/>
                <a:gd name="T57" fmla="*/ 596 h 907"/>
                <a:gd name="T58" fmla="*/ 290 w 698"/>
                <a:gd name="T59" fmla="*/ 722 h 907"/>
                <a:gd name="T60" fmla="*/ 338 w 698"/>
                <a:gd name="T61" fmla="*/ 792 h 907"/>
                <a:gd name="T62" fmla="*/ 383 w 698"/>
                <a:gd name="T63" fmla="*/ 820 h 907"/>
                <a:gd name="T64" fmla="*/ 441 w 698"/>
                <a:gd name="T65" fmla="*/ 831 h 907"/>
                <a:gd name="T66" fmla="*/ 503 w 698"/>
                <a:gd name="T67" fmla="*/ 823 h 907"/>
                <a:gd name="T68" fmla="*/ 562 w 698"/>
                <a:gd name="T69" fmla="*/ 794 h 907"/>
                <a:gd name="T70" fmla="*/ 598 w 698"/>
                <a:gd name="T71" fmla="*/ 743 h 907"/>
                <a:gd name="T72" fmla="*/ 621 w 698"/>
                <a:gd name="T73" fmla="*/ 658 h 907"/>
                <a:gd name="T74" fmla="*/ 631 w 698"/>
                <a:gd name="T75" fmla="*/ 646 h 907"/>
                <a:gd name="T76" fmla="*/ 689 w 698"/>
                <a:gd name="T77" fmla="*/ 648 h 907"/>
                <a:gd name="T78" fmla="*/ 698 w 698"/>
                <a:gd name="T79" fmla="*/ 887 h 907"/>
                <a:gd name="T80" fmla="*/ 689 w 698"/>
                <a:gd name="T81" fmla="*/ 898 h 907"/>
                <a:gd name="T82" fmla="*/ 629 w 698"/>
                <a:gd name="T83" fmla="*/ 900 h 907"/>
                <a:gd name="T84" fmla="*/ 621 w 698"/>
                <a:gd name="T85" fmla="*/ 892 h 907"/>
                <a:gd name="T86" fmla="*/ 599 w 698"/>
                <a:gd name="T87" fmla="*/ 877 h 907"/>
                <a:gd name="T88" fmla="*/ 534 w 698"/>
                <a:gd name="T89" fmla="*/ 892 h 907"/>
                <a:gd name="T90" fmla="*/ 403 w 698"/>
                <a:gd name="T91" fmla="*/ 907 h 907"/>
                <a:gd name="T92" fmla="*/ 334 w 698"/>
                <a:gd name="T93" fmla="*/ 902 h 907"/>
                <a:gd name="T94" fmla="*/ 249 w 698"/>
                <a:gd name="T95" fmla="*/ 877 h 907"/>
                <a:gd name="T96" fmla="*/ 177 w 698"/>
                <a:gd name="T97" fmla="*/ 838 h 907"/>
                <a:gd name="T98" fmla="*/ 118 w 698"/>
                <a:gd name="T99" fmla="*/ 784 h 907"/>
                <a:gd name="T100" fmla="*/ 59 w 698"/>
                <a:gd name="T101" fmla="*/ 702 h 907"/>
                <a:gd name="T102" fmla="*/ 7 w 698"/>
                <a:gd name="T103" fmla="*/ 5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8" h="907">
                  <a:moveTo>
                    <a:pt x="0" y="455"/>
                  </a:moveTo>
                  <a:lnTo>
                    <a:pt x="0" y="455"/>
                  </a:lnTo>
                  <a:lnTo>
                    <a:pt x="2" y="429"/>
                  </a:lnTo>
                  <a:lnTo>
                    <a:pt x="4" y="404"/>
                  </a:lnTo>
                  <a:lnTo>
                    <a:pt x="5" y="378"/>
                  </a:lnTo>
                  <a:lnTo>
                    <a:pt x="8" y="355"/>
                  </a:lnTo>
                  <a:lnTo>
                    <a:pt x="13" y="332"/>
                  </a:lnTo>
                  <a:lnTo>
                    <a:pt x="18" y="309"/>
                  </a:lnTo>
                  <a:lnTo>
                    <a:pt x="25" y="286"/>
                  </a:lnTo>
                  <a:lnTo>
                    <a:pt x="31" y="265"/>
                  </a:lnTo>
                  <a:lnTo>
                    <a:pt x="38" y="245"/>
                  </a:lnTo>
                  <a:lnTo>
                    <a:pt x="48" y="226"/>
                  </a:lnTo>
                  <a:lnTo>
                    <a:pt x="56" y="206"/>
                  </a:lnTo>
                  <a:lnTo>
                    <a:pt x="67" y="188"/>
                  </a:lnTo>
                  <a:lnTo>
                    <a:pt x="77" y="170"/>
                  </a:lnTo>
                  <a:lnTo>
                    <a:pt x="89" y="154"/>
                  </a:lnTo>
                  <a:lnTo>
                    <a:pt x="102" y="137"/>
                  </a:lnTo>
                  <a:lnTo>
                    <a:pt x="115" y="123"/>
                  </a:lnTo>
                  <a:lnTo>
                    <a:pt x="128" y="108"/>
                  </a:lnTo>
                  <a:lnTo>
                    <a:pt x="143" y="95"/>
                  </a:lnTo>
                  <a:lnTo>
                    <a:pt x="157" y="82"/>
                  </a:lnTo>
                  <a:lnTo>
                    <a:pt x="174" y="70"/>
                  </a:lnTo>
                  <a:lnTo>
                    <a:pt x="190" y="59"/>
                  </a:lnTo>
                  <a:lnTo>
                    <a:pt x="207" y="49"/>
                  </a:lnTo>
                  <a:lnTo>
                    <a:pt x="225" y="39"/>
                  </a:lnTo>
                  <a:lnTo>
                    <a:pt x="243" y="31"/>
                  </a:lnTo>
                  <a:lnTo>
                    <a:pt x="261" y="24"/>
                  </a:lnTo>
                  <a:lnTo>
                    <a:pt x="279" y="18"/>
                  </a:lnTo>
                  <a:lnTo>
                    <a:pt x="298" y="11"/>
                  </a:lnTo>
                  <a:lnTo>
                    <a:pt x="318" y="8"/>
                  </a:lnTo>
                  <a:lnTo>
                    <a:pt x="339" y="3"/>
                  </a:lnTo>
                  <a:lnTo>
                    <a:pt x="359" y="1"/>
                  </a:lnTo>
                  <a:lnTo>
                    <a:pt x="380" y="0"/>
                  </a:lnTo>
                  <a:lnTo>
                    <a:pt x="401" y="0"/>
                  </a:lnTo>
                  <a:lnTo>
                    <a:pt x="401" y="0"/>
                  </a:lnTo>
                  <a:lnTo>
                    <a:pt x="428" y="0"/>
                  </a:lnTo>
                  <a:lnTo>
                    <a:pt x="452" y="1"/>
                  </a:lnTo>
                  <a:lnTo>
                    <a:pt x="472" y="5"/>
                  </a:lnTo>
                  <a:lnTo>
                    <a:pt x="490" y="8"/>
                  </a:lnTo>
                  <a:lnTo>
                    <a:pt x="519" y="16"/>
                  </a:lnTo>
                  <a:lnTo>
                    <a:pt x="541" y="24"/>
                  </a:lnTo>
                  <a:lnTo>
                    <a:pt x="541" y="24"/>
                  </a:lnTo>
                  <a:lnTo>
                    <a:pt x="563" y="34"/>
                  </a:lnTo>
                  <a:lnTo>
                    <a:pt x="573" y="37"/>
                  </a:lnTo>
                  <a:lnTo>
                    <a:pt x="583" y="39"/>
                  </a:lnTo>
                  <a:lnTo>
                    <a:pt x="583" y="39"/>
                  </a:lnTo>
                  <a:lnTo>
                    <a:pt x="588" y="39"/>
                  </a:lnTo>
                  <a:lnTo>
                    <a:pt x="593" y="37"/>
                  </a:lnTo>
                  <a:lnTo>
                    <a:pt x="598" y="36"/>
                  </a:lnTo>
                  <a:lnTo>
                    <a:pt x="601" y="33"/>
                  </a:lnTo>
                  <a:lnTo>
                    <a:pt x="608" y="24"/>
                  </a:lnTo>
                  <a:lnTo>
                    <a:pt x="611" y="16"/>
                  </a:lnTo>
                  <a:lnTo>
                    <a:pt x="611" y="16"/>
                  </a:lnTo>
                  <a:lnTo>
                    <a:pt x="614" y="11"/>
                  </a:lnTo>
                  <a:lnTo>
                    <a:pt x="617" y="8"/>
                  </a:lnTo>
                  <a:lnTo>
                    <a:pt x="621" y="6"/>
                  </a:lnTo>
                  <a:lnTo>
                    <a:pt x="624" y="5"/>
                  </a:lnTo>
                  <a:lnTo>
                    <a:pt x="676" y="5"/>
                  </a:lnTo>
                  <a:lnTo>
                    <a:pt x="676" y="5"/>
                  </a:lnTo>
                  <a:lnTo>
                    <a:pt x="681" y="6"/>
                  </a:lnTo>
                  <a:lnTo>
                    <a:pt x="686" y="8"/>
                  </a:lnTo>
                  <a:lnTo>
                    <a:pt x="688" y="13"/>
                  </a:lnTo>
                  <a:lnTo>
                    <a:pt x="689" y="18"/>
                  </a:lnTo>
                  <a:lnTo>
                    <a:pt x="689" y="245"/>
                  </a:lnTo>
                  <a:lnTo>
                    <a:pt x="689" y="245"/>
                  </a:lnTo>
                  <a:lnTo>
                    <a:pt x="688" y="250"/>
                  </a:lnTo>
                  <a:lnTo>
                    <a:pt x="686" y="255"/>
                  </a:lnTo>
                  <a:lnTo>
                    <a:pt x="681" y="258"/>
                  </a:lnTo>
                  <a:lnTo>
                    <a:pt x="676" y="258"/>
                  </a:lnTo>
                  <a:lnTo>
                    <a:pt x="626" y="258"/>
                  </a:lnTo>
                  <a:lnTo>
                    <a:pt x="626" y="258"/>
                  </a:lnTo>
                  <a:lnTo>
                    <a:pt x="621" y="258"/>
                  </a:lnTo>
                  <a:lnTo>
                    <a:pt x="617" y="257"/>
                  </a:lnTo>
                  <a:lnTo>
                    <a:pt x="614" y="252"/>
                  </a:lnTo>
                  <a:lnTo>
                    <a:pt x="613" y="247"/>
                  </a:lnTo>
                  <a:lnTo>
                    <a:pt x="613" y="247"/>
                  </a:lnTo>
                  <a:lnTo>
                    <a:pt x="604" y="209"/>
                  </a:lnTo>
                  <a:lnTo>
                    <a:pt x="599" y="191"/>
                  </a:lnTo>
                  <a:lnTo>
                    <a:pt x="593" y="175"/>
                  </a:lnTo>
                  <a:lnTo>
                    <a:pt x="586" y="160"/>
                  </a:lnTo>
                  <a:lnTo>
                    <a:pt x="580" y="145"/>
                  </a:lnTo>
                  <a:lnTo>
                    <a:pt x="572" y="132"/>
                  </a:lnTo>
                  <a:lnTo>
                    <a:pt x="562" y="121"/>
                  </a:lnTo>
                  <a:lnTo>
                    <a:pt x="550" y="111"/>
                  </a:lnTo>
                  <a:lnTo>
                    <a:pt x="539" y="101"/>
                  </a:lnTo>
                  <a:lnTo>
                    <a:pt x="526" y="93"/>
                  </a:lnTo>
                  <a:lnTo>
                    <a:pt x="511" y="87"/>
                  </a:lnTo>
                  <a:lnTo>
                    <a:pt x="495" y="82"/>
                  </a:lnTo>
                  <a:lnTo>
                    <a:pt x="477" y="78"/>
                  </a:lnTo>
                  <a:lnTo>
                    <a:pt x="457" y="77"/>
                  </a:lnTo>
                  <a:lnTo>
                    <a:pt x="436" y="75"/>
                  </a:lnTo>
                  <a:lnTo>
                    <a:pt x="436" y="75"/>
                  </a:lnTo>
                  <a:lnTo>
                    <a:pt x="421" y="77"/>
                  </a:lnTo>
                  <a:lnTo>
                    <a:pt x="408" y="78"/>
                  </a:lnTo>
                  <a:lnTo>
                    <a:pt x="395" y="82"/>
                  </a:lnTo>
                  <a:lnTo>
                    <a:pt x="383" y="87"/>
                  </a:lnTo>
                  <a:lnTo>
                    <a:pt x="372" y="91"/>
                  </a:lnTo>
                  <a:lnTo>
                    <a:pt x="362" y="98"/>
                  </a:lnTo>
                  <a:lnTo>
                    <a:pt x="352" y="105"/>
                  </a:lnTo>
                  <a:lnTo>
                    <a:pt x="342" y="114"/>
                  </a:lnTo>
                  <a:lnTo>
                    <a:pt x="324" y="132"/>
                  </a:lnTo>
                  <a:lnTo>
                    <a:pt x="310" y="155"/>
                  </a:lnTo>
                  <a:lnTo>
                    <a:pt x="297" y="180"/>
                  </a:lnTo>
                  <a:lnTo>
                    <a:pt x="285" y="206"/>
                  </a:lnTo>
                  <a:lnTo>
                    <a:pt x="275" y="234"/>
                  </a:lnTo>
                  <a:lnTo>
                    <a:pt x="267" y="263"/>
                  </a:lnTo>
                  <a:lnTo>
                    <a:pt x="261" y="291"/>
                  </a:lnTo>
                  <a:lnTo>
                    <a:pt x="256" y="321"/>
                  </a:lnTo>
                  <a:lnTo>
                    <a:pt x="252" y="348"/>
                  </a:lnTo>
                  <a:lnTo>
                    <a:pt x="249" y="375"/>
                  </a:lnTo>
                  <a:lnTo>
                    <a:pt x="247" y="424"/>
                  </a:lnTo>
                  <a:lnTo>
                    <a:pt x="247" y="424"/>
                  </a:lnTo>
                  <a:lnTo>
                    <a:pt x="249" y="491"/>
                  </a:lnTo>
                  <a:lnTo>
                    <a:pt x="251" y="525"/>
                  </a:lnTo>
                  <a:lnTo>
                    <a:pt x="254" y="561"/>
                  </a:lnTo>
                  <a:lnTo>
                    <a:pt x="257" y="596"/>
                  </a:lnTo>
                  <a:lnTo>
                    <a:pt x="264" y="628"/>
                  </a:lnTo>
                  <a:lnTo>
                    <a:pt x="270" y="661"/>
                  </a:lnTo>
                  <a:lnTo>
                    <a:pt x="280" y="692"/>
                  </a:lnTo>
                  <a:lnTo>
                    <a:pt x="290" y="722"/>
                  </a:lnTo>
                  <a:lnTo>
                    <a:pt x="303" y="748"/>
                  </a:lnTo>
                  <a:lnTo>
                    <a:pt x="320" y="772"/>
                  </a:lnTo>
                  <a:lnTo>
                    <a:pt x="328" y="782"/>
                  </a:lnTo>
                  <a:lnTo>
                    <a:pt x="338" y="792"/>
                  </a:lnTo>
                  <a:lnTo>
                    <a:pt x="347" y="800"/>
                  </a:lnTo>
                  <a:lnTo>
                    <a:pt x="359" y="808"/>
                  </a:lnTo>
                  <a:lnTo>
                    <a:pt x="370" y="815"/>
                  </a:lnTo>
                  <a:lnTo>
                    <a:pt x="383" y="820"/>
                  </a:lnTo>
                  <a:lnTo>
                    <a:pt x="396" y="825"/>
                  </a:lnTo>
                  <a:lnTo>
                    <a:pt x="411" y="828"/>
                  </a:lnTo>
                  <a:lnTo>
                    <a:pt x="426" y="830"/>
                  </a:lnTo>
                  <a:lnTo>
                    <a:pt x="441" y="831"/>
                  </a:lnTo>
                  <a:lnTo>
                    <a:pt x="441" y="831"/>
                  </a:lnTo>
                  <a:lnTo>
                    <a:pt x="464" y="830"/>
                  </a:lnTo>
                  <a:lnTo>
                    <a:pt x="485" y="828"/>
                  </a:lnTo>
                  <a:lnTo>
                    <a:pt x="503" y="823"/>
                  </a:lnTo>
                  <a:lnTo>
                    <a:pt x="521" y="818"/>
                  </a:lnTo>
                  <a:lnTo>
                    <a:pt x="536" y="812"/>
                  </a:lnTo>
                  <a:lnTo>
                    <a:pt x="549" y="803"/>
                  </a:lnTo>
                  <a:lnTo>
                    <a:pt x="562" y="794"/>
                  </a:lnTo>
                  <a:lnTo>
                    <a:pt x="572" y="782"/>
                  </a:lnTo>
                  <a:lnTo>
                    <a:pt x="581" y="771"/>
                  </a:lnTo>
                  <a:lnTo>
                    <a:pt x="590" y="758"/>
                  </a:lnTo>
                  <a:lnTo>
                    <a:pt x="598" y="743"/>
                  </a:lnTo>
                  <a:lnTo>
                    <a:pt x="603" y="728"/>
                  </a:lnTo>
                  <a:lnTo>
                    <a:pt x="609" y="712"/>
                  </a:lnTo>
                  <a:lnTo>
                    <a:pt x="614" y="695"/>
                  </a:lnTo>
                  <a:lnTo>
                    <a:pt x="621" y="658"/>
                  </a:lnTo>
                  <a:lnTo>
                    <a:pt x="621" y="658"/>
                  </a:lnTo>
                  <a:lnTo>
                    <a:pt x="622" y="653"/>
                  </a:lnTo>
                  <a:lnTo>
                    <a:pt x="626" y="648"/>
                  </a:lnTo>
                  <a:lnTo>
                    <a:pt x="631" y="646"/>
                  </a:lnTo>
                  <a:lnTo>
                    <a:pt x="634" y="646"/>
                  </a:lnTo>
                  <a:lnTo>
                    <a:pt x="685" y="646"/>
                  </a:lnTo>
                  <a:lnTo>
                    <a:pt x="685" y="646"/>
                  </a:lnTo>
                  <a:lnTo>
                    <a:pt x="689" y="648"/>
                  </a:lnTo>
                  <a:lnTo>
                    <a:pt x="694" y="650"/>
                  </a:lnTo>
                  <a:lnTo>
                    <a:pt x="696" y="654"/>
                  </a:lnTo>
                  <a:lnTo>
                    <a:pt x="698" y="659"/>
                  </a:lnTo>
                  <a:lnTo>
                    <a:pt x="698" y="887"/>
                  </a:lnTo>
                  <a:lnTo>
                    <a:pt x="698" y="887"/>
                  </a:lnTo>
                  <a:lnTo>
                    <a:pt x="696" y="892"/>
                  </a:lnTo>
                  <a:lnTo>
                    <a:pt x="694" y="897"/>
                  </a:lnTo>
                  <a:lnTo>
                    <a:pt x="689" y="898"/>
                  </a:lnTo>
                  <a:lnTo>
                    <a:pt x="685" y="900"/>
                  </a:lnTo>
                  <a:lnTo>
                    <a:pt x="632" y="900"/>
                  </a:lnTo>
                  <a:lnTo>
                    <a:pt x="632" y="900"/>
                  </a:lnTo>
                  <a:lnTo>
                    <a:pt x="629" y="900"/>
                  </a:lnTo>
                  <a:lnTo>
                    <a:pt x="626" y="898"/>
                  </a:lnTo>
                  <a:lnTo>
                    <a:pt x="622" y="895"/>
                  </a:lnTo>
                  <a:lnTo>
                    <a:pt x="621" y="892"/>
                  </a:lnTo>
                  <a:lnTo>
                    <a:pt x="621" y="892"/>
                  </a:lnTo>
                  <a:lnTo>
                    <a:pt x="617" y="887"/>
                  </a:lnTo>
                  <a:lnTo>
                    <a:pt x="613" y="882"/>
                  </a:lnTo>
                  <a:lnTo>
                    <a:pt x="608" y="877"/>
                  </a:lnTo>
                  <a:lnTo>
                    <a:pt x="599" y="877"/>
                  </a:lnTo>
                  <a:lnTo>
                    <a:pt x="599" y="877"/>
                  </a:lnTo>
                  <a:lnTo>
                    <a:pt x="588" y="877"/>
                  </a:lnTo>
                  <a:lnTo>
                    <a:pt x="573" y="880"/>
                  </a:lnTo>
                  <a:lnTo>
                    <a:pt x="534" y="892"/>
                  </a:lnTo>
                  <a:lnTo>
                    <a:pt x="509" y="897"/>
                  </a:lnTo>
                  <a:lnTo>
                    <a:pt x="478" y="902"/>
                  </a:lnTo>
                  <a:lnTo>
                    <a:pt x="444" y="905"/>
                  </a:lnTo>
                  <a:lnTo>
                    <a:pt x="403" y="907"/>
                  </a:lnTo>
                  <a:lnTo>
                    <a:pt x="403" y="907"/>
                  </a:lnTo>
                  <a:lnTo>
                    <a:pt x="380" y="907"/>
                  </a:lnTo>
                  <a:lnTo>
                    <a:pt x="356" y="903"/>
                  </a:lnTo>
                  <a:lnTo>
                    <a:pt x="334" y="902"/>
                  </a:lnTo>
                  <a:lnTo>
                    <a:pt x="311" y="897"/>
                  </a:lnTo>
                  <a:lnTo>
                    <a:pt x="290" y="892"/>
                  </a:lnTo>
                  <a:lnTo>
                    <a:pt x="270" y="885"/>
                  </a:lnTo>
                  <a:lnTo>
                    <a:pt x="249" y="877"/>
                  </a:lnTo>
                  <a:lnTo>
                    <a:pt x="231" y="869"/>
                  </a:lnTo>
                  <a:lnTo>
                    <a:pt x="213" y="859"/>
                  </a:lnTo>
                  <a:lnTo>
                    <a:pt x="195" y="849"/>
                  </a:lnTo>
                  <a:lnTo>
                    <a:pt x="177" y="838"/>
                  </a:lnTo>
                  <a:lnTo>
                    <a:pt x="162" y="826"/>
                  </a:lnTo>
                  <a:lnTo>
                    <a:pt x="146" y="813"/>
                  </a:lnTo>
                  <a:lnTo>
                    <a:pt x="131" y="799"/>
                  </a:lnTo>
                  <a:lnTo>
                    <a:pt x="118" y="784"/>
                  </a:lnTo>
                  <a:lnTo>
                    <a:pt x="105" y="769"/>
                  </a:lnTo>
                  <a:lnTo>
                    <a:pt x="92" y="753"/>
                  </a:lnTo>
                  <a:lnTo>
                    <a:pt x="81" y="736"/>
                  </a:lnTo>
                  <a:lnTo>
                    <a:pt x="59" y="702"/>
                  </a:lnTo>
                  <a:lnTo>
                    <a:pt x="41" y="664"/>
                  </a:lnTo>
                  <a:lnTo>
                    <a:pt x="26" y="625"/>
                  </a:lnTo>
                  <a:lnTo>
                    <a:pt x="15" y="584"/>
                  </a:lnTo>
                  <a:lnTo>
                    <a:pt x="7" y="542"/>
                  </a:lnTo>
                  <a:lnTo>
                    <a:pt x="2" y="499"/>
                  </a:lnTo>
                  <a:lnTo>
                    <a:pt x="0"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6" name="Freeform 20"/>
            <p:cNvSpPr>
              <a:spLocks noEditPoints="1"/>
            </p:cNvSpPr>
            <p:nvPr/>
          </p:nvSpPr>
          <p:spPr bwMode="auto">
            <a:xfrm>
              <a:off x="8051289" y="5957319"/>
              <a:ext cx="137357" cy="129032"/>
            </a:xfrm>
            <a:custGeom>
              <a:avLst/>
              <a:gdLst>
                <a:gd name="T0" fmla="*/ 345 w 461"/>
                <a:gd name="T1" fmla="*/ 187 h 436"/>
                <a:gd name="T2" fmla="*/ 339 w 461"/>
                <a:gd name="T3" fmla="*/ 194 h 436"/>
                <a:gd name="T4" fmla="*/ 291 w 461"/>
                <a:gd name="T5" fmla="*/ 290 h 436"/>
                <a:gd name="T6" fmla="*/ 263 w 461"/>
                <a:gd name="T7" fmla="*/ 179 h 436"/>
                <a:gd name="T8" fmla="*/ 316 w 461"/>
                <a:gd name="T9" fmla="*/ 128 h 436"/>
                <a:gd name="T10" fmla="*/ 325 w 461"/>
                <a:gd name="T11" fmla="*/ 94 h 436"/>
                <a:gd name="T12" fmla="*/ 321 w 461"/>
                <a:gd name="T13" fmla="*/ 64 h 436"/>
                <a:gd name="T14" fmla="*/ 299 w 461"/>
                <a:gd name="T15" fmla="*/ 32 h 436"/>
                <a:gd name="T16" fmla="*/ 257 w 461"/>
                <a:gd name="T17" fmla="*/ 7 h 436"/>
                <a:gd name="T18" fmla="*/ 186 w 461"/>
                <a:gd name="T19" fmla="*/ 2 h 436"/>
                <a:gd name="T20" fmla="*/ 131 w 461"/>
                <a:gd name="T21" fmla="*/ 22 h 436"/>
                <a:gd name="T22" fmla="*/ 98 w 461"/>
                <a:gd name="T23" fmla="*/ 51 h 436"/>
                <a:gd name="T24" fmla="*/ 83 w 461"/>
                <a:gd name="T25" fmla="*/ 97 h 436"/>
                <a:gd name="T26" fmla="*/ 85 w 461"/>
                <a:gd name="T27" fmla="*/ 133 h 436"/>
                <a:gd name="T28" fmla="*/ 111 w 461"/>
                <a:gd name="T29" fmla="*/ 187 h 436"/>
                <a:gd name="T30" fmla="*/ 54 w 461"/>
                <a:gd name="T31" fmla="*/ 217 h 436"/>
                <a:gd name="T32" fmla="*/ 10 w 461"/>
                <a:gd name="T33" fmla="*/ 269 h 436"/>
                <a:gd name="T34" fmla="*/ 0 w 461"/>
                <a:gd name="T35" fmla="*/ 315 h 436"/>
                <a:gd name="T36" fmla="*/ 8 w 461"/>
                <a:gd name="T37" fmla="*/ 354 h 436"/>
                <a:gd name="T38" fmla="*/ 36 w 461"/>
                <a:gd name="T39" fmla="*/ 395 h 436"/>
                <a:gd name="T40" fmla="*/ 80 w 461"/>
                <a:gd name="T41" fmla="*/ 423 h 436"/>
                <a:gd name="T42" fmla="*/ 137 w 461"/>
                <a:gd name="T43" fmla="*/ 434 h 436"/>
                <a:gd name="T44" fmla="*/ 195 w 461"/>
                <a:gd name="T45" fmla="*/ 431 h 436"/>
                <a:gd name="T46" fmla="*/ 255 w 461"/>
                <a:gd name="T47" fmla="*/ 410 h 436"/>
                <a:gd name="T48" fmla="*/ 294 w 461"/>
                <a:gd name="T49" fmla="*/ 416 h 436"/>
                <a:gd name="T50" fmla="*/ 350 w 461"/>
                <a:gd name="T51" fmla="*/ 426 h 436"/>
                <a:gd name="T52" fmla="*/ 401 w 461"/>
                <a:gd name="T53" fmla="*/ 424 h 436"/>
                <a:gd name="T54" fmla="*/ 416 w 461"/>
                <a:gd name="T55" fmla="*/ 388 h 436"/>
                <a:gd name="T56" fmla="*/ 416 w 461"/>
                <a:gd name="T57" fmla="*/ 380 h 436"/>
                <a:gd name="T58" fmla="*/ 389 w 461"/>
                <a:gd name="T59" fmla="*/ 379 h 436"/>
                <a:gd name="T60" fmla="*/ 343 w 461"/>
                <a:gd name="T61" fmla="*/ 362 h 436"/>
                <a:gd name="T62" fmla="*/ 327 w 461"/>
                <a:gd name="T63" fmla="*/ 344 h 436"/>
                <a:gd name="T64" fmla="*/ 375 w 461"/>
                <a:gd name="T65" fmla="*/ 289 h 436"/>
                <a:gd name="T66" fmla="*/ 404 w 461"/>
                <a:gd name="T67" fmla="*/ 243 h 436"/>
                <a:gd name="T68" fmla="*/ 435 w 461"/>
                <a:gd name="T69" fmla="*/ 233 h 436"/>
                <a:gd name="T70" fmla="*/ 445 w 461"/>
                <a:gd name="T71" fmla="*/ 228 h 436"/>
                <a:gd name="T72" fmla="*/ 461 w 461"/>
                <a:gd name="T73" fmla="*/ 190 h 436"/>
                <a:gd name="T74" fmla="*/ 452 w 461"/>
                <a:gd name="T75" fmla="*/ 187 h 436"/>
                <a:gd name="T76" fmla="*/ 226 w 461"/>
                <a:gd name="T77" fmla="*/ 43 h 436"/>
                <a:gd name="T78" fmla="*/ 244 w 461"/>
                <a:gd name="T79" fmla="*/ 68 h 436"/>
                <a:gd name="T80" fmla="*/ 244 w 461"/>
                <a:gd name="T81" fmla="*/ 95 h 436"/>
                <a:gd name="T82" fmla="*/ 226 w 461"/>
                <a:gd name="T83" fmla="*/ 135 h 436"/>
                <a:gd name="T84" fmla="*/ 196 w 461"/>
                <a:gd name="T85" fmla="*/ 158 h 436"/>
                <a:gd name="T86" fmla="*/ 170 w 461"/>
                <a:gd name="T87" fmla="*/ 84 h 436"/>
                <a:gd name="T88" fmla="*/ 175 w 461"/>
                <a:gd name="T89" fmla="*/ 59 h 436"/>
                <a:gd name="T90" fmla="*/ 201 w 461"/>
                <a:gd name="T91" fmla="*/ 40 h 436"/>
                <a:gd name="T92" fmla="*/ 167 w 461"/>
                <a:gd name="T93" fmla="*/ 388 h 436"/>
                <a:gd name="T94" fmla="*/ 113 w 461"/>
                <a:gd name="T95" fmla="*/ 367 h 436"/>
                <a:gd name="T96" fmla="*/ 91 w 461"/>
                <a:gd name="T97" fmla="*/ 310 h 436"/>
                <a:gd name="T98" fmla="*/ 100 w 461"/>
                <a:gd name="T99" fmla="*/ 275 h 436"/>
                <a:gd name="T100" fmla="*/ 127 w 461"/>
                <a:gd name="T101" fmla="*/ 235 h 436"/>
                <a:gd name="T102" fmla="*/ 217 w 461"/>
                <a:gd name="T103" fmla="*/ 369 h 436"/>
                <a:gd name="T104" fmla="*/ 177 w 461"/>
                <a:gd name="T105" fmla="*/ 38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1" h="436">
                  <a:moveTo>
                    <a:pt x="452" y="187"/>
                  </a:moveTo>
                  <a:lnTo>
                    <a:pt x="350" y="187"/>
                  </a:lnTo>
                  <a:lnTo>
                    <a:pt x="350" y="187"/>
                  </a:lnTo>
                  <a:lnTo>
                    <a:pt x="345" y="187"/>
                  </a:lnTo>
                  <a:lnTo>
                    <a:pt x="340" y="189"/>
                  </a:lnTo>
                  <a:lnTo>
                    <a:pt x="339" y="190"/>
                  </a:lnTo>
                  <a:lnTo>
                    <a:pt x="339" y="194"/>
                  </a:lnTo>
                  <a:lnTo>
                    <a:pt x="339" y="194"/>
                  </a:lnTo>
                  <a:lnTo>
                    <a:pt x="330" y="218"/>
                  </a:lnTo>
                  <a:lnTo>
                    <a:pt x="321" y="241"/>
                  </a:lnTo>
                  <a:lnTo>
                    <a:pt x="307" y="266"/>
                  </a:lnTo>
                  <a:lnTo>
                    <a:pt x="291" y="290"/>
                  </a:lnTo>
                  <a:lnTo>
                    <a:pt x="229" y="197"/>
                  </a:lnTo>
                  <a:lnTo>
                    <a:pt x="229" y="197"/>
                  </a:lnTo>
                  <a:lnTo>
                    <a:pt x="245" y="189"/>
                  </a:lnTo>
                  <a:lnTo>
                    <a:pt x="263" y="179"/>
                  </a:lnTo>
                  <a:lnTo>
                    <a:pt x="280" y="169"/>
                  </a:lnTo>
                  <a:lnTo>
                    <a:pt x="294" y="156"/>
                  </a:lnTo>
                  <a:lnTo>
                    <a:pt x="306" y="143"/>
                  </a:lnTo>
                  <a:lnTo>
                    <a:pt x="316" y="128"/>
                  </a:lnTo>
                  <a:lnTo>
                    <a:pt x="321" y="122"/>
                  </a:lnTo>
                  <a:lnTo>
                    <a:pt x="322" y="112"/>
                  </a:lnTo>
                  <a:lnTo>
                    <a:pt x="324" y="104"/>
                  </a:lnTo>
                  <a:lnTo>
                    <a:pt x="325" y="94"/>
                  </a:lnTo>
                  <a:lnTo>
                    <a:pt x="325" y="94"/>
                  </a:lnTo>
                  <a:lnTo>
                    <a:pt x="324" y="84"/>
                  </a:lnTo>
                  <a:lnTo>
                    <a:pt x="322" y="74"/>
                  </a:lnTo>
                  <a:lnTo>
                    <a:pt x="321" y="64"/>
                  </a:lnTo>
                  <a:lnTo>
                    <a:pt x="317" y="56"/>
                  </a:lnTo>
                  <a:lnTo>
                    <a:pt x="312" y="46"/>
                  </a:lnTo>
                  <a:lnTo>
                    <a:pt x="306" y="40"/>
                  </a:lnTo>
                  <a:lnTo>
                    <a:pt x="299" y="32"/>
                  </a:lnTo>
                  <a:lnTo>
                    <a:pt x="293" y="25"/>
                  </a:lnTo>
                  <a:lnTo>
                    <a:pt x="285" y="20"/>
                  </a:lnTo>
                  <a:lnTo>
                    <a:pt x="276" y="15"/>
                  </a:lnTo>
                  <a:lnTo>
                    <a:pt x="257" y="7"/>
                  </a:lnTo>
                  <a:lnTo>
                    <a:pt x="235" y="2"/>
                  </a:lnTo>
                  <a:lnTo>
                    <a:pt x="211" y="0"/>
                  </a:lnTo>
                  <a:lnTo>
                    <a:pt x="211" y="0"/>
                  </a:lnTo>
                  <a:lnTo>
                    <a:pt x="186" y="2"/>
                  </a:lnTo>
                  <a:lnTo>
                    <a:pt x="163" y="7"/>
                  </a:lnTo>
                  <a:lnTo>
                    <a:pt x="152" y="10"/>
                  </a:lnTo>
                  <a:lnTo>
                    <a:pt x="141" y="15"/>
                  </a:lnTo>
                  <a:lnTo>
                    <a:pt x="131" y="22"/>
                  </a:lnTo>
                  <a:lnTo>
                    <a:pt x="123" y="28"/>
                  </a:lnTo>
                  <a:lnTo>
                    <a:pt x="113" y="35"/>
                  </a:lnTo>
                  <a:lnTo>
                    <a:pt x="106" y="43"/>
                  </a:lnTo>
                  <a:lnTo>
                    <a:pt x="98" y="51"/>
                  </a:lnTo>
                  <a:lnTo>
                    <a:pt x="93" y="61"/>
                  </a:lnTo>
                  <a:lnTo>
                    <a:pt x="88" y="72"/>
                  </a:lnTo>
                  <a:lnTo>
                    <a:pt x="85" y="84"/>
                  </a:lnTo>
                  <a:lnTo>
                    <a:pt x="83" y="97"/>
                  </a:lnTo>
                  <a:lnTo>
                    <a:pt x="82" y="110"/>
                  </a:lnTo>
                  <a:lnTo>
                    <a:pt x="82" y="110"/>
                  </a:lnTo>
                  <a:lnTo>
                    <a:pt x="83" y="122"/>
                  </a:lnTo>
                  <a:lnTo>
                    <a:pt x="85" y="133"/>
                  </a:lnTo>
                  <a:lnTo>
                    <a:pt x="86" y="143"/>
                  </a:lnTo>
                  <a:lnTo>
                    <a:pt x="91" y="153"/>
                  </a:lnTo>
                  <a:lnTo>
                    <a:pt x="100" y="171"/>
                  </a:lnTo>
                  <a:lnTo>
                    <a:pt x="111" y="187"/>
                  </a:lnTo>
                  <a:lnTo>
                    <a:pt x="111" y="187"/>
                  </a:lnTo>
                  <a:lnTo>
                    <a:pt x="91" y="194"/>
                  </a:lnTo>
                  <a:lnTo>
                    <a:pt x="72" y="203"/>
                  </a:lnTo>
                  <a:lnTo>
                    <a:pt x="54" y="217"/>
                  </a:lnTo>
                  <a:lnTo>
                    <a:pt x="36" y="231"/>
                  </a:lnTo>
                  <a:lnTo>
                    <a:pt x="21" y="249"/>
                  </a:lnTo>
                  <a:lnTo>
                    <a:pt x="14" y="259"/>
                  </a:lnTo>
                  <a:lnTo>
                    <a:pt x="10" y="269"/>
                  </a:lnTo>
                  <a:lnTo>
                    <a:pt x="5" y="279"/>
                  </a:lnTo>
                  <a:lnTo>
                    <a:pt x="1" y="290"/>
                  </a:lnTo>
                  <a:lnTo>
                    <a:pt x="0" y="302"/>
                  </a:lnTo>
                  <a:lnTo>
                    <a:pt x="0" y="315"/>
                  </a:lnTo>
                  <a:lnTo>
                    <a:pt x="0" y="315"/>
                  </a:lnTo>
                  <a:lnTo>
                    <a:pt x="1" y="328"/>
                  </a:lnTo>
                  <a:lnTo>
                    <a:pt x="3" y="341"/>
                  </a:lnTo>
                  <a:lnTo>
                    <a:pt x="8" y="354"/>
                  </a:lnTo>
                  <a:lnTo>
                    <a:pt x="13" y="365"/>
                  </a:lnTo>
                  <a:lnTo>
                    <a:pt x="19" y="377"/>
                  </a:lnTo>
                  <a:lnTo>
                    <a:pt x="28" y="387"/>
                  </a:lnTo>
                  <a:lnTo>
                    <a:pt x="36" y="395"/>
                  </a:lnTo>
                  <a:lnTo>
                    <a:pt x="46" y="403"/>
                  </a:lnTo>
                  <a:lnTo>
                    <a:pt x="57" y="411"/>
                  </a:lnTo>
                  <a:lnTo>
                    <a:pt x="68" y="418"/>
                  </a:lnTo>
                  <a:lnTo>
                    <a:pt x="80" y="423"/>
                  </a:lnTo>
                  <a:lnTo>
                    <a:pt x="95" y="428"/>
                  </a:lnTo>
                  <a:lnTo>
                    <a:pt x="108" y="431"/>
                  </a:lnTo>
                  <a:lnTo>
                    <a:pt x="123" y="433"/>
                  </a:lnTo>
                  <a:lnTo>
                    <a:pt x="137" y="434"/>
                  </a:lnTo>
                  <a:lnTo>
                    <a:pt x="154" y="436"/>
                  </a:lnTo>
                  <a:lnTo>
                    <a:pt x="154" y="436"/>
                  </a:lnTo>
                  <a:lnTo>
                    <a:pt x="180" y="434"/>
                  </a:lnTo>
                  <a:lnTo>
                    <a:pt x="195" y="431"/>
                  </a:lnTo>
                  <a:lnTo>
                    <a:pt x="209" y="428"/>
                  </a:lnTo>
                  <a:lnTo>
                    <a:pt x="226" y="423"/>
                  </a:lnTo>
                  <a:lnTo>
                    <a:pt x="240" y="418"/>
                  </a:lnTo>
                  <a:lnTo>
                    <a:pt x="255" y="410"/>
                  </a:lnTo>
                  <a:lnTo>
                    <a:pt x="270" y="400"/>
                  </a:lnTo>
                  <a:lnTo>
                    <a:pt x="270" y="400"/>
                  </a:lnTo>
                  <a:lnTo>
                    <a:pt x="281" y="410"/>
                  </a:lnTo>
                  <a:lnTo>
                    <a:pt x="294" y="416"/>
                  </a:lnTo>
                  <a:lnTo>
                    <a:pt x="309" y="421"/>
                  </a:lnTo>
                  <a:lnTo>
                    <a:pt x="321" y="424"/>
                  </a:lnTo>
                  <a:lnTo>
                    <a:pt x="342" y="426"/>
                  </a:lnTo>
                  <a:lnTo>
                    <a:pt x="350" y="426"/>
                  </a:lnTo>
                  <a:lnTo>
                    <a:pt x="391" y="426"/>
                  </a:lnTo>
                  <a:lnTo>
                    <a:pt x="391" y="426"/>
                  </a:lnTo>
                  <a:lnTo>
                    <a:pt x="396" y="426"/>
                  </a:lnTo>
                  <a:lnTo>
                    <a:pt x="401" y="424"/>
                  </a:lnTo>
                  <a:lnTo>
                    <a:pt x="402" y="421"/>
                  </a:lnTo>
                  <a:lnTo>
                    <a:pt x="404" y="418"/>
                  </a:lnTo>
                  <a:lnTo>
                    <a:pt x="416" y="388"/>
                  </a:lnTo>
                  <a:lnTo>
                    <a:pt x="416" y="388"/>
                  </a:lnTo>
                  <a:lnTo>
                    <a:pt x="417" y="385"/>
                  </a:lnTo>
                  <a:lnTo>
                    <a:pt x="417" y="382"/>
                  </a:lnTo>
                  <a:lnTo>
                    <a:pt x="416" y="380"/>
                  </a:lnTo>
                  <a:lnTo>
                    <a:pt x="416" y="380"/>
                  </a:lnTo>
                  <a:lnTo>
                    <a:pt x="411" y="379"/>
                  </a:lnTo>
                  <a:lnTo>
                    <a:pt x="407" y="379"/>
                  </a:lnTo>
                  <a:lnTo>
                    <a:pt x="389" y="379"/>
                  </a:lnTo>
                  <a:lnTo>
                    <a:pt x="389" y="379"/>
                  </a:lnTo>
                  <a:lnTo>
                    <a:pt x="375" y="377"/>
                  </a:lnTo>
                  <a:lnTo>
                    <a:pt x="361" y="374"/>
                  </a:lnTo>
                  <a:lnTo>
                    <a:pt x="352" y="367"/>
                  </a:lnTo>
                  <a:lnTo>
                    <a:pt x="343" y="362"/>
                  </a:lnTo>
                  <a:lnTo>
                    <a:pt x="337" y="356"/>
                  </a:lnTo>
                  <a:lnTo>
                    <a:pt x="332" y="351"/>
                  </a:lnTo>
                  <a:lnTo>
                    <a:pt x="327" y="344"/>
                  </a:lnTo>
                  <a:lnTo>
                    <a:pt x="327" y="344"/>
                  </a:lnTo>
                  <a:lnTo>
                    <a:pt x="343" y="328"/>
                  </a:lnTo>
                  <a:lnTo>
                    <a:pt x="355" y="316"/>
                  </a:lnTo>
                  <a:lnTo>
                    <a:pt x="375" y="289"/>
                  </a:lnTo>
                  <a:lnTo>
                    <a:pt x="375" y="289"/>
                  </a:lnTo>
                  <a:lnTo>
                    <a:pt x="391" y="264"/>
                  </a:lnTo>
                  <a:lnTo>
                    <a:pt x="399" y="249"/>
                  </a:lnTo>
                  <a:lnTo>
                    <a:pt x="399" y="249"/>
                  </a:lnTo>
                  <a:lnTo>
                    <a:pt x="404" y="243"/>
                  </a:lnTo>
                  <a:lnTo>
                    <a:pt x="409" y="238"/>
                  </a:lnTo>
                  <a:lnTo>
                    <a:pt x="414" y="235"/>
                  </a:lnTo>
                  <a:lnTo>
                    <a:pt x="420" y="233"/>
                  </a:lnTo>
                  <a:lnTo>
                    <a:pt x="435" y="233"/>
                  </a:lnTo>
                  <a:lnTo>
                    <a:pt x="435" y="233"/>
                  </a:lnTo>
                  <a:lnTo>
                    <a:pt x="438" y="233"/>
                  </a:lnTo>
                  <a:lnTo>
                    <a:pt x="442" y="231"/>
                  </a:lnTo>
                  <a:lnTo>
                    <a:pt x="445" y="228"/>
                  </a:lnTo>
                  <a:lnTo>
                    <a:pt x="447" y="225"/>
                  </a:lnTo>
                  <a:lnTo>
                    <a:pt x="460" y="197"/>
                  </a:lnTo>
                  <a:lnTo>
                    <a:pt x="460" y="197"/>
                  </a:lnTo>
                  <a:lnTo>
                    <a:pt x="461" y="190"/>
                  </a:lnTo>
                  <a:lnTo>
                    <a:pt x="460" y="187"/>
                  </a:lnTo>
                  <a:lnTo>
                    <a:pt x="455" y="187"/>
                  </a:lnTo>
                  <a:lnTo>
                    <a:pt x="452" y="187"/>
                  </a:lnTo>
                  <a:lnTo>
                    <a:pt x="452" y="187"/>
                  </a:lnTo>
                  <a:close/>
                  <a:moveTo>
                    <a:pt x="209" y="40"/>
                  </a:moveTo>
                  <a:lnTo>
                    <a:pt x="209" y="40"/>
                  </a:lnTo>
                  <a:lnTo>
                    <a:pt x="217" y="40"/>
                  </a:lnTo>
                  <a:lnTo>
                    <a:pt x="226" y="43"/>
                  </a:lnTo>
                  <a:lnTo>
                    <a:pt x="232" y="48"/>
                  </a:lnTo>
                  <a:lnTo>
                    <a:pt x="237" y="53"/>
                  </a:lnTo>
                  <a:lnTo>
                    <a:pt x="240" y="59"/>
                  </a:lnTo>
                  <a:lnTo>
                    <a:pt x="244" y="68"/>
                  </a:lnTo>
                  <a:lnTo>
                    <a:pt x="244" y="76"/>
                  </a:lnTo>
                  <a:lnTo>
                    <a:pt x="245" y="84"/>
                  </a:lnTo>
                  <a:lnTo>
                    <a:pt x="245" y="84"/>
                  </a:lnTo>
                  <a:lnTo>
                    <a:pt x="244" y="95"/>
                  </a:lnTo>
                  <a:lnTo>
                    <a:pt x="242" y="107"/>
                  </a:lnTo>
                  <a:lnTo>
                    <a:pt x="239" y="117"/>
                  </a:lnTo>
                  <a:lnTo>
                    <a:pt x="234" y="127"/>
                  </a:lnTo>
                  <a:lnTo>
                    <a:pt x="226" y="135"/>
                  </a:lnTo>
                  <a:lnTo>
                    <a:pt x="217" y="143"/>
                  </a:lnTo>
                  <a:lnTo>
                    <a:pt x="208" y="151"/>
                  </a:lnTo>
                  <a:lnTo>
                    <a:pt x="196" y="158"/>
                  </a:lnTo>
                  <a:lnTo>
                    <a:pt x="196" y="158"/>
                  </a:lnTo>
                  <a:lnTo>
                    <a:pt x="185" y="138"/>
                  </a:lnTo>
                  <a:lnTo>
                    <a:pt x="177" y="122"/>
                  </a:lnTo>
                  <a:lnTo>
                    <a:pt x="172" y="104"/>
                  </a:lnTo>
                  <a:lnTo>
                    <a:pt x="170" y="84"/>
                  </a:lnTo>
                  <a:lnTo>
                    <a:pt x="170" y="84"/>
                  </a:lnTo>
                  <a:lnTo>
                    <a:pt x="170" y="76"/>
                  </a:lnTo>
                  <a:lnTo>
                    <a:pt x="172" y="68"/>
                  </a:lnTo>
                  <a:lnTo>
                    <a:pt x="175" y="59"/>
                  </a:lnTo>
                  <a:lnTo>
                    <a:pt x="180" y="53"/>
                  </a:lnTo>
                  <a:lnTo>
                    <a:pt x="186" y="48"/>
                  </a:lnTo>
                  <a:lnTo>
                    <a:pt x="193" y="43"/>
                  </a:lnTo>
                  <a:lnTo>
                    <a:pt x="201" y="40"/>
                  </a:lnTo>
                  <a:lnTo>
                    <a:pt x="209" y="40"/>
                  </a:lnTo>
                  <a:lnTo>
                    <a:pt x="209" y="40"/>
                  </a:lnTo>
                  <a:close/>
                  <a:moveTo>
                    <a:pt x="167" y="388"/>
                  </a:moveTo>
                  <a:lnTo>
                    <a:pt x="167" y="388"/>
                  </a:lnTo>
                  <a:lnTo>
                    <a:pt x="150" y="387"/>
                  </a:lnTo>
                  <a:lnTo>
                    <a:pt x="136" y="383"/>
                  </a:lnTo>
                  <a:lnTo>
                    <a:pt x="123" y="377"/>
                  </a:lnTo>
                  <a:lnTo>
                    <a:pt x="113" y="367"/>
                  </a:lnTo>
                  <a:lnTo>
                    <a:pt x="103" y="357"/>
                  </a:lnTo>
                  <a:lnTo>
                    <a:pt x="96" y="343"/>
                  </a:lnTo>
                  <a:lnTo>
                    <a:pt x="93" y="328"/>
                  </a:lnTo>
                  <a:lnTo>
                    <a:pt x="91" y="310"/>
                  </a:lnTo>
                  <a:lnTo>
                    <a:pt x="91" y="310"/>
                  </a:lnTo>
                  <a:lnTo>
                    <a:pt x="93" y="298"/>
                  </a:lnTo>
                  <a:lnTo>
                    <a:pt x="95" y="287"/>
                  </a:lnTo>
                  <a:lnTo>
                    <a:pt x="100" y="275"/>
                  </a:lnTo>
                  <a:lnTo>
                    <a:pt x="104" y="264"/>
                  </a:lnTo>
                  <a:lnTo>
                    <a:pt x="111" y="253"/>
                  </a:lnTo>
                  <a:lnTo>
                    <a:pt x="119" y="244"/>
                  </a:lnTo>
                  <a:lnTo>
                    <a:pt x="127" y="235"/>
                  </a:lnTo>
                  <a:lnTo>
                    <a:pt x="137" y="228"/>
                  </a:lnTo>
                  <a:lnTo>
                    <a:pt x="231" y="357"/>
                  </a:lnTo>
                  <a:lnTo>
                    <a:pt x="231" y="357"/>
                  </a:lnTo>
                  <a:lnTo>
                    <a:pt x="217" y="369"/>
                  </a:lnTo>
                  <a:lnTo>
                    <a:pt x="203" y="380"/>
                  </a:lnTo>
                  <a:lnTo>
                    <a:pt x="195" y="383"/>
                  </a:lnTo>
                  <a:lnTo>
                    <a:pt x="186" y="387"/>
                  </a:lnTo>
                  <a:lnTo>
                    <a:pt x="177" y="388"/>
                  </a:lnTo>
                  <a:lnTo>
                    <a:pt x="167" y="388"/>
                  </a:lnTo>
                  <a:lnTo>
                    <a:pt x="167"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7" name="Freeform 21"/>
            <p:cNvSpPr>
              <a:spLocks noEditPoints="1"/>
            </p:cNvSpPr>
            <p:nvPr/>
          </p:nvSpPr>
          <p:spPr bwMode="auto">
            <a:xfrm>
              <a:off x="8136319" y="5909749"/>
              <a:ext cx="269362" cy="266388"/>
            </a:xfrm>
            <a:custGeom>
              <a:avLst/>
              <a:gdLst>
                <a:gd name="T0" fmla="*/ 878 w 905"/>
                <a:gd name="T1" fmla="*/ 818 h 895"/>
                <a:gd name="T2" fmla="*/ 865 w 905"/>
                <a:gd name="T3" fmla="*/ 818 h 895"/>
                <a:gd name="T4" fmla="*/ 845 w 905"/>
                <a:gd name="T5" fmla="*/ 813 h 895"/>
                <a:gd name="T6" fmla="*/ 830 w 905"/>
                <a:gd name="T7" fmla="*/ 803 h 895"/>
                <a:gd name="T8" fmla="*/ 820 w 905"/>
                <a:gd name="T9" fmla="*/ 787 h 895"/>
                <a:gd name="T10" fmla="*/ 817 w 905"/>
                <a:gd name="T11" fmla="*/ 776 h 895"/>
                <a:gd name="T12" fmla="*/ 549 w 905"/>
                <a:gd name="T13" fmla="*/ 11 h 895"/>
                <a:gd name="T14" fmla="*/ 542 w 905"/>
                <a:gd name="T15" fmla="*/ 3 h 895"/>
                <a:gd name="T16" fmla="*/ 532 w 905"/>
                <a:gd name="T17" fmla="*/ 0 h 895"/>
                <a:gd name="T18" fmla="*/ 429 w 905"/>
                <a:gd name="T19" fmla="*/ 0 h 895"/>
                <a:gd name="T20" fmla="*/ 419 w 905"/>
                <a:gd name="T21" fmla="*/ 3 h 895"/>
                <a:gd name="T22" fmla="*/ 413 w 905"/>
                <a:gd name="T23" fmla="*/ 11 h 895"/>
                <a:gd name="T24" fmla="*/ 92 w 905"/>
                <a:gd name="T25" fmla="*/ 779 h 895"/>
                <a:gd name="T26" fmla="*/ 80 w 905"/>
                <a:gd name="T27" fmla="*/ 798 h 895"/>
                <a:gd name="T28" fmla="*/ 64 w 905"/>
                <a:gd name="T29" fmla="*/ 812 h 895"/>
                <a:gd name="T30" fmla="*/ 51 w 905"/>
                <a:gd name="T31" fmla="*/ 816 h 895"/>
                <a:gd name="T32" fmla="*/ 21 w 905"/>
                <a:gd name="T33" fmla="*/ 818 h 895"/>
                <a:gd name="T34" fmla="*/ 13 w 905"/>
                <a:gd name="T35" fmla="*/ 818 h 895"/>
                <a:gd name="T36" fmla="*/ 3 w 905"/>
                <a:gd name="T37" fmla="*/ 823 h 895"/>
                <a:gd name="T38" fmla="*/ 0 w 905"/>
                <a:gd name="T39" fmla="*/ 831 h 895"/>
                <a:gd name="T40" fmla="*/ 0 w 905"/>
                <a:gd name="T41" fmla="*/ 882 h 895"/>
                <a:gd name="T42" fmla="*/ 3 w 905"/>
                <a:gd name="T43" fmla="*/ 892 h 895"/>
                <a:gd name="T44" fmla="*/ 13 w 905"/>
                <a:gd name="T45" fmla="*/ 895 h 895"/>
                <a:gd name="T46" fmla="*/ 264 w 905"/>
                <a:gd name="T47" fmla="*/ 895 h 895"/>
                <a:gd name="T48" fmla="*/ 274 w 905"/>
                <a:gd name="T49" fmla="*/ 890 h 895"/>
                <a:gd name="T50" fmla="*/ 277 w 905"/>
                <a:gd name="T51" fmla="*/ 882 h 895"/>
                <a:gd name="T52" fmla="*/ 277 w 905"/>
                <a:gd name="T53" fmla="*/ 831 h 895"/>
                <a:gd name="T54" fmla="*/ 274 w 905"/>
                <a:gd name="T55" fmla="*/ 821 h 895"/>
                <a:gd name="T56" fmla="*/ 264 w 905"/>
                <a:gd name="T57" fmla="*/ 818 h 895"/>
                <a:gd name="T58" fmla="*/ 236 w 905"/>
                <a:gd name="T59" fmla="*/ 818 h 895"/>
                <a:gd name="T60" fmla="*/ 211 w 905"/>
                <a:gd name="T61" fmla="*/ 816 h 895"/>
                <a:gd name="T62" fmla="*/ 198 w 905"/>
                <a:gd name="T63" fmla="*/ 812 h 895"/>
                <a:gd name="T64" fmla="*/ 190 w 905"/>
                <a:gd name="T65" fmla="*/ 800 h 895"/>
                <a:gd name="T66" fmla="*/ 188 w 905"/>
                <a:gd name="T67" fmla="*/ 792 h 895"/>
                <a:gd name="T68" fmla="*/ 197 w 905"/>
                <a:gd name="T69" fmla="*/ 762 h 895"/>
                <a:gd name="T70" fmla="*/ 537 w 905"/>
                <a:gd name="T71" fmla="*/ 641 h 895"/>
                <a:gd name="T72" fmla="*/ 560 w 905"/>
                <a:gd name="T73" fmla="*/ 710 h 895"/>
                <a:gd name="T74" fmla="*/ 573 w 905"/>
                <a:gd name="T75" fmla="*/ 749 h 895"/>
                <a:gd name="T76" fmla="*/ 583 w 905"/>
                <a:gd name="T77" fmla="*/ 782 h 895"/>
                <a:gd name="T78" fmla="*/ 585 w 905"/>
                <a:gd name="T79" fmla="*/ 795 h 895"/>
                <a:gd name="T80" fmla="*/ 583 w 905"/>
                <a:gd name="T81" fmla="*/ 803 h 895"/>
                <a:gd name="T82" fmla="*/ 578 w 905"/>
                <a:gd name="T83" fmla="*/ 810 h 895"/>
                <a:gd name="T84" fmla="*/ 568 w 905"/>
                <a:gd name="T85" fmla="*/ 816 h 895"/>
                <a:gd name="T86" fmla="*/ 553 w 905"/>
                <a:gd name="T87" fmla="*/ 818 h 895"/>
                <a:gd name="T88" fmla="*/ 524 w 905"/>
                <a:gd name="T89" fmla="*/ 818 h 895"/>
                <a:gd name="T90" fmla="*/ 514 w 905"/>
                <a:gd name="T91" fmla="*/ 823 h 895"/>
                <a:gd name="T92" fmla="*/ 511 w 905"/>
                <a:gd name="T93" fmla="*/ 831 h 895"/>
                <a:gd name="T94" fmla="*/ 511 w 905"/>
                <a:gd name="T95" fmla="*/ 882 h 895"/>
                <a:gd name="T96" fmla="*/ 514 w 905"/>
                <a:gd name="T97" fmla="*/ 890 h 895"/>
                <a:gd name="T98" fmla="*/ 524 w 905"/>
                <a:gd name="T99" fmla="*/ 895 h 895"/>
                <a:gd name="T100" fmla="*/ 892 w 905"/>
                <a:gd name="T101" fmla="*/ 895 h 895"/>
                <a:gd name="T102" fmla="*/ 902 w 905"/>
                <a:gd name="T103" fmla="*/ 892 h 895"/>
                <a:gd name="T104" fmla="*/ 905 w 905"/>
                <a:gd name="T105" fmla="*/ 882 h 895"/>
                <a:gd name="T106" fmla="*/ 905 w 905"/>
                <a:gd name="T107" fmla="*/ 831 h 895"/>
                <a:gd name="T108" fmla="*/ 902 w 905"/>
                <a:gd name="T109" fmla="*/ 823 h 895"/>
                <a:gd name="T110" fmla="*/ 892 w 905"/>
                <a:gd name="T111" fmla="*/ 818 h 895"/>
                <a:gd name="T112" fmla="*/ 272 w 905"/>
                <a:gd name="T113" fmla="*/ 573 h 895"/>
                <a:gd name="T114" fmla="*/ 517 w 905"/>
                <a:gd name="T115" fmla="*/ 573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95">
                  <a:moveTo>
                    <a:pt x="892" y="818"/>
                  </a:moveTo>
                  <a:lnTo>
                    <a:pt x="878" y="818"/>
                  </a:lnTo>
                  <a:lnTo>
                    <a:pt x="878" y="818"/>
                  </a:lnTo>
                  <a:lnTo>
                    <a:pt x="865" y="818"/>
                  </a:lnTo>
                  <a:lnTo>
                    <a:pt x="853" y="816"/>
                  </a:lnTo>
                  <a:lnTo>
                    <a:pt x="845" y="813"/>
                  </a:lnTo>
                  <a:lnTo>
                    <a:pt x="837" y="810"/>
                  </a:lnTo>
                  <a:lnTo>
                    <a:pt x="830" y="803"/>
                  </a:lnTo>
                  <a:lnTo>
                    <a:pt x="825" y="795"/>
                  </a:lnTo>
                  <a:lnTo>
                    <a:pt x="820" y="787"/>
                  </a:lnTo>
                  <a:lnTo>
                    <a:pt x="817" y="776"/>
                  </a:lnTo>
                  <a:lnTo>
                    <a:pt x="817" y="776"/>
                  </a:lnTo>
                  <a:lnTo>
                    <a:pt x="549" y="11"/>
                  </a:lnTo>
                  <a:lnTo>
                    <a:pt x="549" y="11"/>
                  </a:lnTo>
                  <a:lnTo>
                    <a:pt x="547" y="6"/>
                  </a:lnTo>
                  <a:lnTo>
                    <a:pt x="542" y="3"/>
                  </a:lnTo>
                  <a:lnTo>
                    <a:pt x="537" y="1"/>
                  </a:lnTo>
                  <a:lnTo>
                    <a:pt x="532" y="0"/>
                  </a:lnTo>
                  <a:lnTo>
                    <a:pt x="429" y="0"/>
                  </a:lnTo>
                  <a:lnTo>
                    <a:pt x="429" y="0"/>
                  </a:lnTo>
                  <a:lnTo>
                    <a:pt x="424" y="1"/>
                  </a:lnTo>
                  <a:lnTo>
                    <a:pt x="419" y="3"/>
                  </a:lnTo>
                  <a:lnTo>
                    <a:pt x="416" y="6"/>
                  </a:lnTo>
                  <a:lnTo>
                    <a:pt x="413" y="11"/>
                  </a:lnTo>
                  <a:lnTo>
                    <a:pt x="92" y="779"/>
                  </a:lnTo>
                  <a:lnTo>
                    <a:pt x="92" y="779"/>
                  </a:lnTo>
                  <a:lnTo>
                    <a:pt x="87" y="790"/>
                  </a:lnTo>
                  <a:lnTo>
                    <a:pt x="80" y="798"/>
                  </a:lnTo>
                  <a:lnTo>
                    <a:pt x="74" y="805"/>
                  </a:lnTo>
                  <a:lnTo>
                    <a:pt x="64" y="812"/>
                  </a:lnTo>
                  <a:lnTo>
                    <a:pt x="64" y="812"/>
                  </a:lnTo>
                  <a:lnTo>
                    <a:pt x="51" y="816"/>
                  </a:lnTo>
                  <a:lnTo>
                    <a:pt x="38" y="818"/>
                  </a:lnTo>
                  <a:lnTo>
                    <a:pt x="21" y="818"/>
                  </a:lnTo>
                  <a:lnTo>
                    <a:pt x="13" y="818"/>
                  </a:lnTo>
                  <a:lnTo>
                    <a:pt x="13" y="818"/>
                  </a:lnTo>
                  <a:lnTo>
                    <a:pt x="8" y="820"/>
                  </a:lnTo>
                  <a:lnTo>
                    <a:pt x="3" y="823"/>
                  </a:lnTo>
                  <a:lnTo>
                    <a:pt x="2" y="826"/>
                  </a:lnTo>
                  <a:lnTo>
                    <a:pt x="0" y="831"/>
                  </a:lnTo>
                  <a:lnTo>
                    <a:pt x="0" y="882"/>
                  </a:lnTo>
                  <a:lnTo>
                    <a:pt x="0" y="882"/>
                  </a:lnTo>
                  <a:lnTo>
                    <a:pt x="2" y="887"/>
                  </a:lnTo>
                  <a:lnTo>
                    <a:pt x="3" y="892"/>
                  </a:lnTo>
                  <a:lnTo>
                    <a:pt x="8" y="893"/>
                  </a:lnTo>
                  <a:lnTo>
                    <a:pt x="13" y="895"/>
                  </a:lnTo>
                  <a:lnTo>
                    <a:pt x="264" y="895"/>
                  </a:lnTo>
                  <a:lnTo>
                    <a:pt x="264" y="895"/>
                  </a:lnTo>
                  <a:lnTo>
                    <a:pt x="269" y="893"/>
                  </a:lnTo>
                  <a:lnTo>
                    <a:pt x="274" y="890"/>
                  </a:lnTo>
                  <a:lnTo>
                    <a:pt x="275" y="887"/>
                  </a:lnTo>
                  <a:lnTo>
                    <a:pt x="277" y="882"/>
                  </a:lnTo>
                  <a:lnTo>
                    <a:pt x="277" y="831"/>
                  </a:lnTo>
                  <a:lnTo>
                    <a:pt x="277" y="831"/>
                  </a:lnTo>
                  <a:lnTo>
                    <a:pt x="275" y="826"/>
                  </a:lnTo>
                  <a:lnTo>
                    <a:pt x="274" y="821"/>
                  </a:lnTo>
                  <a:lnTo>
                    <a:pt x="269" y="820"/>
                  </a:lnTo>
                  <a:lnTo>
                    <a:pt x="264" y="818"/>
                  </a:lnTo>
                  <a:lnTo>
                    <a:pt x="236" y="818"/>
                  </a:lnTo>
                  <a:lnTo>
                    <a:pt x="236" y="818"/>
                  </a:lnTo>
                  <a:lnTo>
                    <a:pt x="218" y="818"/>
                  </a:lnTo>
                  <a:lnTo>
                    <a:pt x="211" y="816"/>
                  </a:lnTo>
                  <a:lnTo>
                    <a:pt x="203" y="815"/>
                  </a:lnTo>
                  <a:lnTo>
                    <a:pt x="198" y="812"/>
                  </a:lnTo>
                  <a:lnTo>
                    <a:pt x="193" y="807"/>
                  </a:lnTo>
                  <a:lnTo>
                    <a:pt x="190" y="800"/>
                  </a:lnTo>
                  <a:lnTo>
                    <a:pt x="188" y="792"/>
                  </a:lnTo>
                  <a:lnTo>
                    <a:pt x="188" y="792"/>
                  </a:lnTo>
                  <a:lnTo>
                    <a:pt x="190" y="779"/>
                  </a:lnTo>
                  <a:lnTo>
                    <a:pt x="197" y="762"/>
                  </a:lnTo>
                  <a:lnTo>
                    <a:pt x="246" y="641"/>
                  </a:lnTo>
                  <a:lnTo>
                    <a:pt x="537" y="641"/>
                  </a:lnTo>
                  <a:lnTo>
                    <a:pt x="537" y="641"/>
                  </a:lnTo>
                  <a:lnTo>
                    <a:pt x="560" y="710"/>
                  </a:lnTo>
                  <a:lnTo>
                    <a:pt x="573" y="749"/>
                  </a:lnTo>
                  <a:lnTo>
                    <a:pt x="573" y="749"/>
                  </a:lnTo>
                  <a:lnTo>
                    <a:pt x="583" y="782"/>
                  </a:lnTo>
                  <a:lnTo>
                    <a:pt x="583" y="782"/>
                  </a:lnTo>
                  <a:lnTo>
                    <a:pt x="583" y="789"/>
                  </a:lnTo>
                  <a:lnTo>
                    <a:pt x="585" y="795"/>
                  </a:lnTo>
                  <a:lnTo>
                    <a:pt x="585" y="795"/>
                  </a:lnTo>
                  <a:lnTo>
                    <a:pt x="583" y="803"/>
                  </a:lnTo>
                  <a:lnTo>
                    <a:pt x="581" y="807"/>
                  </a:lnTo>
                  <a:lnTo>
                    <a:pt x="578" y="810"/>
                  </a:lnTo>
                  <a:lnTo>
                    <a:pt x="575" y="813"/>
                  </a:lnTo>
                  <a:lnTo>
                    <a:pt x="568" y="816"/>
                  </a:lnTo>
                  <a:lnTo>
                    <a:pt x="562" y="818"/>
                  </a:lnTo>
                  <a:lnTo>
                    <a:pt x="553" y="818"/>
                  </a:lnTo>
                  <a:lnTo>
                    <a:pt x="524" y="818"/>
                  </a:lnTo>
                  <a:lnTo>
                    <a:pt x="524" y="818"/>
                  </a:lnTo>
                  <a:lnTo>
                    <a:pt x="517" y="820"/>
                  </a:lnTo>
                  <a:lnTo>
                    <a:pt x="514" y="823"/>
                  </a:lnTo>
                  <a:lnTo>
                    <a:pt x="511" y="826"/>
                  </a:lnTo>
                  <a:lnTo>
                    <a:pt x="511" y="831"/>
                  </a:lnTo>
                  <a:lnTo>
                    <a:pt x="511" y="882"/>
                  </a:lnTo>
                  <a:lnTo>
                    <a:pt x="511" y="882"/>
                  </a:lnTo>
                  <a:lnTo>
                    <a:pt x="511" y="887"/>
                  </a:lnTo>
                  <a:lnTo>
                    <a:pt x="514" y="890"/>
                  </a:lnTo>
                  <a:lnTo>
                    <a:pt x="517" y="893"/>
                  </a:lnTo>
                  <a:lnTo>
                    <a:pt x="524" y="895"/>
                  </a:lnTo>
                  <a:lnTo>
                    <a:pt x="892" y="895"/>
                  </a:lnTo>
                  <a:lnTo>
                    <a:pt x="892" y="895"/>
                  </a:lnTo>
                  <a:lnTo>
                    <a:pt x="897" y="893"/>
                  </a:lnTo>
                  <a:lnTo>
                    <a:pt x="902" y="892"/>
                  </a:lnTo>
                  <a:lnTo>
                    <a:pt x="905" y="887"/>
                  </a:lnTo>
                  <a:lnTo>
                    <a:pt x="905" y="882"/>
                  </a:lnTo>
                  <a:lnTo>
                    <a:pt x="905" y="831"/>
                  </a:lnTo>
                  <a:lnTo>
                    <a:pt x="905" y="831"/>
                  </a:lnTo>
                  <a:lnTo>
                    <a:pt x="905" y="826"/>
                  </a:lnTo>
                  <a:lnTo>
                    <a:pt x="902" y="823"/>
                  </a:lnTo>
                  <a:lnTo>
                    <a:pt x="897" y="820"/>
                  </a:lnTo>
                  <a:lnTo>
                    <a:pt x="892" y="818"/>
                  </a:lnTo>
                  <a:lnTo>
                    <a:pt x="892" y="818"/>
                  </a:lnTo>
                  <a:close/>
                  <a:moveTo>
                    <a:pt x="272" y="573"/>
                  </a:moveTo>
                  <a:lnTo>
                    <a:pt x="413" y="226"/>
                  </a:lnTo>
                  <a:lnTo>
                    <a:pt x="517" y="573"/>
                  </a:lnTo>
                  <a:lnTo>
                    <a:pt x="272" y="5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grpSp>
      <p:sp>
        <p:nvSpPr>
          <p:cNvPr id="4" name="Datumsplatzhalter 3"/>
          <p:cNvSpPr>
            <a:spLocks noGrp="1"/>
          </p:cNvSpPr>
          <p:nvPr>
            <p:ph type="dt" sz="half" idx="14"/>
          </p:nvPr>
        </p:nvSpPr>
        <p:spPr>
          <a:xfrm>
            <a:off x="747184" y="6597536"/>
            <a:ext cx="1057790" cy="139590"/>
          </a:xfrm>
        </p:spPr>
        <p:txBody>
          <a:bodyPr/>
          <a:lstStyle/>
          <a:p>
            <a:fld id="{E3BDED9A-B086-4E73-ABA8-EF8BF3D09BFD}" type="datetime4">
              <a:rPr lang="en-GB" smtClean="0"/>
              <a:t>15 February 2024</a:t>
            </a:fld>
            <a:endParaRPr lang="en-GB"/>
          </a:p>
        </p:txBody>
      </p:sp>
      <p:cxnSp>
        <p:nvCxnSpPr>
          <p:cNvPr id="19" name="Gerade Verbindung 18"/>
          <p:cNvCxnSpPr/>
          <p:nvPr userDrawn="1"/>
        </p:nvCxnSpPr>
        <p:spPr>
          <a:xfrm>
            <a:off x="632870" y="6617659"/>
            <a:ext cx="0" cy="993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Foliennummernplatzhalter 5"/>
          <p:cNvSpPr txBox="1">
            <a:spLocks/>
          </p:cNvSpPr>
          <p:nvPr userDrawn="1"/>
        </p:nvSpPr>
        <p:spPr>
          <a:xfrm>
            <a:off x="331601" y="6597536"/>
            <a:ext cx="210955" cy="139590"/>
          </a:xfrm>
          <a:prstGeom prst="rect">
            <a:avLst/>
          </a:prstGeom>
        </p:spPr>
        <p:txBody>
          <a:bodyPr vert="horz" wrap="none" lIns="0" tIns="0" rIns="0" bIns="0" rtlCol="0" anchor="ctr" anchorCtr="0">
            <a:spAutoFit/>
          </a:bodyPr>
          <a:lstStyle>
            <a:defPPr>
              <a:defRPr lang="de-DE"/>
            </a:defPPr>
            <a:lvl1pPr marL="0" algn="l" defTabSz="1043056" rtl="0" eaLnBrk="1" latinLnBrk="0" hangingPunct="1">
              <a:defRPr lang="de-AT" sz="1000" b="0" kern="1200" spc="190" baseline="0" smtClean="0">
                <a:solidFill>
                  <a:schemeClr val="tx1"/>
                </a:solidFill>
                <a:latin typeface="CA Sans" pitchFamily="50" charset="0"/>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fld id="{30272582-AA89-4A5B-9BA7-B311A460C225}" type="slidenum">
              <a:rPr lang="en-GB" sz="907" smtClean="0"/>
              <a:pPr algn="r"/>
              <a:t>‹#›</a:t>
            </a:fld>
            <a:endParaRPr lang="en-GB" sz="907"/>
          </a:p>
        </p:txBody>
      </p:sp>
    </p:spTree>
    <p:extLst>
      <p:ext uri="{BB962C8B-B14F-4D97-AF65-F5344CB8AC3E}">
        <p14:creationId xmlns:p14="http://schemas.microsoft.com/office/powerpoint/2010/main" val="1384345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page grey">
    <p:bg>
      <p:bgPr>
        <a:solidFill>
          <a:srgbClr val="D5D4D3"/>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589543248"/>
              </p:ext>
            </p:extLst>
          </p:nvPr>
        </p:nvGraphicFramePr>
        <p:xfrm>
          <a:off x="1812" y="1443"/>
          <a:ext cx="1809" cy="143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kt 6" hidden="1"/>
                      <p:cNvPicPr/>
                      <p:nvPr/>
                    </p:nvPicPr>
                    <p:blipFill>
                      <a:blip r:embed="rId4"/>
                      <a:stretch>
                        <a:fillRect/>
                      </a:stretch>
                    </p:blipFill>
                    <p:spPr>
                      <a:xfrm>
                        <a:off x="1812" y="1443"/>
                        <a:ext cx="1809" cy="1439"/>
                      </a:xfrm>
                      <a:prstGeom prst="rect">
                        <a:avLst/>
                      </a:prstGeom>
                    </p:spPr>
                  </p:pic>
                </p:oleObj>
              </mc:Fallback>
            </mc:AlternateContent>
          </a:graphicData>
        </a:graphic>
      </p:graphicFrame>
      <p:grpSp>
        <p:nvGrpSpPr>
          <p:cNvPr id="5" name="Gruppieren 4"/>
          <p:cNvGrpSpPr>
            <a:grpSpLocks noChangeAspect="1"/>
          </p:cNvGrpSpPr>
          <p:nvPr userDrawn="1"/>
        </p:nvGrpSpPr>
        <p:grpSpPr>
          <a:xfrm>
            <a:off x="5485321" y="5695047"/>
            <a:ext cx="1221504" cy="744458"/>
            <a:chOff x="7680842" y="5709958"/>
            <a:chExt cx="884790" cy="677863"/>
          </a:xfrm>
          <a:solidFill>
            <a:schemeClr val="bg1"/>
          </a:solidFill>
        </p:grpSpPr>
        <p:sp>
          <p:nvSpPr>
            <p:cNvPr id="6" name="Freeform 17"/>
            <p:cNvSpPr>
              <a:spLocks noEditPoints="1"/>
            </p:cNvSpPr>
            <p:nvPr/>
          </p:nvSpPr>
          <p:spPr bwMode="auto">
            <a:xfrm>
              <a:off x="7680842" y="5709958"/>
              <a:ext cx="884790" cy="677863"/>
            </a:xfrm>
            <a:custGeom>
              <a:avLst/>
              <a:gdLst>
                <a:gd name="T0" fmla="*/ 2771 w 2976"/>
                <a:gd name="T1" fmla="*/ 570 h 2280"/>
                <a:gd name="T2" fmla="*/ 2686 w 2976"/>
                <a:gd name="T3" fmla="*/ 444 h 2280"/>
                <a:gd name="T4" fmla="*/ 2469 w 2976"/>
                <a:gd name="T5" fmla="*/ 363 h 2280"/>
                <a:gd name="T6" fmla="*/ 2333 w 2976"/>
                <a:gd name="T7" fmla="*/ 272 h 2280"/>
                <a:gd name="T8" fmla="*/ 2172 w 2976"/>
                <a:gd name="T9" fmla="*/ 119 h 2280"/>
                <a:gd name="T10" fmla="*/ 2025 w 2976"/>
                <a:gd name="T11" fmla="*/ 100 h 2280"/>
                <a:gd name="T12" fmla="*/ 1804 w 2976"/>
                <a:gd name="T13" fmla="*/ 118 h 2280"/>
                <a:gd name="T14" fmla="*/ 1591 w 2976"/>
                <a:gd name="T15" fmla="*/ 23 h 2280"/>
                <a:gd name="T16" fmla="*/ 1488 w 2976"/>
                <a:gd name="T17" fmla="*/ 0 h 2280"/>
                <a:gd name="T18" fmla="*/ 1305 w 2976"/>
                <a:gd name="T19" fmla="*/ 69 h 2280"/>
                <a:gd name="T20" fmla="*/ 1120 w 2976"/>
                <a:gd name="T21" fmla="*/ 121 h 2280"/>
                <a:gd name="T22" fmla="*/ 891 w 2976"/>
                <a:gd name="T23" fmla="*/ 98 h 2280"/>
                <a:gd name="T24" fmla="*/ 753 w 2976"/>
                <a:gd name="T25" fmla="*/ 152 h 2280"/>
                <a:gd name="T26" fmla="*/ 593 w 2976"/>
                <a:gd name="T27" fmla="*/ 318 h 2280"/>
                <a:gd name="T28" fmla="*/ 404 w 2976"/>
                <a:gd name="T29" fmla="*/ 396 h 2280"/>
                <a:gd name="T30" fmla="*/ 254 w 2976"/>
                <a:gd name="T31" fmla="*/ 473 h 2280"/>
                <a:gd name="T32" fmla="*/ 178 w 2976"/>
                <a:gd name="T33" fmla="*/ 719 h 2280"/>
                <a:gd name="T34" fmla="*/ 106 w 2976"/>
                <a:gd name="T35" fmla="*/ 907 h 2280"/>
                <a:gd name="T36" fmla="*/ 2 w 2976"/>
                <a:gd name="T37" fmla="*/ 1115 h 2280"/>
                <a:gd name="T38" fmla="*/ 34 w 2976"/>
                <a:gd name="T39" fmla="*/ 1265 h 2280"/>
                <a:gd name="T40" fmla="*/ 154 w 2976"/>
                <a:gd name="T41" fmla="*/ 1462 h 2280"/>
                <a:gd name="T42" fmla="*/ 219 w 2976"/>
                <a:gd name="T43" fmla="*/ 1750 h 2280"/>
                <a:gd name="T44" fmla="*/ 326 w 2976"/>
                <a:gd name="T45" fmla="*/ 1856 h 2280"/>
                <a:gd name="T46" fmla="*/ 550 w 2976"/>
                <a:gd name="T47" fmla="*/ 1935 h 2280"/>
                <a:gd name="T48" fmla="*/ 699 w 2976"/>
                <a:gd name="T49" fmla="*/ 2070 h 2280"/>
                <a:gd name="T50" fmla="*/ 823 w 2976"/>
                <a:gd name="T51" fmla="*/ 2169 h 2280"/>
                <a:gd name="T52" fmla="*/ 1031 w 2976"/>
                <a:gd name="T53" fmla="*/ 2167 h 2280"/>
                <a:gd name="T54" fmla="*/ 1224 w 2976"/>
                <a:gd name="T55" fmla="*/ 2175 h 2280"/>
                <a:gd name="T56" fmla="*/ 1421 w 2976"/>
                <a:gd name="T57" fmla="*/ 2270 h 2280"/>
                <a:gd name="T58" fmla="*/ 1555 w 2976"/>
                <a:gd name="T59" fmla="*/ 2270 h 2280"/>
                <a:gd name="T60" fmla="*/ 1752 w 2976"/>
                <a:gd name="T61" fmla="*/ 2175 h 2280"/>
                <a:gd name="T62" fmla="*/ 1945 w 2976"/>
                <a:gd name="T63" fmla="*/ 2167 h 2280"/>
                <a:gd name="T64" fmla="*/ 2153 w 2976"/>
                <a:gd name="T65" fmla="*/ 2169 h 2280"/>
                <a:gd name="T66" fmla="*/ 2277 w 2976"/>
                <a:gd name="T67" fmla="*/ 2070 h 2280"/>
                <a:gd name="T68" fmla="*/ 2424 w 2976"/>
                <a:gd name="T69" fmla="*/ 1935 h 2280"/>
                <a:gd name="T70" fmla="*/ 2649 w 2976"/>
                <a:gd name="T71" fmla="*/ 1856 h 2280"/>
                <a:gd name="T72" fmla="*/ 2757 w 2976"/>
                <a:gd name="T73" fmla="*/ 1750 h 2280"/>
                <a:gd name="T74" fmla="*/ 2820 w 2976"/>
                <a:gd name="T75" fmla="*/ 1462 h 2280"/>
                <a:gd name="T76" fmla="*/ 2942 w 2976"/>
                <a:gd name="T77" fmla="*/ 1264 h 2280"/>
                <a:gd name="T78" fmla="*/ 2974 w 2976"/>
                <a:gd name="T79" fmla="*/ 1115 h 2280"/>
                <a:gd name="T80" fmla="*/ 2868 w 2976"/>
                <a:gd name="T81" fmla="*/ 907 h 2280"/>
                <a:gd name="T82" fmla="*/ 1419 w 2976"/>
                <a:gd name="T83" fmla="*/ 2028 h 2280"/>
                <a:gd name="T84" fmla="*/ 923 w 2976"/>
                <a:gd name="T85" fmla="*/ 1943 h 2280"/>
                <a:gd name="T86" fmla="*/ 547 w 2976"/>
                <a:gd name="T87" fmla="*/ 1742 h 2280"/>
                <a:gd name="T88" fmla="*/ 314 w 2976"/>
                <a:gd name="T89" fmla="*/ 1449 h 2280"/>
                <a:gd name="T90" fmla="*/ 246 w 2976"/>
                <a:gd name="T91" fmla="*/ 1139 h 2280"/>
                <a:gd name="T92" fmla="*/ 334 w 2976"/>
                <a:gd name="T93" fmla="*/ 791 h 2280"/>
                <a:gd name="T94" fmla="*/ 588 w 2976"/>
                <a:gd name="T95" fmla="*/ 507 h 2280"/>
                <a:gd name="T96" fmla="*/ 979 w 2976"/>
                <a:gd name="T97" fmla="*/ 319 h 2280"/>
                <a:gd name="T98" fmla="*/ 1488 w 2976"/>
                <a:gd name="T99" fmla="*/ 250 h 2280"/>
                <a:gd name="T100" fmla="*/ 1940 w 2976"/>
                <a:gd name="T101" fmla="*/ 303 h 2280"/>
                <a:gd name="T102" fmla="*/ 2347 w 2976"/>
                <a:gd name="T103" fmla="*/ 480 h 2280"/>
                <a:gd name="T104" fmla="*/ 2619 w 2976"/>
                <a:gd name="T105" fmla="*/ 751 h 2280"/>
                <a:gd name="T106" fmla="*/ 2729 w 2976"/>
                <a:gd name="T107" fmla="*/ 1093 h 2280"/>
                <a:gd name="T108" fmla="*/ 2680 w 2976"/>
                <a:gd name="T109" fmla="*/ 1408 h 2280"/>
                <a:gd name="T110" fmla="*/ 2465 w 2976"/>
                <a:gd name="T111" fmla="*/ 1709 h 2280"/>
                <a:gd name="T112" fmla="*/ 2107 w 2976"/>
                <a:gd name="T113" fmla="*/ 1923 h 2280"/>
                <a:gd name="T114" fmla="*/ 1624 w 2976"/>
                <a:gd name="T115" fmla="*/ 2025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76" h="2280">
                  <a:moveTo>
                    <a:pt x="2820" y="818"/>
                  </a:moveTo>
                  <a:lnTo>
                    <a:pt x="2820" y="818"/>
                  </a:lnTo>
                  <a:lnTo>
                    <a:pt x="2812" y="792"/>
                  </a:lnTo>
                  <a:lnTo>
                    <a:pt x="2806" y="768"/>
                  </a:lnTo>
                  <a:lnTo>
                    <a:pt x="2798" y="719"/>
                  </a:lnTo>
                  <a:lnTo>
                    <a:pt x="2784" y="630"/>
                  </a:lnTo>
                  <a:lnTo>
                    <a:pt x="2776" y="589"/>
                  </a:lnTo>
                  <a:lnTo>
                    <a:pt x="2771" y="570"/>
                  </a:lnTo>
                  <a:lnTo>
                    <a:pt x="2765" y="550"/>
                  </a:lnTo>
                  <a:lnTo>
                    <a:pt x="2757" y="530"/>
                  </a:lnTo>
                  <a:lnTo>
                    <a:pt x="2747" y="511"/>
                  </a:lnTo>
                  <a:lnTo>
                    <a:pt x="2735" y="493"/>
                  </a:lnTo>
                  <a:lnTo>
                    <a:pt x="2722" y="473"/>
                  </a:lnTo>
                  <a:lnTo>
                    <a:pt x="2722" y="473"/>
                  </a:lnTo>
                  <a:lnTo>
                    <a:pt x="2704" y="458"/>
                  </a:lnTo>
                  <a:lnTo>
                    <a:pt x="2686" y="444"/>
                  </a:lnTo>
                  <a:lnTo>
                    <a:pt x="2668" y="434"/>
                  </a:lnTo>
                  <a:lnTo>
                    <a:pt x="2649" y="424"/>
                  </a:lnTo>
                  <a:lnTo>
                    <a:pt x="2631" y="416"/>
                  </a:lnTo>
                  <a:lnTo>
                    <a:pt x="2611" y="408"/>
                  </a:lnTo>
                  <a:lnTo>
                    <a:pt x="2572" y="396"/>
                  </a:lnTo>
                  <a:lnTo>
                    <a:pt x="2531" y="385"/>
                  </a:lnTo>
                  <a:lnTo>
                    <a:pt x="2490" y="372"/>
                  </a:lnTo>
                  <a:lnTo>
                    <a:pt x="2469" y="363"/>
                  </a:lnTo>
                  <a:lnTo>
                    <a:pt x="2447" y="355"/>
                  </a:lnTo>
                  <a:lnTo>
                    <a:pt x="2424" y="345"/>
                  </a:lnTo>
                  <a:lnTo>
                    <a:pt x="2403" y="332"/>
                  </a:lnTo>
                  <a:lnTo>
                    <a:pt x="2403" y="332"/>
                  </a:lnTo>
                  <a:lnTo>
                    <a:pt x="2383" y="318"/>
                  </a:lnTo>
                  <a:lnTo>
                    <a:pt x="2364" y="303"/>
                  </a:lnTo>
                  <a:lnTo>
                    <a:pt x="2347" y="286"/>
                  </a:lnTo>
                  <a:lnTo>
                    <a:pt x="2333" y="272"/>
                  </a:lnTo>
                  <a:lnTo>
                    <a:pt x="2303" y="239"/>
                  </a:lnTo>
                  <a:lnTo>
                    <a:pt x="2277" y="208"/>
                  </a:lnTo>
                  <a:lnTo>
                    <a:pt x="2251" y="178"/>
                  </a:lnTo>
                  <a:lnTo>
                    <a:pt x="2238" y="165"/>
                  </a:lnTo>
                  <a:lnTo>
                    <a:pt x="2223" y="152"/>
                  </a:lnTo>
                  <a:lnTo>
                    <a:pt x="2207" y="139"/>
                  </a:lnTo>
                  <a:lnTo>
                    <a:pt x="2190" y="129"/>
                  </a:lnTo>
                  <a:lnTo>
                    <a:pt x="2172" y="119"/>
                  </a:lnTo>
                  <a:lnTo>
                    <a:pt x="2153" y="110"/>
                  </a:lnTo>
                  <a:lnTo>
                    <a:pt x="2153" y="110"/>
                  </a:lnTo>
                  <a:lnTo>
                    <a:pt x="2130" y="105"/>
                  </a:lnTo>
                  <a:lnTo>
                    <a:pt x="2107" y="100"/>
                  </a:lnTo>
                  <a:lnTo>
                    <a:pt x="2085" y="98"/>
                  </a:lnTo>
                  <a:lnTo>
                    <a:pt x="2064" y="98"/>
                  </a:lnTo>
                  <a:lnTo>
                    <a:pt x="2045" y="98"/>
                  </a:lnTo>
                  <a:lnTo>
                    <a:pt x="2025" y="100"/>
                  </a:lnTo>
                  <a:lnTo>
                    <a:pt x="1984" y="106"/>
                  </a:lnTo>
                  <a:lnTo>
                    <a:pt x="1945" y="113"/>
                  </a:lnTo>
                  <a:lnTo>
                    <a:pt x="1901" y="119"/>
                  </a:lnTo>
                  <a:lnTo>
                    <a:pt x="1879" y="121"/>
                  </a:lnTo>
                  <a:lnTo>
                    <a:pt x="1855" y="121"/>
                  </a:lnTo>
                  <a:lnTo>
                    <a:pt x="1830" y="119"/>
                  </a:lnTo>
                  <a:lnTo>
                    <a:pt x="1804" y="118"/>
                  </a:lnTo>
                  <a:lnTo>
                    <a:pt x="1804" y="118"/>
                  </a:lnTo>
                  <a:lnTo>
                    <a:pt x="1776" y="111"/>
                  </a:lnTo>
                  <a:lnTo>
                    <a:pt x="1752" y="105"/>
                  </a:lnTo>
                  <a:lnTo>
                    <a:pt x="1729" y="97"/>
                  </a:lnTo>
                  <a:lnTo>
                    <a:pt x="1707" y="87"/>
                  </a:lnTo>
                  <a:lnTo>
                    <a:pt x="1671" y="69"/>
                  </a:lnTo>
                  <a:lnTo>
                    <a:pt x="1639" y="49"/>
                  </a:lnTo>
                  <a:lnTo>
                    <a:pt x="1607" y="31"/>
                  </a:lnTo>
                  <a:lnTo>
                    <a:pt x="1591" y="23"/>
                  </a:lnTo>
                  <a:lnTo>
                    <a:pt x="1573" y="16"/>
                  </a:lnTo>
                  <a:lnTo>
                    <a:pt x="1555" y="10"/>
                  </a:lnTo>
                  <a:lnTo>
                    <a:pt x="1534" y="5"/>
                  </a:lnTo>
                  <a:lnTo>
                    <a:pt x="1513" y="2"/>
                  </a:lnTo>
                  <a:lnTo>
                    <a:pt x="1488" y="0"/>
                  </a:lnTo>
                  <a:lnTo>
                    <a:pt x="1488" y="0"/>
                  </a:lnTo>
                  <a:lnTo>
                    <a:pt x="1488" y="0"/>
                  </a:lnTo>
                  <a:lnTo>
                    <a:pt x="1488" y="0"/>
                  </a:lnTo>
                  <a:lnTo>
                    <a:pt x="1463" y="2"/>
                  </a:lnTo>
                  <a:lnTo>
                    <a:pt x="1441" y="5"/>
                  </a:lnTo>
                  <a:lnTo>
                    <a:pt x="1421" y="10"/>
                  </a:lnTo>
                  <a:lnTo>
                    <a:pt x="1403" y="16"/>
                  </a:lnTo>
                  <a:lnTo>
                    <a:pt x="1385" y="23"/>
                  </a:lnTo>
                  <a:lnTo>
                    <a:pt x="1369" y="31"/>
                  </a:lnTo>
                  <a:lnTo>
                    <a:pt x="1337" y="49"/>
                  </a:lnTo>
                  <a:lnTo>
                    <a:pt x="1305" y="69"/>
                  </a:lnTo>
                  <a:lnTo>
                    <a:pt x="1269" y="87"/>
                  </a:lnTo>
                  <a:lnTo>
                    <a:pt x="1247" y="97"/>
                  </a:lnTo>
                  <a:lnTo>
                    <a:pt x="1224" y="105"/>
                  </a:lnTo>
                  <a:lnTo>
                    <a:pt x="1200" y="111"/>
                  </a:lnTo>
                  <a:lnTo>
                    <a:pt x="1172" y="118"/>
                  </a:lnTo>
                  <a:lnTo>
                    <a:pt x="1172" y="118"/>
                  </a:lnTo>
                  <a:lnTo>
                    <a:pt x="1146" y="119"/>
                  </a:lnTo>
                  <a:lnTo>
                    <a:pt x="1120" y="121"/>
                  </a:lnTo>
                  <a:lnTo>
                    <a:pt x="1097" y="121"/>
                  </a:lnTo>
                  <a:lnTo>
                    <a:pt x="1074" y="119"/>
                  </a:lnTo>
                  <a:lnTo>
                    <a:pt x="1031" y="113"/>
                  </a:lnTo>
                  <a:lnTo>
                    <a:pt x="990" y="106"/>
                  </a:lnTo>
                  <a:lnTo>
                    <a:pt x="951" y="100"/>
                  </a:lnTo>
                  <a:lnTo>
                    <a:pt x="931" y="98"/>
                  </a:lnTo>
                  <a:lnTo>
                    <a:pt x="910" y="98"/>
                  </a:lnTo>
                  <a:lnTo>
                    <a:pt x="891" y="98"/>
                  </a:lnTo>
                  <a:lnTo>
                    <a:pt x="869" y="100"/>
                  </a:lnTo>
                  <a:lnTo>
                    <a:pt x="846" y="105"/>
                  </a:lnTo>
                  <a:lnTo>
                    <a:pt x="823" y="110"/>
                  </a:lnTo>
                  <a:lnTo>
                    <a:pt x="823" y="110"/>
                  </a:lnTo>
                  <a:lnTo>
                    <a:pt x="804" y="119"/>
                  </a:lnTo>
                  <a:lnTo>
                    <a:pt x="786" y="129"/>
                  </a:lnTo>
                  <a:lnTo>
                    <a:pt x="768" y="139"/>
                  </a:lnTo>
                  <a:lnTo>
                    <a:pt x="753" y="152"/>
                  </a:lnTo>
                  <a:lnTo>
                    <a:pt x="738" y="165"/>
                  </a:lnTo>
                  <a:lnTo>
                    <a:pt x="725" y="178"/>
                  </a:lnTo>
                  <a:lnTo>
                    <a:pt x="699" y="208"/>
                  </a:lnTo>
                  <a:lnTo>
                    <a:pt x="671" y="239"/>
                  </a:lnTo>
                  <a:lnTo>
                    <a:pt x="643" y="272"/>
                  </a:lnTo>
                  <a:lnTo>
                    <a:pt x="629" y="286"/>
                  </a:lnTo>
                  <a:lnTo>
                    <a:pt x="611" y="303"/>
                  </a:lnTo>
                  <a:lnTo>
                    <a:pt x="593" y="318"/>
                  </a:lnTo>
                  <a:lnTo>
                    <a:pt x="573" y="332"/>
                  </a:lnTo>
                  <a:lnTo>
                    <a:pt x="573" y="332"/>
                  </a:lnTo>
                  <a:lnTo>
                    <a:pt x="550" y="345"/>
                  </a:lnTo>
                  <a:lnTo>
                    <a:pt x="529" y="355"/>
                  </a:lnTo>
                  <a:lnTo>
                    <a:pt x="507" y="363"/>
                  </a:lnTo>
                  <a:lnTo>
                    <a:pt x="486" y="372"/>
                  </a:lnTo>
                  <a:lnTo>
                    <a:pt x="445" y="385"/>
                  </a:lnTo>
                  <a:lnTo>
                    <a:pt x="404" y="396"/>
                  </a:lnTo>
                  <a:lnTo>
                    <a:pt x="365" y="408"/>
                  </a:lnTo>
                  <a:lnTo>
                    <a:pt x="345" y="416"/>
                  </a:lnTo>
                  <a:lnTo>
                    <a:pt x="326" y="424"/>
                  </a:lnTo>
                  <a:lnTo>
                    <a:pt x="308" y="434"/>
                  </a:lnTo>
                  <a:lnTo>
                    <a:pt x="290" y="444"/>
                  </a:lnTo>
                  <a:lnTo>
                    <a:pt x="272" y="458"/>
                  </a:lnTo>
                  <a:lnTo>
                    <a:pt x="254" y="473"/>
                  </a:lnTo>
                  <a:lnTo>
                    <a:pt x="254" y="473"/>
                  </a:lnTo>
                  <a:lnTo>
                    <a:pt x="241" y="493"/>
                  </a:lnTo>
                  <a:lnTo>
                    <a:pt x="228" y="511"/>
                  </a:lnTo>
                  <a:lnTo>
                    <a:pt x="219" y="530"/>
                  </a:lnTo>
                  <a:lnTo>
                    <a:pt x="211" y="550"/>
                  </a:lnTo>
                  <a:lnTo>
                    <a:pt x="205" y="570"/>
                  </a:lnTo>
                  <a:lnTo>
                    <a:pt x="200" y="589"/>
                  </a:lnTo>
                  <a:lnTo>
                    <a:pt x="192" y="630"/>
                  </a:lnTo>
                  <a:lnTo>
                    <a:pt x="178" y="719"/>
                  </a:lnTo>
                  <a:lnTo>
                    <a:pt x="169" y="768"/>
                  </a:lnTo>
                  <a:lnTo>
                    <a:pt x="162" y="792"/>
                  </a:lnTo>
                  <a:lnTo>
                    <a:pt x="154" y="818"/>
                  </a:lnTo>
                  <a:lnTo>
                    <a:pt x="154" y="818"/>
                  </a:lnTo>
                  <a:lnTo>
                    <a:pt x="144" y="843"/>
                  </a:lnTo>
                  <a:lnTo>
                    <a:pt x="133" y="866"/>
                  </a:lnTo>
                  <a:lnTo>
                    <a:pt x="119" y="887"/>
                  </a:lnTo>
                  <a:lnTo>
                    <a:pt x="106" y="907"/>
                  </a:lnTo>
                  <a:lnTo>
                    <a:pt x="82" y="944"/>
                  </a:lnTo>
                  <a:lnTo>
                    <a:pt x="57" y="979"/>
                  </a:lnTo>
                  <a:lnTo>
                    <a:pt x="34" y="1013"/>
                  </a:lnTo>
                  <a:lnTo>
                    <a:pt x="25" y="1031"/>
                  </a:lnTo>
                  <a:lnTo>
                    <a:pt x="16" y="1051"/>
                  </a:lnTo>
                  <a:lnTo>
                    <a:pt x="10" y="1070"/>
                  </a:lnTo>
                  <a:lnTo>
                    <a:pt x="5" y="1092"/>
                  </a:lnTo>
                  <a:lnTo>
                    <a:pt x="2" y="1115"/>
                  </a:lnTo>
                  <a:lnTo>
                    <a:pt x="0" y="1139"/>
                  </a:lnTo>
                  <a:lnTo>
                    <a:pt x="0" y="1139"/>
                  </a:lnTo>
                  <a:lnTo>
                    <a:pt x="2" y="1164"/>
                  </a:lnTo>
                  <a:lnTo>
                    <a:pt x="5" y="1187"/>
                  </a:lnTo>
                  <a:lnTo>
                    <a:pt x="10" y="1208"/>
                  </a:lnTo>
                  <a:lnTo>
                    <a:pt x="16" y="1228"/>
                  </a:lnTo>
                  <a:lnTo>
                    <a:pt x="25" y="1247"/>
                  </a:lnTo>
                  <a:lnTo>
                    <a:pt x="34" y="1265"/>
                  </a:lnTo>
                  <a:lnTo>
                    <a:pt x="57" y="1300"/>
                  </a:lnTo>
                  <a:lnTo>
                    <a:pt x="82" y="1336"/>
                  </a:lnTo>
                  <a:lnTo>
                    <a:pt x="106" y="1373"/>
                  </a:lnTo>
                  <a:lnTo>
                    <a:pt x="119" y="1393"/>
                  </a:lnTo>
                  <a:lnTo>
                    <a:pt x="133" y="1414"/>
                  </a:lnTo>
                  <a:lnTo>
                    <a:pt x="144" y="1437"/>
                  </a:lnTo>
                  <a:lnTo>
                    <a:pt x="154" y="1462"/>
                  </a:lnTo>
                  <a:lnTo>
                    <a:pt x="154" y="1462"/>
                  </a:lnTo>
                  <a:lnTo>
                    <a:pt x="162" y="1488"/>
                  </a:lnTo>
                  <a:lnTo>
                    <a:pt x="169" y="1512"/>
                  </a:lnTo>
                  <a:lnTo>
                    <a:pt x="178" y="1560"/>
                  </a:lnTo>
                  <a:lnTo>
                    <a:pt x="192" y="1648"/>
                  </a:lnTo>
                  <a:lnTo>
                    <a:pt x="200" y="1689"/>
                  </a:lnTo>
                  <a:lnTo>
                    <a:pt x="205" y="1710"/>
                  </a:lnTo>
                  <a:lnTo>
                    <a:pt x="211" y="1730"/>
                  </a:lnTo>
                  <a:lnTo>
                    <a:pt x="219" y="1750"/>
                  </a:lnTo>
                  <a:lnTo>
                    <a:pt x="228" y="1768"/>
                  </a:lnTo>
                  <a:lnTo>
                    <a:pt x="241" y="1787"/>
                  </a:lnTo>
                  <a:lnTo>
                    <a:pt x="254" y="1807"/>
                  </a:lnTo>
                  <a:lnTo>
                    <a:pt x="254" y="1807"/>
                  </a:lnTo>
                  <a:lnTo>
                    <a:pt x="272" y="1822"/>
                  </a:lnTo>
                  <a:lnTo>
                    <a:pt x="290" y="1835"/>
                  </a:lnTo>
                  <a:lnTo>
                    <a:pt x="308" y="1846"/>
                  </a:lnTo>
                  <a:lnTo>
                    <a:pt x="326" y="1856"/>
                  </a:lnTo>
                  <a:lnTo>
                    <a:pt x="345" y="1864"/>
                  </a:lnTo>
                  <a:lnTo>
                    <a:pt x="365" y="1871"/>
                  </a:lnTo>
                  <a:lnTo>
                    <a:pt x="404" y="1884"/>
                  </a:lnTo>
                  <a:lnTo>
                    <a:pt x="445" y="1895"/>
                  </a:lnTo>
                  <a:lnTo>
                    <a:pt x="486" y="1908"/>
                  </a:lnTo>
                  <a:lnTo>
                    <a:pt x="507" y="1915"/>
                  </a:lnTo>
                  <a:lnTo>
                    <a:pt x="529" y="1925"/>
                  </a:lnTo>
                  <a:lnTo>
                    <a:pt x="550" y="1935"/>
                  </a:lnTo>
                  <a:lnTo>
                    <a:pt x="573" y="1946"/>
                  </a:lnTo>
                  <a:lnTo>
                    <a:pt x="573" y="1946"/>
                  </a:lnTo>
                  <a:lnTo>
                    <a:pt x="593" y="1962"/>
                  </a:lnTo>
                  <a:lnTo>
                    <a:pt x="611" y="1977"/>
                  </a:lnTo>
                  <a:lnTo>
                    <a:pt x="629" y="1992"/>
                  </a:lnTo>
                  <a:lnTo>
                    <a:pt x="643" y="2008"/>
                  </a:lnTo>
                  <a:lnTo>
                    <a:pt x="671" y="2039"/>
                  </a:lnTo>
                  <a:lnTo>
                    <a:pt x="699" y="2070"/>
                  </a:lnTo>
                  <a:lnTo>
                    <a:pt x="725" y="2100"/>
                  </a:lnTo>
                  <a:lnTo>
                    <a:pt x="738" y="2115"/>
                  </a:lnTo>
                  <a:lnTo>
                    <a:pt x="753" y="2128"/>
                  </a:lnTo>
                  <a:lnTo>
                    <a:pt x="768" y="2139"/>
                  </a:lnTo>
                  <a:lnTo>
                    <a:pt x="786" y="2151"/>
                  </a:lnTo>
                  <a:lnTo>
                    <a:pt x="804" y="2161"/>
                  </a:lnTo>
                  <a:lnTo>
                    <a:pt x="823" y="2169"/>
                  </a:lnTo>
                  <a:lnTo>
                    <a:pt x="823" y="2169"/>
                  </a:lnTo>
                  <a:lnTo>
                    <a:pt x="846" y="2175"/>
                  </a:lnTo>
                  <a:lnTo>
                    <a:pt x="869" y="2179"/>
                  </a:lnTo>
                  <a:lnTo>
                    <a:pt x="891" y="2182"/>
                  </a:lnTo>
                  <a:lnTo>
                    <a:pt x="910" y="2182"/>
                  </a:lnTo>
                  <a:lnTo>
                    <a:pt x="931" y="2180"/>
                  </a:lnTo>
                  <a:lnTo>
                    <a:pt x="951" y="2179"/>
                  </a:lnTo>
                  <a:lnTo>
                    <a:pt x="990" y="2174"/>
                  </a:lnTo>
                  <a:lnTo>
                    <a:pt x="1031" y="2167"/>
                  </a:lnTo>
                  <a:lnTo>
                    <a:pt x="1074" y="2161"/>
                  </a:lnTo>
                  <a:lnTo>
                    <a:pt x="1097" y="2159"/>
                  </a:lnTo>
                  <a:lnTo>
                    <a:pt x="1120" y="2159"/>
                  </a:lnTo>
                  <a:lnTo>
                    <a:pt x="1146" y="2159"/>
                  </a:lnTo>
                  <a:lnTo>
                    <a:pt x="1172" y="2162"/>
                  </a:lnTo>
                  <a:lnTo>
                    <a:pt x="1172" y="2162"/>
                  </a:lnTo>
                  <a:lnTo>
                    <a:pt x="1200" y="2169"/>
                  </a:lnTo>
                  <a:lnTo>
                    <a:pt x="1224" y="2175"/>
                  </a:lnTo>
                  <a:lnTo>
                    <a:pt x="1247" y="2183"/>
                  </a:lnTo>
                  <a:lnTo>
                    <a:pt x="1269" y="2193"/>
                  </a:lnTo>
                  <a:lnTo>
                    <a:pt x="1305" y="2211"/>
                  </a:lnTo>
                  <a:lnTo>
                    <a:pt x="1337" y="2231"/>
                  </a:lnTo>
                  <a:lnTo>
                    <a:pt x="1369" y="2249"/>
                  </a:lnTo>
                  <a:lnTo>
                    <a:pt x="1385" y="2257"/>
                  </a:lnTo>
                  <a:lnTo>
                    <a:pt x="1403" y="2264"/>
                  </a:lnTo>
                  <a:lnTo>
                    <a:pt x="1421" y="2270"/>
                  </a:lnTo>
                  <a:lnTo>
                    <a:pt x="1441" y="2275"/>
                  </a:lnTo>
                  <a:lnTo>
                    <a:pt x="1463" y="2278"/>
                  </a:lnTo>
                  <a:lnTo>
                    <a:pt x="1488" y="2280"/>
                  </a:lnTo>
                  <a:lnTo>
                    <a:pt x="1488" y="2280"/>
                  </a:lnTo>
                  <a:lnTo>
                    <a:pt x="1488" y="2280"/>
                  </a:lnTo>
                  <a:lnTo>
                    <a:pt x="1513" y="2278"/>
                  </a:lnTo>
                  <a:lnTo>
                    <a:pt x="1534" y="2275"/>
                  </a:lnTo>
                  <a:lnTo>
                    <a:pt x="1555" y="2270"/>
                  </a:lnTo>
                  <a:lnTo>
                    <a:pt x="1573" y="2264"/>
                  </a:lnTo>
                  <a:lnTo>
                    <a:pt x="1591" y="2257"/>
                  </a:lnTo>
                  <a:lnTo>
                    <a:pt x="1607" y="2249"/>
                  </a:lnTo>
                  <a:lnTo>
                    <a:pt x="1639" y="2231"/>
                  </a:lnTo>
                  <a:lnTo>
                    <a:pt x="1671" y="2211"/>
                  </a:lnTo>
                  <a:lnTo>
                    <a:pt x="1707" y="2193"/>
                  </a:lnTo>
                  <a:lnTo>
                    <a:pt x="1729" y="2183"/>
                  </a:lnTo>
                  <a:lnTo>
                    <a:pt x="1752" y="2175"/>
                  </a:lnTo>
                  <a:lnTo>
                    <a:pt x="1776" y="2169"/>
                  </a:lnTo>
                  <a:lnTo>
                    <a:pt x="1804" y="2162"/>
                  </a:lnTo>
                  <a:lnTo>
                    <a:pt x="1804" y="2162"/>
                  </a:lnTo>
                  <a:lnTo>
                    <a:pt x="1830" y="2159"/>
                  </a:lnTo>
                  <a:lnTo>
                    <a:pt x="1855" y="2159"/>
                  </a:lnTo>
                  <a:lnTo>
                    <a:pt x="1879" y="2159"/>
                  </a:lnTo>
                  <a:lnTo>
                    <a:pt x="1901" y="2161"/>
                  </a:lnTo>
                  <a:lnTo>
                    <a:pt x="1945" y="2167"/>
                  </a:lnTo>
                  <a:lnTo>
                    <a:pt x="1984" y="2174"/>
                  </a:lnTo>
                  <a:lnTo>
                    <a:pt x="2025" y="2179"/>
                  </a:lnTo>
                  <a:lnTo>
                    <a:pt x="2045" y="2180"/>
                  </a:lnTo>
                  <a:lnTo>
                    <a:pt x="2064" y="2182"/>
                  </a:lnTo>
                  <a:lnTo>
                    <a:pt x="2085" y="2182"/>
                  </a:lnTo>
                  <a:lnTo>
                    <a:pt x="2107" y="2179"/>
                  </a:lnTo>
                  <a:lnTo>
                    <a:pt x="2130" y="2175"/>
                  </a:lnTo>
                  <a:lnTo>
                    <a:pt x="2153" y="2169"/>
                  </a:lnTo>
                  <a:lnTo>
                    <a:pt x="2153" y="2169"/>
                  </a:lnTo>
                  <a:lnTo>
                    <a:pt x="2172" y="2161"/>
                  </a:lnTo>
                  <a:lnTo>
                    <a:pt x="2190" y="2151"/>
                  </a:lnTo>
                  <a:lnTo>
                    <a:pt x="2207" y="2139"/>
                  </a:lnTo>
                  <a:lnTo>
                    <a:pt x="2223" y="2128"/>
                  </a:lnTo>
                  <a:lnTo>
                    <a:pt x="2238" y="2115"/>
                  </a:lnTo>
                  <a:lnTo>
                    <a:pt x="2251" y="2100"/>
                  </a:lnTo>
                  <a:lnTo>
                    <a:pt x="2277" y="2070"/>
                  </a:lnTo>
                  <a:lnTo>
                    <a:pt x="2303" y="2039"/>
                  </a:lnTo>
                  <a:lnTo>
                    <a:pt x="2333" y="2008"/>
                  </a:lnTo>
                  <a:lnTo>
                    <a:pt x="2347" y="1992"/>
                  </a:lnTo>
                  <a:lnTo>
                    <a:pt x="2364" y="1977"/>
                  </a:lnTo>
                  <a:lnTo>
                    <a:pt x="2383" y="1962"/>
                  </a:lnTo>
                  <a:lnTo>
                    <a:pt x="2403" y="1946"/>
                  </a:lnTo>
                  <a:lnTo>
                    <a:pt x="2403" y="1946"/>
                  </a:lnTo>
                  <a:lnTo>
                    <a:pt x="2424" y="1935"/>
                  </a:lnTo>
                  <a:lnTo>
                    <a:pt x="2447" y="1925"/>
                  </a:lnTo>
                  <a:lnTo>
                    <a:pt x="2469" y="1915"/>
                  </a:lnTo>
                  <a:lnTo>
                    <a:pt x="2490" y="1908"/>
                  </a:lnTo>
                  <a:lnTo>
                    <a:pt x="2531" y="1895"/>
                  </a:lnTo>
                  <a:lnTo>
                    <a:pt x="2572" y="1884"/>
                  </a:lnTo>
                  <a:lnTo>
                    <a:pt x="2611" y="1871"/>
                  </a:lnTo>
                  <a:lnTo>
                    <a:pt x="2631" y="1864"/>
                  </a:lnTo>
                  <a:lnTo>
                    <a:pt x="2649" y="1856"/>
                  </a:lnTo>
                  <a:lnTo>
                    <a:pt x="2668" y="1846"/>
                  </a:lnTo>
                  <a:lnTo>
                    <a:pt x="2686" y="1835"/>
                  </a:lnTo>
                  <a:lnTo>
                    <a:pt x="2704" y="1822"/>
                  </a:lnTo>
                  <a:lnTo>
                    <a:pt x="2722" y="1807"/>
                  </a:lnTo>
                  <a:lnTo>
                    <a:pt x="2722" y="1807"/>
                  </a:lnTo>
                  <a:lnTo>
                    <a:pt x="2735" y="1787"/>
                  </a:lnTo>
                  <a:lnTo>
                    <a:pt x="2747" y="1768"/>
                  </a:lnTo>
                  <a:lnTo>
                    <a:pt x="2757" y="1750"/>
                  </a:lnTo>
                  <a:lnTo>
                    <a:pt x="2765" y="1730"/>
                  </a:lnTo>
                  <a:lnTo>
                    <a:pt x="2771" y="1710"/>
                  </a:lnTo>
                  <a:lnTo>
                    <a:pt x="2776" y="1689"/>
                  </a:lnTo>
                  <a:lnTo>
                    <a:pt x="2784" y="1648"/>
                  </a:lnTo>
                  <a:lnTo>
                    <a:pt x="2798" y="1560"/>
                  </a:lnTo>
                  <a:lnTo>
                    <a:pt x="2806" y="1512"/>
                  </a:lnTo>
                  <a:lnTo>
                    <a:pt x="2812" y="1488"/>
                  </a:lnTo>
                  <a:lnTo>
                    <a:pt x="2820" y="1462"/>
                  </a:lnTo>
                  <a:lnTo>
                    <a:pt x="2820" y="1462"/>
                  </a:lnTo>
                  <a:lnTo>
                    <a:pt x="2832" y="1437"/>
                  </a:lnTo>
                  <a:lnTo>
                    <a:pt x="2843" y="1414"/>
                  </a:lnTo>
                  <a:lnTo>
                    <a:pt x="2857" y="1393"/>
                  </a:lnTo>
                  <a:lnTo>
                    <a:pt x="2868" y="1372"/>
                  </a:lnTo>
                  <a:lnTo>
                    <a:pt x="2894" y="1336"/>
                  </a:lnTo>
                  <a:lnTo>
                    <a:pt x="2919" y="1300"/>
                  </a:lnTo>
                  <a:lnTo>
                    <a:pt x="2942" y="1264"/>
                  </a:lnTo>
                  <a:lnTo>
                    <a:pt x="2951" y="1246"/>
                  </a:lnTo>
                  <a:lnTo>
                    <a:pt x="2960" y="1228"/>
                  </a:lnTo>
                  <a:lnTo>
                    <a:pt x="2966" y="1208"/>
                  </a:lnTo>
                  <a:lnTo>
                    <a:pt x="2971" y="1187"/>
                  </a:lnTo>
                  <a:lnTo>
                    <a:pt x="2974" y="1164"/>
                  </a:lnTo>
                  <a:lnTo>
                    <a:pt x="2976" y="1139"/>
                  </a:lnTo>
                  <a:lnTo>
                    <a:pt x="2976" y="1139"/>
                  </a:lnTo>
                  <a:lnTo>
                    <a:pt x="2974" y="1115"/>
                  </a:lnTo>
                  <a:lnTo>
                    <a:pt x="2971" y="1092"/>
                  </a:lnTo>
                  <a:lnTo>
                    <a:pt x="2966" y="1070"/>
                  </a:lnTo>
                  <a:lnTo>
                    <a:pt x="2960" y="1051"/>
                  </a:lnTo>
                  <a:lnTo>
                    <a:pt x="2951" y="1031"/>
                  </a:lnTo>
                  <a:lnTo>
                    <a:pt x="2942" y="1013"/>
                  </a:lnTo>
                  <a:lnTo>
                    <a:pt x="2919" y="979"/>
                  </a:lnTo>
                  <a:lnTo>
                    <a:pt x="2894" y="943"/>
                  </a:lnTo>
                  <a:lnTo>
                    <a:pt x="2868" y="907"/>
                  </a:lnTo>
                  <a:lnTo>
                    <a:pt x="2857" y="887"/>
                  </a:lnTo>
                  <a:lnTo>
                    <a:pt x="2843" y="866"/>
                  </a:lnTo>
                  <a:lnTo>
                    <a:pt x="2832" y="843"/>
                  </a:lnTo>
                  <a:lnTo>
                    <a:pt x="2820" y="818"/>
                  </a:lnTo>
                  <a:lnTo>
                    <a:pt x="2820" y="818"/>
                  </a:lnTo>
                  <a:close/>
                  <a:moveTo>
                    <a:pt x="1488" y="2030"/>
                  </a:moveTo>
                  <a:lnTo>
                    <a:pt x="1488" y="2030"/>
                  </a:lnTo>
                  <a:lnTo>
                    <a:pt x="1419" y="2028"/>
                  </a:lnTo>
                  <a:lnTo>
                    <a:pt x="1350" y="2025"/>
                  </a:lnTo>
                  <a:lnTo>
                    <a:pt x="1285" y="2018"/>
                  </a:lnTo>
                  <a:lnTo>
                    <a:pt x="1221" y="2012"/>
                  </a:lnTo>
                  <a:lnTo>
                    <a:pt x="1157" y="2002"/>
                  </a:lnTo>
                  <a:lnTo>
                    <a:pt x="1097" y="1990"/>
                  </a:lnTo>
                  <a:lnTo>
                    <a:pt x="1036" y="1976"/>
                  </a:lnTo>
                  <a:lnTo>
                    <a:pt x="979" y="1961"/>
                  </a:lnTo>
                  <a:lnTo>
                    <a:pt x="923" y="1943"/>
                  </a:lnTo>
                  <a:lnTo>
                    <a:pt x="869" y="1923"/>
                  </a:lnTo>
                  <a:lnTo>
                    <a:pt x="817" y="1902"/>
                  </a:lnTo>
                  <a:lnTo>
                    <a:pt x="768" y="1879"/>
                  </a:lnTo>
                  <a:lnTo>
                    <a:pt x="719" y="1854"/>
                  </a:lnTo>
                  <a:lnTo>
                    <a:pt x="673" y="1828"/>
                  </a:lnTo>
                  <a:lnTo>
                    <a:pt x="629" y="1800"/>
                  </a:lnTo>
                  <a:lnTo>
                    <a:pt x="586" y="1771"/>
                  </a:lnTo>
                  <a:lnTo>
                    <a:pt x="547" y="1742"/>
                  </a:lnTo>
                  <a:lnTo>
                    <a:pt x="509" y="1709"/>
                  </a:lnTo>
                  <a:lnTo>
                    <a:pt x="475" y="1674"/>
                  </a:lnTo>
                  <a:lnTo>
                    <a:pt x="442" y="1640"/>
                  </a:lnTo>
                  <a:lnTo>
                    <a:pt x="411" y="1604"/>
                  </a:lnTo>
                  <a:lnTo>
                    <a:pt x="383" y="1566"/>
                  </a:lnTo>
                  <a:lnTo>
                    <a:pt x="357" y="1529"/>
                  </a:lnTo>
                  <a:lnTo>
                    <a:pt x="334" y="1489"/>
                  </a:lnTo>
                  <a:lnTo>
                    <a:pt x="314" y="1449"/>
                  </a:lnTo>
                  <a:lnTo>
                    <a:pt x="296" y="1408"/>
                  </a:lnTo>
                  <a:lnTo>
                    <a:pt x="280" y="1365"/>
                  </a:lnTo>
                  <a:lnTo>
                    <a:pt x="267" y="1321"/>
                  </a:lnTo>
                  <a:lnTo>
                    <a:pt x="257" y="1277"/>
                  </a:lnTo>
                  <a:lnTo>
                    <a:pt x="250" y="1232"/>
                  </a:lnTo>
                  <a:lnTo>
                    <a:pt x="246" y="1187"/>
                  </a:lnTo>
                  <a:lnTo>
                    <a:pt x="246" y="1139"/>
                  </a:lnTo>
                  <a:lnTo>
                    <a:pt x="246" y="1139"/>
                  </a:lnTo>
                  <a:lnTo>
                    <a:pt x="246" y="1093"/>
                  </a:lnTo>
                  <a:lnTo>
                    <a:pt x="250" y="1048"/>
                  </a:lnTo>
                  <a:lnTo>
                    <a:pt x="257" y="1002"/>
                  </a:lnTo>
                  <a:lnTo>
                    <a:pt x="267" y="958"/>
                  </a:lnTo>
                  <a:lnTo>
                    <a:pt x="280" y="915"/>
                  </a:lnTo>
                  <a:lnTo>
                    <a:pt x="296" y="872"/>
                  </a:lnTo>
                  <a:lnTo>
                    <a:pt x="314" y="831"/>
                  </a:lnTo>
                  <a:lnTo>
                    <a:pt x="334" y="791"/>
                  </a:lnTo>
                  <a:lnTo>
                    <a:pt x="357" y="751"/>
                  </a:lnTo>
                  <a:lnTo>
                    <a:pt x="383" y="712"/>
                  </a:lnTo>
                  <a:lnTo>
                    <a:pt x="411" y="674"/>
                  </a:lnTo>
                  <a:lnTo>
                    <a:pt x="442" y="638"/>
                  </a:lnTo>
                  <a:lnTo>
                    <a:pt x="475" y="604"/>
                  </a:lnTo>
                  <a:lnTo>
                    <a:pt x="509" y="571"/>
                  </a:lnTo>
                  <a:lnTo>
                    <a:pt x="547" y="538"/>
                  </a:lnTo>
                  <a:lnTo>
                    <a:pt x="588" y="507"/>
                  </a:lnTo>
                  <a:lnTo>
                    <a:pt x="629" y="480"/>
                  </a:lnTo>
                  <a:lnTo>
                    <a:pt x="673" y="452"/>
                  </a:lnTo>
                  <a:lnTo>
                    <a:pt x="719" y="426"/>
                  </a:lnTo>
                  <a:lnTo>
                    <a:pt x="768" y="401"/>
                  </a:lnTo>
                  <a:lnTo>
                    <a:pt x="817" y="378"/>
                  </a:lnTo>
                  <a:lnTo>
                    <a:pt x="869" y="357"/>
                  </a:lnTo>
                  <a:lnTo>
                    <a:pt x="923" y="337"/>
                  </a:lnTo>
                  <a:lnTo>
                    <a:pt x="979" y="319"/>
                  </a:lnTo>
                  <a:lnTo>
                    <a:pt x="1036" y="303"/>
                  </a:lnTo>
                  <a:lnTo>
                    <a:pt x="1097" y="290"/>
                  </a:lnTo>
                  <a:lnTo>
                    <a:pt x="1157" y="278"/>
                  </a:lnTo>
                  <a:lnTo>
                    <a:pt x="1221" y="268"/>
                  </a:lnTo>
                  <a:lnTo>
                    <a:pt x="1285" y="260"/>
                  </a:lnTo>
                  <a:lnTo>
                    <a:pt x="1350" y="255"/>
                  </a:lnTo>
                  <a:lnTo>
                    <a:pt x="1419" y="252"/>
                  </a:lnTo>
                  <a:lnTo>
                    <a:pt x="1488" y="250"/>
                  </a:lnTo>
                  <a:lnTo>
                    <a:pt x="1488" y="250"/>
                  </a:lnTo>
                  <a:lnTo>
                    <a:pt x="1557" y="252"/>
                  </a:lnTo>
                  <a:lnTo>
                    <a:pt x="1626" y="255"/>
                  </a:lnTo>
                  <a:lnTo>
                    <a:pt x="1691" y="260"/>
                  </a:lnTo>
                  <a:lnTo>
                    <a:pt x="1756" y="268"/>
                  </a:lnTo>
                  <a:lnTo>
                    <a:pt x="1819" y="278"/>
                  </a:lnTo>
                  <a:lnTo>
                    <a:pt x="1879" y="290"/>
                  </a:lnTo>
                  <a:lnTo>
                    <a:pt x="1940" y="303"/>
                  </a:lnTo>
                  <a:lnTo>
                    <a:pt x="1997" y="319"/>
                  </a:lnTo>
                  <a:lnTo>
                    <a:pt x="2053" y="337"/>
                  </a:lnTo>
                  <a:lnTo>
                    <a:pt x="2107" y="357"/>
                  </a:lnTo>
                  <a:lnTo>
                    <a:pt x="2159" y="378"/>
                  </a:lnTo>
                  <a:lnTo>
                    <a:pt x="2210" y="401"/>
                  </a:lnTo>
                  <a:lnTo>
                    <a:pt x="2257" y="426"/>
                  </a:lnTo>
                  <a:lnTo>
                    <a:pt x="2303" y="452"/>
                  </a:lnTo>
                  <a:lnTo>
                    <a:pt x="2347" y="480"/>
                  </a:lnTo>
                  <a:lnTo>
                    <a:pt x="2390" y="507"/>
                  </a:lnTo>
                  <a:lnTo>
                    <a:pt x="2429" y="538"/>
                  </a:lnTo>
                  <a:lnTo>
                    <a:pt x="2467" y="571"/>
                  </a:lnTo>
                  <a:lnTo>
                    <a:pt x="2501" y="604"/>
                  </a:lnTo>
                  <a:lnTo>
                    <a:pt x="2534" y="638"/>
                  </a:lnTo>
                  <a:lnTo>
                    <a:pt x="2565" y="674"/>
                  </a:lnTo>
                  <a:lnTo>
                    <a:pt x="2593" y="712"/>
                  </a:lnTo>
                  <a:lnTo>
                    <a:pt x="2619" y="751"/>
                  </a:lnTo>
                  <a:lnTo>
                    <a:pt x="2642" y="791"/>
                  </a:lnTo>
                  <a:lnTo>
                    <a:pt x="2662" y="831"/>
                  </a:lnTo>
                  <a:lnTo>
                    <a:pt x="2680" y="872"/>
                  </a:lnTo>
                  <a:lnTo>
                    <a:pt x="2696" y="915"/>
                  </a:lnTo>
                  <a:lnTo>
                    <a:pt x="2708" y="958"/>
                  </a:lnTo>
                  <a:lnTo>
                    <a:pt x="2717" y="1002"/>
                  </a:lnTo>
                  <a:lnTo>
                    <a:pt x="2726" y="1048"/>
                  </a:lnTo>
                  <a:lnTo>
                    <a:pt x="2729" y="1093"/>
                  </a:lnTo>
                  <a:lnTo>
                    <a:pt x="2730" y="1139"/>
                  </a:lnTo>
                  <a:lnTo>
                    <a:pt x="2730" y="1139"/>
                  </a:lnTo>
                  <a:lnTo>
                    <a:pt x="2729" y="1187"/>
                  </a:lnTo>
                  <a:lnTo>
                    <a:pt x="2726" y="1232"/>
                  </a:lnTo>
                  <a:lnTo>
                    <a:pt x="2717" y="1277"/>
                  </a:lnTo>
                  <a:lnTo>
                    <a:pt x="2708" y="1321"/>
                  </a:lnTo>
                  <a:lnTo>
                    <a:pt x="2696" y="1365"/>
                  </a:lnTo>
                  <a:lnTo>
                    <a:pt x="2680" y="1408"/>
                  </a:lnTo>
                  <a:lnTo>
                    <a:pt x="2662" y="1449"/>
                  </a:lnTo>
                  <a:lnTo>
                    <a:pt x="2642" y="1489"/>
                  </a:lnTo>
                  <a:lnTo>
                    <a:pt x="2619" y="1529"/>
                  </a:lnTo>
                  <a:lnTo>
                    <a:pt x="2593" y="1566"/>
                  </a:lnTo>
                  <a:lnTo>
                    <a:pt x="2565" y="1604"/>
                  </a:lnTo>
                  <a:lnTo>
                    <a:pt x="2534" y="1640"/>
                  </a:lnTo>
                  <a:lnTo>
                    <a:pt x="2501" y="1674"/>
                  </a:lnTo>
                  <a:lnTo>
                    <a:pt x="2465" y="1709"/>
                  </a:lnTo>
                  <a:lnTo>
                    <a:pt x="2429" y="1742"/>
                  </a:lnTo>
                  <a:lnTo>
                    <a:pt x="2388" y="1771"/>
                  </a:lnTo>
                  <a:lnTo>
                    <a:pt x="2347" y="1800"/>
                  </a:lnTo>
                  <a:lnTo>
                    <a:pt x="2303" y="1828"/>
                  </a:lnTo>
                  <a:lnTo>
                    <a:pt x="2257" y="1854"/>
                  </a:lnTo>
                  <a:lnTo>
                    <a:pt x="2208" y="1879"/>
                  </a:lnTo>
                  <a:lnTo>
                    <a:pt x="2159" y="1902"/>
                  </a:lnTo>
                  <a:lnTo>
                    <a:pt x="2107" y="1923"/>
                  </a:lnTo>
                  <a:lnTo>
                    <a:pt x="2053" y="1943"/>
                  </a:lnTo>
                  <a:lnTo>
                    <a:pt x="1997" y="1961"/>
                  </a:lnTo>
                  <a:lnTo>
                    <a:pt x="1938" y="1976"/>
                  </a:lnTo>
                  <a:lnTo>
                    <a:pt x="1879" y="1990"/>
                  </a:lnTo>
                  <a:lnTo>
                    <a:pt x="1819" y="2002"/>
                  </a:lnTo>
                  <a:lnTo>
                    <a:pt x="1755" y="2012"/>
                  </a:lnTo>
                  <a:lnTo>
                    <a:pt x="1691" y="2018"/>
                  </a:lnTo>
                  <a:lnTo>
                    <a:pt x="1624" y="2025"/>
                  </a:lnTo>
                  <a:lnTo>
                    <a:pt x="1557" y="2028"/>
                  </a:lnTo>
                  <a:lnTo>
                    <a:pt x="1488" y="2030"/>
                  </a:lnTo>
                  <a:lnTo>
                    <a:pt x="1488" y="20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solidFill>
                  <a:schemeClr val="tx2"/>
                </a:solidFill>
              </a:endParaRPr>
            </a:p>
          </p:txBody>
        </p:sp>
        <p:sp>
          <p:nvSpPr>
            <p:cNvPr id="8" name="Freeform 18"/>
            <p:cNvSpPr>
              <a:spLocks/>
            </p:cNvSpPr>
            <p:nvPr/>
          </p:nvSpPr>
          <p:spPr bwMode="auto">
            <a:xfrm>
              <a:off x="7856254" y="5908560"/>
              <a:ext cx="206927" cy="269362"/>
            </a:xfrm>
            <a:custGeom>
              <a:avLst/>
              <a:gdLst>
                <a:gd name="T0" fmla="*/ 4 w 698"/>
                <a:gd name="T1" fmla="*/ 404 h 907"/>
                <a:gd name="T2" fmla="*/ 18 w 698"/>
                <a:gd name="T3" fmla="*/ 309 h 907"/>
                <a:gd name="T4" fmla="*/ 48 w 698"/>
                <a:gd name="T5" fmla="*/ 226 h 907"/>
                <a:gd name="T6" fmla="*/ 89 w 698"/>
                <a:gd name="T7" fmla="*/ 154 h 907"/>
                <a:gd name="T8" fmla="*/ 143 w 698"/>
                <a:gd name="T9" fmla="*/ 95 h 907"/>
                <a:gd name="T10" fmla="*/ 207 w 698"/>
                <a:gd name="T11" fmla="*/ 49 h 907"/>
                <a:gd name="T12" fmla="*/ 279 w 698"/>
                <a:gd name="T13" fmla="*/ 18 h 907"/>
                <a:gd name="T14" fmla="*/ 359 w 698"/>
                <a:gd name="T15" fmla="*/ 1 h 907"/>
                <a:gd name="T16" fmla="*/ 428 w 698"/>
                <a:gd name="T17" fmla="*/ 0 h 907"/>
                <a:gd name="T18" fmla="*/ 519 w 698"/>
                <a:gd name="T19" fmla="*/ 16 h 907"/>
                <a:gd name="T20" fmla="*/ 573 w 698"/>
                <a:gd name="T21" fmla="*/ 37 h 907"/>
                <a:gd name="T22" fmla="*/ 593 w 698"/>
                <a:gd name="T23" fmla="*/ 37 h 907"/>
                <a:gd name="T24" fmla="*/ 611 w 698"/>
                <a:gd name="T25" fmla="*/ 16 h 907"/>
                <a:gd name="T26" fmla="*/ 621 w 698"/>
                <a:gd name="T27" fmla="*/ 6 h 907"/>
                <a:gd name="T28" fmla="*/ 681 w 698"/>
                <a:gd name="T29" fmla="*/ 6 h 907"/>
                <a:gd name="T30" fmla="*/ 689 w 698"/>
                <a:gd name="T31" fmla="*/ 245 h 907"/>
                <a:gd name="T32" fmla="*/ 681 w 698"/>
                <a:gd name="T33" fmla="*/ 258 h 907"/>
                <a:gd name="T34" fmla="*/ 621 w 698"/>
                <a:gd name="T35" fmla="*/ 258 h 907"/>
                <a:gd name="T36" fmla="*/ 613 w 698"/>
                <a:gd name="T37" fmla="*/ 247 h 907"/>
                <a:gd name="T38" fmla="*/ 586 w 698"/>
                <a:gd name="T39" fmla="*/ 160 h 907"/>
                <a:gd name="T40" fmla="*/ 550 w 698"/>
                <a:gd name="T41" fmla="*/ 111 h 907"/>
                <a:gd name="T42" fmla="*/ 495 w 698"/>
                <a:gd name="T43" fmla="*/ 82 h 907"/>
                <a:gd name="T44" fmla="*/ 436 w 698"/>
                <a:gd name="T45" fmla="*/ 75 h 907"/>
                <a:gd name="T46" fmla="*/ 383 w 698"/>
                <a:gd name="T47" fmla="*/ 87 h 907"/>
                <a:gd name="T48" fmla="*/ 342 w 698"/>
                <a:gd name="T49" fmla="*/ 114 h 907"/>
                <a:gd name="T50" fmla="*/ 285 w 698"/>
                <a:gd name="T51" fmla="*/ 206 h 907"/>
                <a:gd name="T52" fmla="*/ 256 w 698"/>
                <a:gd name="T53" fmla="*/ 321 h 907"/>
                <a:gd name="T54" fmla="*/ 247 w 698"/>
                <a:gd name="T55" fmla="*/ 424 h 907"/>
                <a:gd name="T56" fmla="*/ 257 w 698"/>
                <a:gd name="T57" fmla="*/ 596 h 907"/>
                <a:gd name="T58" fmla="*/ 290 w 698"/>
                <a:gd name="T59" fmla="*/ 722 h 907"/>
                <a:gd name="T60" fmla="*/ 338 w 698"/>
                <a:gd name="T61" fmla="*/ 792 h 907"/>
                <a:gd name="T62" fmla="*/ 383 w 698"/>
                <a:gd name="T63" fmla="*/ 820 h 907"/>
                <a:gd name="T64" fmla="*/ 441 w 698"/>
                <a:gd name="T65" fmla="*/ 831 h 907"/>
                <a:gd name="T66" fmla="*/ 503 w 698"/>
                <a:gd name="T67" fmla="*/ 823 h 907"/>
                <a:gd name="T68" fmla="*/ 562 w 698"/>
                <a:gd name="T69" fmla="*/ 794 h 907"/>
                <a:gd name="T70" fmla="*/ 598 w 698"/>
                <a:gd name="T71" fmla="*/ 743 h 907"/>
                <a:gd name="T72" fmla="*/ 621 w 698"/>
                <a:gd name="T73" fmla="*/ 658 h 907"/>
                <a:gd name="T74" fmla="*/ 631 w 698"/>
                <a:gd name="T75" fmla="*/ 646 h 907"/>
                <a:gd name="T76" fmla="*/ 689 w 698"/>
                <a:gd name="T77" fmla="*/ 648 h 907"/>
                <a:gd name="T78" fmla="*/ 698 w 698"/>
                <a:gd name="T79" fmla="*/ 887 h 907"/>
                <a:gd name="T80" fmla="*/ 689 w 698"/>
                <a:gd name="T81" fmla="*/ 898 h 907"/>
                <a:gd name="T82" fmla="*/ 629 w 698"/>
                <a:gd name="T83" fmla="*/ 900 h 907"/>
                <a:gd name="T84" fmla="*/ 621 w 698"/>
                <a:gd name="T85" fmla="*/ 892 h 907"/>
                <a:gd name="T86" fmla="*/ 599 w 698"/>
                <a:gd name="T87" fmla="*/ 877 h 907"/>
                <a:gd name="T88" fmla="*/ 534 w 698"/>
                <a:gd name="T89" fmla="*/ 892 h 907"/>
                <a:gd name="T90" fmla="*/ 403 w 698"/>
                <a:gd name="T91" fmla="*/ 907 h 907"/>
                <a:gd name="T92" fmla="*/ 334 w 698"/>
                <a:gd name="T93" fmla="*/ 902 h 907"/>
                <a:gd name="T94" fmla="*/ 249 w 698"/>
                <a:gd name="T95" fmla="*/ 877 h 907"/>
                <a:gd name="T96" fmla="*/ 177 w 698"/>
                <a:gd name="T97" fmla="*/ 838 h 907"/>
                <a:gd name="T98" fmla="*/ 118 w 698"/>
                <a:gd name="T99" fmla="*/ 784 h 907"/>
                <a:gd name="T100" fmla="*/ 59 w 698"/>
                <a:gd name="T101" fmla="*/ 702 h 907"/>
                <a:gd name="T102" fmla="*/ 7 w 698"/>
                <a:gd name="T103" fmla="*/ 5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8" h="907">
                  <a:moveTo>
                    <a:pt x="0" y="455"/>
                  </a:moveTo>
                  <a:lnTo>
                    <a:pt x="0" y="455"/>
                  </a:lnTo>
                  <a:lnTo>
                    <a:pt x="2" y="429"/>
                  </a:lnTo>
                  <a:lnTo>
                    <a:pt x="4" y="404"/>
                  </a:lnTo>
                  <a:lnTo>
                    <a:pt x="5" y="378"/>
                  </a:lnTo>
                  <a:lnTo>
                    <a:pt x="8" y="355"/>
                  </a:lnTo>
                  <a:lnTo>
                    <a:pt x="13" y="332"/>
                  </a:lnTo>
                  <a:lnTo>
                    <a:pt x="18" y="309"/>
                  </a:lnTo>
                  <a:lnTo>
                    <a:pt x="25" y="286"/>
                  </a:lnTo>
                  <a:lnTo>
                    <a:pt x="31" y="265"/>
                  </a:lnTo>
                  <a:lnTo>
                    <a:pt x="38" y="245"/>
                  </a:lnTo>
                  <a:lnTo>
                    <a:pt x="48" y="226"/>
                  </a:lnTo>
                  <a:lnTo>
                    <a:pt x="56" y="206"/>
                  </a:lnTo>
                  <a:lnTo>
                    <a:pt x="67" y="188"/>
                  </a:lnTo>
                  <a:lnTo>
                    <a:pt x="77" y="170"/>
                  </a:lnTo>
                  <a:lnTo>
                    <a:pt x="89" y="154"/>
                  </a:lnTo>
                  <a:lnTo>
                    <a:pt x="102" y="137"/>
                  </a:lnTo>
                  <a:lnTo>
                    <a:pt x="115" y="123"/>
                  </a:lnTo>
                  <a:lnTo>
                    <a:pt x="128" y="108"/>
                  </a:lnTo>
                  <a:lnTo>
                    <a:pt x="143" y="95"/>
                  </a:lnTo>
                  <a:lnTo>
                    <a:pt x="157" y="82"/>
                  </a:lnTo>
                  <a:lnTo>
                    <a:pt x="174" y="70"/>
                  </a:lnTo>
                  <a:lnTo>
                    <a:pt x="190" y="59"/>
                  </a:lnTo>
                  <a:lnTo>
                    <a:pt x="207" y="49"/>
                  </a:lnTo>
                  <a:lnTo>
                    <a:pt x="225" y="39"/>
                  </a:lnTo>
                  <a:lnTo>
                    <a:pt x="243" y="31"/>
                  </a:lnTo>
                  <a:lnTo>
                    <a:pt x="261" y="24"/>
                  </a:lnTo>
                  <a:lnTo>
                    <a:pt x="279" y="18"/>
                  </a:lnTo>
                  <a:lnTo>
                    <a:pt x="298" y="11"/>
                  </a:lnTo>
                  <a:lnTo>
                    <a:pt x="318" y="8"/>
                  </a:lnTo>
                  <a:lnTo>
                    <a:pt x="339" y="3"/>
                  </a:lnTo>
                  <a:lnTo>
                    <a:pt x="359" y="1"/>
                  </a:lnTo>
                  <a:lnTo>
                    <a:pt x="380" y="0"/>
                  </a:lnTo>
                  <a:lnTo>
                    <a:pt x="401" y="0"/>
                  </a:lnTo>
                  <a:lnTo>
                    <a:pt x="401" y="0"/>
                  </a:lnTo>
                  <a:lnTo>
                    <a:pt x="428" y="0"/>
                  </a:lnTo>
                  <a:lnTo>
                    <a:pt x="452" y="1"/>
                  </a:lnTo>
                  <a:lnTo>
                    <a:pt x="472" y="5"/>
                  </a:lnTo>
                  <a:lnTo>
                    <a:pt x="490" y="8"/>
                  </a:lnTo>
                  <a:lnTo>
                    <a:pt x="519" y="16"/>
                  </a:lnTo>
                  <a:lnTo>
                    <a:pt x="541" y="24"/>
                  </a:lnTo>
                  <a:lnTo>
                    <a:pt x="541" y="24"/>
                  </a:lnTo>
                  <a:lnTo>
                    <a:pt x="563" y="34"/>
                  </a:lnTo>
                  <a:lnTo>
                    <a:pt x="573" y="37"/>
                  </a:lnTo>
                  <a:lnTo>
                    <a:pt x="583" y="39"/>
                  </a:lnTo>
                  <a:lnTo>
                    <a:pt x="583" y="39"/>
                  </a:lnTo>
                  <a:lnTo>
                    <a:pt x="588" y="39"/>
                  </a:lnTo>
                  <a:lnTo>
                    <a:pt x="593" y="37"/>
                  </a:lnTo>
                  <a:lnTo>
                    <a:pt x="598" y="36"/>
                  </a:lnTo>
                  <a:lnTo>
                    <a:pt x="601" y="33"/>
                  </a:lnTo>
                  <a:lnTo>
                    <a:pt x="608" y="24"/>
                  </a:lnTo>
                  <a:lnTo>
                    <a:pt x="611" y="16"/>
                  </a:lnTo>
                  <a:lnTo>
                    <a:pt x="611" y="16"/>
                  </a:lnTo>
                  <a:lnTo>
                    <a:pt x="614" y="11"/>
                  </a:lnTo>
                  <a:lnTo>
                    <a:pt x="617" y="8"/>
                  </a:lnTo>
                  <a:lnTo>
                    <a:pt x="621" y="6"/>
                  </a:lnTo>
                  <a:lnTo>
                    <a:pt x="624" y="5"/>
                  </a:lnTo>
                  <a:lnTo>
                    <a:pt x="676" y="5"/>
                  </a:lnTo>
                  <a:lnTo>
                    <a:pt x="676" y="5"/>
                  </a:lnTo>
                  <a:lnTo>
                    <a:pt x="681" y="6"/>
                  </a:lnTo>
                  <a:lnTo>
                    <a:pt x="686" y="8"/>
                  </a:lnTo>
                  <a:lnTo>
                    <a:pt x="688" y="13"/>
                  </a:lnTo>
                  <a:lnTo>
                    <a:pt x="689" y="18"/>
                  </a:lnTo>
                  <a:lnTo>
                    <a:pt x="689" y="245"/>
                  </a:lnTo>
                  <a:lnTo>
                    <a:pt x="689" y="245"/>
                  </a:lnTo>
                  <a:lnTo>
                    <a:pt x="688" y="250"/>
                  </a:lnTo>
                  <a:lnTo>
                    <a:pt x="686" y="255"/>
                  </a:lnTo>
                  <a:lnTo>
                    <a:pt x="681" y="258"/>
                  </a:lnTo>
                  <a:lnTo>
                    <a:pt x="676" y="258"/>
                  </a:lnTo>
                  <a:lnTo>
                    <a:pt x="626" y="258"/>
                  </a:lnTo>
                  <a:lnTo>
                    <a:pt x="626" y="258"/>
                  </a:lnTo>
                  <a:lnTo>
                    <a:pt x="621" y="258"/>
                  </a:lnTo>
                  <a:lnTo>
                    <a:pt x="617" y="257"/>
                  </a:lnTo>
                  <a:lnTo>
                    <a:pt x="614" y="252"/>
                  </a:lnTo>
                  <a:lnTo>
                    <a:pt x="613" y="247"/>
                  </a:lnTo>
                  <a:lnTo>
                    <a:pt x="613" y="247"/>
                  </a:lnTo>
                  <a:lnTo>
                    <a:pt x="604" y="209"/>
                  </a:lnTo>
                  <a:lnTo>
                    <a:pt x="599" y="191"/>
                  </a:lnTo>
                  <a:lnTo>
                    <a:pt x="593" y="175"/>
                  </a:lnTo>
                  <a:lnTo>
                    <a:pt x="586" y="160"/>
                  </a:lnTo>
                  <a:lnTo>
                    <a:pt x="580" y="145"/>
                  </a:lnTo>
                  <a:lnTo>
                    <a:pt x="572" y="132"/>
                  </a:lnTo>
                  <a:lnTo>
                    <a:pt x="562" y="121"/>
                  </a:lnTo>
                  <a:lnTo>
                    <a:pt x="550" y="111"/>
                  </a:lnTo>
                  <a:lnTo>
                    <a:pt x="539" y="101"/>
                  </a:lnTo>
                  <a:lnTo>
                    <a:pt x="526" y="93"/>
                  </a:lnTo>
                  <a:lnTo>
                    <a:pt x="511" y="87"/>
                  </a:lnTo>
                  <a:lnTo>
                    <a:pt x="495" y="82"/>
                  </a:lnTo>
                  <a:lnTo>
                    <a:pt x="477" y="78"/>
                  </a:lnTo>
                  <a:lnTo>
                    <a:pt x="457" y="77"/>
                  </a:lnTo>
                  <a:lnTo>
                    <a:pt x="436" y="75"/>
                  </a:lnTo>
                  <a:lnTo>
                    <a:pt x="436" y="75"/>
                  </a:lnTo>
                  <a:lnTo>
                    <a:pt x="421" y="77"/>
                  </a:lnTo>
                  <a:lnTo>
                    <a:pt x="408" y="78"/>
                  </a:lnTo>
                  <a:lnTo>
                    <a:pt x="395" y="82"/>
                  </a:lnTo>
                  <a:lnTo>
                    <a:pt x="383" y="87"/>
                  </a:lnTo>
                  <a:lnTo>
                    <a:pt x="372" y="91"/>
                  </a:lnTo>
                  <a:lnTo>
                    <a:pt x="362" y="98"/>
                  </a:lnTo>
                  <a:lnTo>
                    <a:pt x="352" y="105"/>
                  </a:lnTo>
                  <a:lnTo>
                    <a:pt x="342" y="114"/>
                  </a:lnTo>
                  <a:lnTo>
                    <a:pt x="324" y="132"/>
                  </a:lnTo>
                  <a:lnTo>
                    <a:pt x="310" y="155"/>
                  </a:lnTo>
                  <a:lnTo>
                    <a:pt x="297" y="180"/>
                  </a:lnTo>
                  <a:lnTo>
                    <a:pt x="285" y="206"/>
                  </a:lnTo>
                  <a:lnTo>
                    <a:pt x="275" y="234"/>
                  </a:lnTo>
                  <a:lnTo>
                    <a:pt x="267" y="263"/>
                  </a:lnTo>
                  <a:lnTo>
                    <a:pt x="261" y="291"/>
                  </a:lnTo>
                  <a:lnTo>
                    <a:pt x="256" y="321"/>
                  </a:lnTo>
                  <a:lnTo>
                    <a:pt x="252" y="348"/>
                  </a:lnTo>
                  <a:lnTo>
                    <a:pt x="249" y="375"/>
                  </a:lnTo>
                  <a:lnTo>
                    <a:pt x="247" y="424"/>
                  </a:lnTo>
                  <a:lnTo>
                    <a:pt x="247" y="424"/>
                  </a:lnTo>
                  <a:lnTo>
                    <a:pt x="249" y="491"/>
                  </a:lnTo>
                  <a:lnTo>
                    <a:pt x="251" y="525"/>
                  </a:lnTo>
                  <a:lnTo>
                    <a:pt x="254" y="561"/>
                  </a:lnTo>
                  <a:lnTo>
                    <a:pt x="257" y="596"/>
                  </a:lnTo>
                  <a:lnTo>
                    <a:pt x="264" y="628"/>
                  </a:lnTo>
                  <a:lnTo>
                    <a:pt x="270" y="661"/>
                  </a:lnTo>
                  <a:lnTo>
                    <a:pt x="280" y="692"/>
                  </a:lnTo>
                  <a:lnTo>
                    <a:pt x="290" y="722"/>
                  </a:lnTo>
                  <a:lnTo>
                    <a:pt x="303" y="748"/>
                  </a:lnTo>
                  <a:lnTo>
                    <a:pt x="320" y="772"/>
                  </a:lnTo>
                  <a:lnTo>
                    <a:pt x="328" y="782"/>
                  </a:lnTo>
                  <a:lnTo>
                    <a:pt x="338" y="792"/>
                  </a:lnTo>
                  <a:lnTo>
                    <a:pt x="347" y="800"/>
                  </a:lnTo>
                  <a:lnTo>
                    <a:pt x="359" y="808"/>
                  </a:lnTo>
                  <a:lnTo>
                    <a:pt x="370" y="815"/>
                  </a:lnTo>
                  <a:lnTo>
                    <a:pt x="383" y="820"/>
                  </a:lnTo>
                  <a:lnTo>
                    <a:pt x="396" y="825"/>
                  </a:lnTo>
                  <a:lnTo>
                    <a:pt x="411" y="828"/>
                  </a:lnTo>
                  <a:lnTo>
                    <a:pt x="426" y="830"/>
                  </a:lnTo>
                  <a:lnTo>
                    <a:pt x="441" y="831"/>
                  </a:lnTo>
                  <a:lnTo>
                    <a:pt x="441" y="831"/>
                  </a:lnTo>
                  <a:lnTo>
                    <a:pt x="464" y="830"/>
                  </a:lnTo>
                  <a:lnTo>
                    <a:pt x="485" y="828"/>
                  </a:lnTo>
                  <a:lnTo>
                    <a:pt x="503" y="823"/>
                  </a:lnTo>
                  <a:lnTo>
                    <a:pt x="521" y="818"/>
                  </a:lnTo>
                  <a:lnTo>
                    <a:pt x="536" y="812"/>
                  </a:lnTo>
                  <a:lnTo>
                    <a:pt x="549" y="803"/>
                  </a:lnTo>
                  <a:lnTo>
                    <a:pt x="562" y="794"/>
                  </a:lnTo>
                  <a:lnTo>
                    <a:pt x="572" y="782"/>
                  </a:lnTo>
                  <a:lnTo>
                    <a:pt x="581" y="771"/>
                  </a:lnTo>
                  <a:lnTo>
                    <a:pt x="590" y="758"/>
                  </a:lnTo>
                  <a:lnTo>
                    <a:pt x="598" y="743"/>
                  </a:lnTo>
                  <a:lnTo>
                    <a:pt x="603" y="728"/>
                  </a:lnTo>
                  <a:lnTo>
                    <a:pt x="609" y="712"/>
                  </a:lnTo>
                  <a:lnTo>
                    <a:pt x="614" y="695"/>
                  </a:lnTo>
                  <a:lnTo>
                    <a:pt x="621" y="658"/>
                  </a:lnTo>
                  <a:lnTo>
                    <a:pt x="621" y="658"/>
                  </a:lnTo>
                  <a:lnTo>
                    <a:pt x="622" y="653"/>
                  </a:lnTo>
                  <a:lnTo>
                    <a:pt x="626" y="648"/>
                  </a:lnTo>
                  <a:lnTo>
                    <a:pt x="631" y="646"/>
                  </a:lnTo>
                  <a:lnTo>
                    <a:pt x="634" y="646"/>
                  </a:lnTo>
                  <a:lnTo>
                    <a:pt x="685" y="646"/>
                  </a:lnTo>
                  <a:lnTo>
                    <a:pt x="685" y="646"/>
                  </a:lnTo>
                  <a:lnTo>
                    <a:pt x="689" y="648"/>
                  </a:lnTo>
                  <a:lnTo>
                    <a:pt x="694" y="650"/>
                  </a:lnTo>
                  <a:lnTo>
                    <a:pt x="696" y="654"/>
                  </a:lnTo>
                  <a:lnTo>
                    <a:pt x="698" y="659"/>
                  </a:lnTo>
                  <a:lnTo>
                    <a:pt x="698" y="887"/>
                  </a:lnTo>
                  <a:lnTo>
                    <a:pt x="698" y="887"/>
                  </a:lnTo>
                  <a:lnTo>
                    <a:pt x="696" y="892"/>
                  </a:lnTo>
                  <a:lnTo>
                    <a:pt x="694" y="897"/>
                  </a:lnTo>
                  <a:lnTo>
                    <a:pt x="689" y="898"/>
                  </a:lnTo>
                  <a:lnTo>
                    <a:pt x="685" y="900"/>
                  </a:lnTo>
                  <a:lnTo>
                    <a:pt x="632" y="900"/>
                  </a:lnTo>
                  <a:lnTo>
                    <a:pt x="632" y="900"/>
                  </a:lnTo>
                  <a:lnTo>
                    <a:pt x="629" y="900"/>
                  </a:lnTo>
                  <a:lnTo>
                    <a:pt x="626" y="898"/>
                  </a:lnTo>
                  <a:lnTo>
                    <a:pt x="622" y="895"/>
                  </a:lnTo>
                  <a:lnTo>
                    <a:pt x="621" y="892"/>
                  </a:lnTo>
                  <a:lnTo>
                    <a:pt x="621" y="892"/>
                  </a:lnTo>
                  <a:lnTo>
                    <a:pt x="617" y="887"/>
                  </a:lnTo>
                  <a:lnTo>
                    <a:pt x="613" y="882"/>
                  </a:lnTo>
                  <a:lnTo>
                    <a:pt x="608" y="877"/>
                  </a:lnTo>
                  <a:lnTo>
                    <a:pt x="599" y="877"/>
                  </a:lnTo>
                  <a:lnTo>
                    <a:pt x="599" y="877"/>
                  </a:lnTo>
                  <a:lnTo>
                    <a:pt x="588" y="877"/>
                  </a:lnTo>
                  <a:lnTo>
                    <a:pt x="573" y="880"/>
                  </a:lnTo>
                  <a:lnTo>
                    <a:pt x="534" y="892"/>
                  </a:lnTo>
                  <a:lnTo>
                    <a:pt x="509" y="897"/>
                  </a:lnTo>
                  <a:lnTo>
                    <a:pt x="478" y="902"/>
                  </a:lnTo>
                  <a:lnTo>
                    <a:pt x="444" y="905"/>
                  </a:lnTo>
                  <a:lnTo>
                    <a:pt x="403" y="907"/>
                  </a:lnTo>
                  <a:lnTo>
                    <a:pt x="403" y="907"/>
                  </a:lnTo>
                  <a:lnTo>
                    <a:pt x="380" y="907"/>
                  </a:lnTo>
                  <a:lnTo>
                    <a:pt x="356" y="903"/>
                  </a:lnTo>
                  <a:lnTo>
                    <a:pt x="334" y="902"/>
                  </a:lnTo>
                  <a:lnTo>
                    <a:pt x="311" y="897"/>
                  </a:lnTo>
                  <a:lnTo>
                    <a:pt x="290" y="892"/>
                  </a:lnTo>
                  <a:lnTo>
                    <a:pt x="270" y="885"/>
                  </a:lnTo>
                  <a:lnTo>
                    <a:pt x="249" y="877"/>
                  </a:lnTo>
                  <a:lnTo>
                    <a:pt x="231" y="869"/>
                  </a:lnTo>
                  <a:lnTo>
                    <a:pt x="213" y="859"/>
                  </a:lnTo>
                  <a:lnTo>
                    <a:pt x="195" y="849"/>
                  </a:lnTo>
                  <a:lnTo>
                    <a:pt x="177" y="838"/>
                  </a:lnTo>
                  <a:lnTo>
                    <a:pt x="162" y="826"/>
                  </a:lnTo>
                  <a:lnTo>
                    <a:pt x="146" y="813"/>
                  </a:lnTo>
                  <a:lnTo>
                    <a:pt x="131" y="799"/>
                  </a:lnTo>
                  <a:lnTo>
                    <a:pt x="118" y="784"/>
                  </a:lnTo>
                  <a:lnTo>
                    <a:pt x="105" y="769"/>
                  </a:lnTo>
                  <a:lnTo>
                    <a:pt x="92" y="753"/>
                  </a:lnTo>
                  <a:lnTo>
                    <a:pt x="81" y="736"/>
                  </a:lnTo>
                  <a:lnTo>
                    <a:pt x="59" y="702"/>
                  </a:lnTo>
                  <a:lnTo>
                    <a:pt x="41" y="664"/>
                  </a:lnTo>
                  <a:lnTo>
                    <a:pt x="26" y="625"/>
                  </a:lnTo>
                  <a:lnTo>
                    <a:pt x="15" y="584"/>
                  </a:lnTo>
                  <a:lnTo>
                    <a:pt x="7" y="542"/>
                  </a:lnTo>
                  <a:lnTo>
                    <a:pt x="2" y="499"/>
                  </a:lnTo>
                  <a:lnTo>
                    <a:pt x="0"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solidFill>
                  <a:schemeClr val="tx2"/>
                </a:solidFill>
              </a:endParaRPr>
            </a:p>
          </p:txBody>
        </p:sp>
        <p:sp>
          <p:nvSpPr>
            <p:cNvPr id="9" name="Freeform 20"/>
            <p:cNvSpPr>
              <a:spLocks noEditPoints="1"/>
            </p:cNvSpPr>
            <p:nvPr/>
          </p:nvSpPr>
          <p:spPr bwMode="auto">
            <a:xfrm>
              <a:off x="8051289" y="5957319"/>
              <a:ext cx="137357" cy="129032"/>
            </a:xfrm>
            <a:custGeom>
              <a:avLst/>
              <a:gdLst>
                <a:gd name="T0" fmla="*/ 345 w 461"/>
                <a:gd name="T1" fmla="*/ 187 h 436"/>
                <a:gd name="T2" fmla="*/ 339 w 461"/>
                <a:gd name="T3" fmla="*/ 194 h 436"/>
                <a:gd name="T4" fmla="*/ 291 w 461"/>
                <a:gd name="T5" fmla="*/ 290 h 436"/>
                <a:gd name="T6" fmla="*/ 263 w 461"/>
                <a:gd name="T7" fmla="*/ 179 h 436"/>
                <a:gd name="T8" fmla="*/ 316 w 461"/>
                <a:gd name="T9" fmla="*/ 128 h 436"/>
                <a:gd name="T10" fmla="*/ 325 w 461"/>
                <a:gd name="T11" fmla="*/ 94 h 436"/>
                <a:gd name="T12" fmla="*/ 321 w 461"/>
                <a:gd name="T13" fmla="*/ 64 h 436"/>
                <a:gd name="T14" fmla="*/ 299 w 461"/>
                <a:gd name="T15" fmla="*/ 32 h 436"/>
                <a:gd name="T16" fmla="*/ 257 w 461"/>
                <a:gd name="T17" fmla="*/ 7 h 436"/>
                <a:gd name="T18" fmla="*/ 186 w 461"/>
                <a:gd name="T19" fmla="*/ 2 h 436"/>
                <a:gd name="T20" fmla="*/ 131 w 461"/>
                <a:gd name="T21" fmla="*/ 22 h 436"/>
                <a:gd name="T22" fmla="*/ 98 w 461"/>
                <a:gd name="T23" fmla="*/ 51 h 436"/>
                <a:gd name="T24" fmla="*/ 83 w 461"/>
                <a:gd name="T25" fmla="*/ 97 h 436"/>
                <a:gd name="T26" fmla="*/ 85 w 461"/>
                <a:gd name="T27" fmla="*/ 133 h 436"/>
                <a:gd name="T28" fmla="*/ 111 w 461"/>
                <a:gd name="T29" fmla="*/ 187 h 436"/>
                <a:gd name="T30" fmla="*/ 54 w 461"/>
                <a:gd name="T31" fmla="*/ 217 h 436"/>
                <a:gd name="T32" fmla="*/ 10 w 461"/>
                <a:gd name="T33" fmla="*/ 269 h 436"/>
                <a:gd name="T34" fmla="*/ 0 w 461"/>
                <a:gd name="T35" fmla="*/ 315 h 436"/>
                <a:gd name="T36" fmla="*/ 8 w 461"/>
                <a:gd name="T37" fmla="*/ 354 h 436"/>
                <a:gd name="T38" fmla="*/ 36 w 461"/>
                <a:gd name="T39" fmla="*/ 395 h 436"/>
                <a:gd name="T40" fmla="*/ 80 w 461"/>
                <a:gd name="T41" fmla="*/ 423 h 436"/>
                <a:gd name="T42" fmla="*/ 137 w 461"/>
                <a:gd name="T43" fmla="*/ 434 h 436"/>
                <a:gd name="T44" fmla="*/ 195 w 461"/>
                <a:gd name="T45" fmla="*/ 431 h 436"/>
                <a:gd name="T46" fmla="*/ 255 w 461"/>
                <a:gd name="T47" fmla="*/ 410 h 436"/>
                <a:gd name="T48" fmla="*/ 294 w 461"/>
                <a:gd name="T49" fmla="*/ 416 h 436"/>
                <a:gd name="T50" fmla="*/ 350 w 461"/>
                <a:gd name="T51" fmla="*/ 426 h 436"/>
                <a:gd name="T52" fmla="*/ 401 w 461"/>
                <a:gd name="T53" fmla="*/ 424 h 436"/>
                <a:gd name="T54" fmla="*/ 416 w 461"/>
                <a:gd name="T55" fmla="*/ 388 h 436"/>
                <a:gd name="T56" fmla="*/ 416 w 461"/>
                <a:gd name="T57" fmla="*/ 380 h 436"/>
                <a:gd name="T58" fmla="*/ 389 w 461"/>
                <a:gd name="T59" fmla="*/ 379 h 436"/>
                <a:gd name="T60" fmla="*/ 343 w 461"/>
                <a:gd name="T61" fmla="*/ 362 h 436"/>
                <a:gd name="T62" fmla="*/ 327 w 461"/>
                <a:gd name="T63" fmla="*/ 344 h 436"/>
                <a:gd name="T64" fmla="*/ 375 w 461"/>
                <a:gd name="T65" fmla="*/ 289 h 436"/>
                <a:gd name="T66" fmla="*/ 404 w 461"/>
                <a:gd name="T67" fmla="*/ 243 h 436"/>
                <a:gd name="T68" fmla="*/ 435 w 461"/>
                <a:gd name="T69" fmla="*/ 233 h 436"/>
                <a:gd name="T70" fmla="*/ 445 w 461"/>
                <a:gd name="T71" fmla="*/ 228 h 436"/>
                <a:gd name="T72" fmla="*/ 461 w 461"/>
                <a:gd name="T73" fmla="*/ 190 h 436"/>
                <a:gd name="T74" fmla="*/ 452 w 461"/>
                <a:gd name="T75" fmla="*/ 187 h 436"/>
                <a:gd name="T76" fmla="*/ 226 w 461"/>
                <a:gd name="T77" fmla="*/ 43 h 436"/>
                <a:gd name="T78" fmla="*/ 244 w 461"/>
                <a:gd name="T79" fmla="*/ 68 h 436"/>
                <a:gd name="T80" fmla="*/ 244 w 461"/>
                <a:gd name="T81" fmla="*/ 95 h 436"/>
                <a:gd name="T82" fmla="*/ 226 w 461"/>
                <a:gd name="T83" fmla="*/ 135 h 436"/>
                <a:gd name="T84" fmla="*/ 196 w 461"/>
                <a:gd name="T85" fmla="*/ 158 h 436"/>
                <a:gd name="T86" fmla="*/ 170 w 461"/>
                <a:gd name="T87" fmla="*/ 84 h 436"/>
                <a:gd name="T88" fmla="*/ 175 w 461"/>
                <a:gd name="T89" fmla="*/ 59 h 436"/>
                <a:gd name="T90" fmla="*/ 201 w 461"/>
                <a:gd name="T91" fmla="*/ 40 h 436"/>
                <a:gd name="T92" fmla="*/ 167 w 461"/>
                <a:gd name="T93" fmla="*/ 388 h 436"/>
                <a:gd name="T94" fmla="*/ 113 w 461"/>
                <a:gd name="T95" fmla="*/ 367 h 436"/>
                <a:gd name="T96" fmla="*/ 91 w 461"/>
                <a:gd name="T97" fmla="*/ 310 h 436"/>
                <a:gd name="T98" fmla="*/ 100 w 461"/>
                <a:gd name="T99" fmla="*/ 275 h 436"/>
                <a:gd name="T100" fmla="*/ 127 w 461"/>
                <a:gd name="T101" fmla="*/ 235 h 436"/>
                <a:gd name="T102" fmla="*/ 217 w 461"/>
                <a:gd name="T103" fmla="*/ 369 h 436"/>
                <a:gd name="T104" fmla="*/ 177 w 461"/>
                <a:gd name="T105" fmla="*/ 38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1" h="436">
                  <a:moveTo>
                    <a:pt x="452" y="187"/>
                  </a:moveTo>
                  <a:lnTo>
                    <a:pt x="350" y="187"/>
                  </a:lnTo>
                  <a:lnTo>
                    <a:pt x="350" y="187"/>
                  </a:lnTo>
                  <a:lnTo>
                    <a:pt x="345" y="187"/>
                  </a:lnTo>
                  <a:lnTo>
                    <a:pt x="340" y="189"/>
                  </a:lnTo>
                  <a:lnTo>
                    <a:pt x="339" y="190"/>
                  </a:lnTo>
                  <a:lnTo>
                    <a:pt x="339" y="194"/>
                  </a:lnTo>
                  <a:lnTo>
                    <a:pt x="339" y="194"/>
                  </a:lnTo>
                  <a:lnTo>
                    <a:pt x="330" y="218"/>
                  </a:lnTo>
                  <a:lnTo>
                    <a:pt x="321" y="241"/>
                  </a:lnTo>
                  <a:lnTo>
                    <a:pt x="307" y="266"/>
                  </a:lnTo>
                  <a:lnTo>
                    <a:pt x="291" y="290"/>
                  </a:lnTo>
                  <a:lnTo>
                    <a:pt x="229" y="197"/>
                  </a:lnTo>
                  <a:lnTo>
                    <a:pt x="229" y="197"/>
                  </a:lnTo>
                  <a:lnTo>
                    <a:pt x="245" y="189"/>
                  </a:lnTo>
                  <a:lnTo>
                    <a:pt x="263" y="179"/>
                  </a:lnTo>
                  <a:lnTo>
                    <a:pt x="280" y="169"/>
                  </a:lnTo>
                  <a:lnTo>
                    <a:pt x="294" y="156"/>
                  </a:lnTo>
                  <a:lnTo>
                    <a:pt x="306" y="143"/>
                  </a:lnTo>
                  <a:lnTo>
                    <a:pt x="316" y="128"/>
                  </a:lnTo>
                  <a:lnTo>
                    <a:pt x="321" y="122"/>
                  </a:lnTo>
                  <a:lnTo>
                    <a:pt x="322" y="112"/>
                  </a:lnTo>
                  <a:lnTo>
                    <a:pt x="324" y="104"/>
                  </a:lnTo>
                  <a:lnTo>
                    <a:pt x="325" y="94"/>
                  </a:lnTo>
                  <a:lnTo>
                    <a:pt x="325" y="94"/>
                  </a:lnTo>
                  <a:lnTo>
                    <a:pt x="324" y="84"/>
                  </a:lnTo>
                  <a:lnTo>
                    <a:pt x="322" y="74"/>
                  </a:lnTo>
                  <a:lnTo>
                    <a:pt x="321" y="64"/>
                  </a:lnTo>
                  <a:lnTo>
                    <a:pt x="317" y="56"/>
                  </a:lnTo>
                  <a:lnTo>
                    <a:pt x="312" y="46"/>
                  </a:lnTo>
                  <a:lnTo>
                    <a:pt x="306" y="40"/>
                  </a:lnTo>
                  <a:lnTo>
                    <a:pt x="299" y="32"/>
                  </a:lnTo>
                  <a:lnTo>
                    <a:pt x="293" y="25"/>
                  </a:lnTo>
                  <a:lnTo>
                    <a:pt x="285" y="20"/>
                  </a:lnTo>
                  <a:lnTo>
                    <a:pt x="276" y="15"/>
                  </a:lnTo>
                  <a:lnTo>
                    <a:pt x="257" y="7"/>
                  </a:lnTo>
                  <a:lnTo>
                    <a:pt x="235" y="2"/>
                  </a:lnTo>
                  <a:lnTo>
                    <a:pt x="211" y="0"/>
                  </a:lnTo>
                  <a:lnTo>
                    <a:pt x="211" y="0"/>
                  </a:lnTo>
                  <a:lnTo>
                    <a:pt x="186" y="2"/>
                  </a:lnTo>
                  <a:lnTo>
                    <a:pt x="163" y="7"/>
                  </a:lnTo>
                  <a:lnTo>
                    <a:pt x="152" y="10"/>
                  </a:lnTo>
                  <a:lnTo>
                    <a:pt x="141" y="15"/>
                  </a:lnTo>
                  <a:lnTo>
                    <a:pt x="131" y="22"/>
                  </a:lnTo>
                  <a:lnTo>
                    <a:pt x="123" y="28"/>
                  </a:lnTo>
                  <a:lnTo>
                    <a:pt x="113" y="35"/>
                  </a:lnTo>
                  <a:lnTo>
                    <a:pt x="106" y="43"/>
                  </a:lnTo>
                  <a:lnTo>
                    <a:pt x="98" y="51"/>
                  </a:lnTo>
                  <a:lnTo>
                    <a:pt x="93" y="61"/>
                  </a:lnTo>
                  <a:lnTo>
                    <a:pt x="88" y="72"/>
                  </a:lnTo>
                  <a:lnTo>
                    <a:pt x="85" y="84"/>
                  </a:lnTo>
                  <a:lnTo>
                    <a:pt x="83" y="97"/>
                  </a:lnTo>
                  <a:lnTo>
                    <a:pt x="82" y="110"/>
                  </a:lnTo>
                  <a:lnTo>
                    <a:pt x="82" y="110"/>
                  </a:lnTo>
                  <a:lnTo>
                    <a:pt x="83" y="122"/>
                  </a:lnTo>
                  <a:lnTo>
                    <a:pt x="85" y="133"/>
                  </a:lnTo>
                  <a:lnTo>
                    <a:pt x="86" y="143"/>
                  </a:lnTo>
                  <a:lnTo>
                    <a:pt x="91" y="153"/>
                  </a:lnTo>
                  <a:lnTo>
                    <a:pt x="100" y="171"/>
                  </a:lnTo>
                  <a:lnTo>
                    <a:pt x="111" y="187"/>
                  </a:lnTo>
                  <a:lnTo>
                    <a:pt x="111" y="187"/>
                  </a:lnTo>
                  <a:lnTo>
                    <a:pt x="91" y="194"/>
                  </a:lnTo>
                  <a:lnTo>
                    <a:pt x="72" y="203"/>
                  </a:lnTo>
                  <a:lnTo>
                    <a:pt x="54" y="217"/>
                  </a:lnTo>
                  <a:lnTo>
                    <a:pt x="36" y="231"/>
                  </a:lnTo>
                  <a:lnTo>
                    <a:pt x="21" y="249"/>
                  </a:lnTo>
                  <a:lnTo>
                    <a:pt x="14" y="259"/>
                  </a:lnTo>
                  <a:lnTo>
                    <a:pt x="10" y="269"/>
                  </a:lnTo>
                  <a:lnTo>
                    <a:pt x="5" y="279"/>
                  </a:lnTo>
                  <a:lnTo>
                    <a:pt x="1" y="290"/>
                  </a:lnTo>
                  <a:lnTo>
                    <a:pt x="0" y="302"/>
                  </a:lnTo>
                  <a:lnTo>
                    <a:pt x="0" y="315"/>
                  </a:lnTo>
                  <a:lnTo>
                    <a:pt x="0" y="315"/>
                  </a:lnTo>
                  <a:lnTo>
                    <a:pt x="1" y="328"/>
                  </a:lnTo>
                  <a:lnTo>
                    <a:pt x="3" y="341"/>
                  </a:lnTo>
                  <a:lnTo>
                    <a:pt x="8" y="354"/>
                  </a:lnTo>
                  <a:lnTo>
                    <a:pt x="13" y="365"/>
                  </a:lnTo>
                  <a:lnTo>
                    <a:pt x="19" y="377"/>
                  </a:lnTo>
                  <a:lnTo>
                    <a:pt x="28" y="387"/>
                  </a:lnTo>
                  <a:lnTo>
                    <a:pt x="36" y="395"/>
                  </a:lnTo>
                  <a:lnTo>
                    <a:pt x="46" y="403"/>
                  </a:lnTo>
                  <a:lnTo>
                    <a:pt x="57" y="411"/>
                  </a:lnTo>
                  <a:lnTo>
                    <a:pt x="68" y="418"/>
                  </a:lnTo>
                  <a:lnTo>
                    <a:pt x="80" y="423"/>
                  </a:lnTo>
                  <a:lnTo>
                    <a:pt x="95" y="428"/>
                  </a:lnTo>
                  <a:lnTo>
                    <a:pt x="108" y="431"/>
                  </a:lnTo>
                  <a:lnTo>
                    <a:pt x="123" y="433"/>
                  </a:lnTo>
                  <a:lnTo>
                    <a:pt x="137" y="434"/>
                  </a:lnTo>
                  <a:lnTo>
                    <a:pt x="154" y="436"/>
                  </a:lnTo>
                  <a:lnTo>
                    <a:pt x="154" y="436"/>
                  </a:lnTo>
                  <a:lnTo>
                    <a:pt x="180" y="434"/>
                  </a:lnTo>
                  <a:lnTo>
                    <a:pt x="195" y="431"/>
                  </a:lnTo>
                  <a:lnTo>
                    <a:pt x="209" y="428"/>
                  </a:lnTo>
                  <a:lnTo>
                    <a:pt x="226" y="423"/>
                  </a:lnTo>
                  <a:lnTo>
                    <a:pt x="240" y="418"/>
                  </a:lnTo>
                  <a:lnTo>
                    <a:pt x="255" y="410"/>
                  </a:lnTo>
                  <a:lnTo>
                    <a:pt x="270" y="400"/>
                  </a:lnTo>
                  <a:lnTo>
                    <a:pt x="270" y="400"/>
                  </a:lnTo>
                  <a:lnTo>
                    <a:pt x="281" y="410"/>
                  </a:lnTo>
                  <a:lnTo>
                    <a:pt x="294" y="416"/>
                  </a:lnTo>
                  <a:lnTo>
                    <a:pt x="309" y="421"/>
                  </a:lnTo>
                  <a:lnTo>
                    <a:pt x="321" y="424"/>
                  </a:lnTo>
                  <a:lnTo>
                    <a:pt x="342" y="426"/>
                  </a:lnTo>
                  <a:lnTo>
                    <a:pt x="350" y="426"/>
                  </a:lnTo>
                  <a:lnTo>
                    <a:pt x="391" y="426"/>
                  </a:lnTo>
                  <a:lnTo>
                    <a:pt x="391" y="426"/>
                  </a:lnTo>
                  <a:lnTo>
                    <a:pt x="396" y="426"/>
                  </a:lnTo>
                  <a:lnTo>
                    <a:pt x="401" y="424"/>
                  </a:lnTo>
                  <a:lnTo>
                    <a:pt x="402" y="421"/>
                  </a:lnTo>
                  <a:lnTo>
                    <a:pt x="404" y="418"/>
                  </a:lnTo>
                  <a:lnTo>
                    <a:pt x="416" y="388"/>
                  </a:lnTo>
                  <a:lnTo>
                    <a:pt x="416" y="388"/>
                  </a:lnTo>
                  <a:lnTo>
                    <a:pt x="417" y="385"/>
                  </a:lnTo>
                  <a:lnTo>
                    <a:pt x="417" y="382"/>
                  </a:lnTo>
                  <a:lnTo>
                    <a:pt x="416" y="380"/>
                  </a:lnTo>
                  <a:lnTo>
                    <a:pt x="416" y="380"/>
                  </a:lnTo>
                  <a:lnTo>
                    <a:pt x="411" y="379"/>
                  </a:lnTo>
                  <a:lnTo>
                    <a:pt x="407" y="379"/>
                  </a:lnTo>
                  <a:lnTo>
                    <a:pt x="389" y="379"/>
                  </a:lnTo>
                  <a:lnTo>
                    <a:pt x="389" y="379"/>
                  </a:lnTo>
                  <a:lnTo>
                    <a:pt x="375" y="377"/>
                  </a:lnTo>
                  <a:lnTo>
                    <a:pt x="361" y="374"/>
                  </a:lnTo>
                  <a:lnTo>
                    <a:pt x="352" y="367"/>
                  </a:lnTo>
                  <a:lnTo>
                    <a:pt x="343" y="362"/>
                  </a:lnTo>
                  <a:lnTo>
                    <a:pt x="337" y="356"/>
                  </a:lnTo>
                  <a:lnTo>
                    <a:pt x="332" y="351"/>
                  </a:lnTo>
                  <a:lnTo>
                    <a:pt x="327" y="344"/>
                  </a:lnTo>
                  <a:lnTo>
                    <a:pt x="327" y="344"/>
                  </a:lnTo>
                  <a:lnTo>
                    <a:pt x="343" y="328"/>
                  </a:lnTo>
                  <a:lnTo>
                    <a:pt x="355" y="316"/>
                  </a:lnTo>
                  <a:lnTo>
                    <a:pt x="375" y="289"/>
                  </a:lnTo>
                  <a:lnTo>
                    <a:pt x="375" y="289"/>
                  </a:lnTo>
                  <a:lnTo>
                    <a:pt x="391" y="264"/>
                  </a:lnTo>
                  <a:lnTo>
                    <a:pt x="399" y="249"/>
                  </a:lnTo>
                  <a:lnTo>
                    <a:pt x="399" y="249"/>
                  </a:lnTo>
                  <a:lnTo>
                    <a:pt x="404" y="243"/>
                  </a:lnTo>
                  <a:lnTo>
                    <a:pt x="409" y="238"/>
                  </a:lnTo>
                  <a:lnTo>
                    <a:pt x="414" y="235"/>
                  </a:lnTo>
                  <a:lnTo>
                    <a:pt x="420" y="233"/>
                  </a:lnTo>
                  <a:lnTo>
                    <a:pt x="435" y="233"/>
                  </a:lnTo>
                  <a:lnTo>
                    <a:pt x="435" y="233"/>
                  </a:lnTo>
                  <a:lnTo>
                    <a:pt x="438" y="233"/>
                  </a:lnTo>
                  <a:lnTo>
                    <a:pt x="442" y="231"/>
                  </a:lnTo>
                  <a:lnTo>
                    <a:pt x="445" y="228"/>
                  </a:lnTo>
                  <a:lnTo>
                    <a:pt x="447" y="225"/>
                  </a:lnTo>
                  <a:lnTo>
                    <a:pt x="460" y="197"/>
                  </a:lnTo>
                  <a:lnTo>
                    <a:pt x="460" y="197"/>
                  </a:lnTo>
                  <a:lnTo>
                    <a:pt x="461" y="190"/>
                  </a:lnTo>
                  <a:lnTo>
                    <a:pt x="460" y="187"/>
                  </a:lnTo>
                  <a:lnTo>
                    <a:pt x="455" y="187"/>
                  </a:lnTo>
                  <a:lnTo>
                    <a:pt x="452" y="187"/>
                  </a:lnTo>
                  <a:lnTo>
                    <a:pt x="452" y="187"/>
                  </a:lnTo>
                  <a:close/>
                  <a:moveTo>
                    <a:pt x="209" y="40"/>
                  </a:moveTo>
                  <a:lnTo>
                    <a:pt x="209" y="40"/>
                  </a:lnTo>
                  <a:lnTo>
                    <a:pt x="217" y="40"/>
                  </a:lnTo>
                  <a:lnTo>
                    <a:pt x="226" y="43"/>
                  </a:lnTo>
                  <a:lnTo>
                    <a:pt x="232" y="48"/>
                  </a:lnTo>
                  <a:lnTo>
                    <a:pt x="237" y="53"/>
                  </a:lnTo>
                  <a:lnTo>
                    <a:pt x="240" y="59"/>
                  </a:lnTo>
                  <a:lnTo>
                    <a:pt x="244" y="68"/>
                  </a:lnTo>
                  <a:lnTo>
                    <a:pt x="244" y="76"/>
                  </a:lnTo>
                  <a:lnTo>
                    <a:pt x="245" y="84"/>
                  </a:lnTo>
                  <a:lnTo>
                    <a:pt x="245" y="84"/>
                  </a:lnTo>
                  <a:lnTo>
                    <a:pt x="244" y="95"/>
                  </a:lnTo>
                  <a:lnTo>
                    <a:pt x="242" y="107"/>
                  </a:lnTo>
                  <a:lnTo>
                    <a:pt x="239" y="117"/>
                  </a:lnTo>
                  <a:lnTo>
                    <a:pt x="234" y="127"/>
                  </a:lnTo>
                  <a:lnTo>
                    <a:pt x="226" y="135"/>
                  </a:lnTo>
                  <a:lnTo>
                    <a:pt x="217" y="143"/>
                  </a:lnTo>
                  <a:lnTo>
                    <a:pt x="208" y="151"/>
                  </a:lnTo>
                  <a:lnTo>
                    <a:pt x="196" y="158"/>
                  </a:lnTo>
                  <a:lnTo>
                    <a:pt x="196" y="158"/>
                  </a:lnTo>
                  <a:lnTo>
                    <a:pt x="185" y="138"/>
                  </a:lnTo>
                  <a:lnTo>
                    <a:pt x="177" y="122"/>
                  </a:lnTo>
                  <a:lnTo>
                    <a:pt x="172" y="104"/>
                  </a:lnTo>
                  <a:lnTo>
                    <a:pt x="170" y="84"/>
                  </a:lnTo>
                  <a:lnTo>
                    <a:pt x="170" y="84"/>
                  </a:lnTo>
                  <a:lnTo>
                    <a:pt x="170" y="76"/>
                  </a:lnTo>
                  <a:lnTo>
                    <a:pt x="172" y="68"/>
                  </a:lnTo>
                  <a:lnTo>
                    <a:pt x="175" y="59"/>
                  </a:lnTo>
                  <a:lnTo>
                    <a:pt x="180" y="53"/>
                  </a:lnTo>
                  <a:lnTo>
                    <a:pt x="186" y="48"/>
                  </a:lnTo>
                  <a:lnTo>
                    <a:pt x="193" y="43"/>
                  </a:lnTo>
                  <a:lnTo>
                    <a:pt x="201" y="40"/>
                  </a:lnTo>
                  <a:lnTo>
                    <a:pt x="209" y="40"/>
                  </a:lnTo>
                  <a:lnTo>
                    <a:pt x="209" y="40"/>
                  </a:lnTo>
                  <a:close/>
                  <a:moveTo>
                    <a:pt x="167" y="388"/>
                  </a:moveTo>
                  <a:lnTo>
                    <a:pt x="167" y="388"/>
                  </a:lnTo>
                  <a:lnTo>
                    <a:pt x="150" y="387"/>
                  </a:lnTo>
                  <a:lnTo>
                    <a:pt x="136" y="383"/>
                  </a:lnTo>
                  <a:lnTo>
                    <a:pt x="123" y="377"/>
                  </a:lnTo>
                  <a:lnTo>
                    <a:pt x="113" y="367"/>
                  </a:lnTo>
                  <a:lnTo>
                    <a:pt x="103" y="357"/>
                  </a:lnTo>
                  <a:lnTo>
                    <a:pt x="96" y="343"/>
                  </a:lnTo>
                  <a:lnTo>
                    <a:pt x="93" y="328"/>
                  </a:lnTo>
                  <a:lnTo>
                    <a:pt x="91" y="310"/>
                  </a:lnTo>
                  <a:lnTo>
                    <a:pt x="91" y="310"/>
                  </a:lnTo>
                  <a:lnTo>
                    <a:pt x="93" y="298"/>
                  </a:lnTo>
                  <a:lnTo>
                    <a:pt x="95" y="287"/>
                  </a:lnTo>
                  <a:lnTo>
                    <a:pt x="100" y="275"/>
                  </a:lnTo>
                  <a:lnTo>
                    <a:pt x="104" y="264"/>
                  </a:lnTo>
                  <a:lnTo>
                    <a:pt x="111" y="253"/>
                  </a:lnTo>
                  <a:lnTo>
                    <a:pt x="119" y="244"/>
                  </a:lnTo>
                  <a:lnTo>
                    <a:pt x="127" y="235"/>
                  </a:lnTo>
                  <a:lnTo>
                    <a:pt x="137" y="228"/>
                  </a:lnTo>
                  <a:lnTo>
                    <a:pt x="231" y="357"/>
                  </a:lnTo>
                  <a:lnTo>
                    <a:pt x="231" y="357"/>
                  </a:lnTo>
                  <a:lnTo>
                    <a:pt x="217" y="369"/>
                  </a:lnTo>
                  <a:lnTo>
                    <a:pt x="203" y="380"/>
                  </a:lnTo>
                  <a:lnTo>
                    <a:pt x="195" y="383"/>
                  </a:lnTo>
                  <a:lnTo>
                    <a:pt x="186" y="387"/>
                  </a:lnTo>
                  <a:lnTo>
                    <a:pt x="177" y="388"/>
                  </a:lnTo>
                  <a:lnTo>
                    <a:pt x="167" y="388"/>
                  </a:lnTo>
                  <a:lnTo>
                    <a:pt x="167"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solidFill>
                  <a:schemeClr val="tx2"/>
                </a:solidFill>
              </a:endParaRPr>
            </a:p>
          </p:txBody>
        </p:sp>
        <p:sp>
          <p:nvSpPr>
            <p:cNvPr id="10" name="Freeform 21"/>
            <p:cNvSpPr>
              <a:spLocks noEditPoints="1"/>
            </p:cNvSpPr>
            <p:nvPr/>
          </p:nvSpPr>
          <p:spPr bwMode="auto">
            <a:xfrm>
              <a:off x="8136319" y="5909749"/>
              <a:ext cx="269362" cy="266388"/>
            </a:xfrm>
            <a:custGeom>
              <a:avLst/>
              <a:gdLst>
                <a:gd name="T0" fmla="*/ 878 w 905"/>
                <a:gd name="T1" fmla="*/ 818 h 895"/>
                <a:gd name="T2" fmla="*/ 865 w 905"/>
                <a:gd name="T3" fmla="*/ 818 h 895"/>
                <a:gd name="T4" fmla="*/ 845 w 905"/>
                <a:gd name="T5" fmla="*/ 813 h 895"/>
                <a:gd name="T6" fmla="*/ 830 w 905"/>
                <a:gd name="T7" fmla="*/ 803 h 895"/>
                <a:gd name="T8" fmla="*/ 820 w 905"/>
                <a:gd name="T9" fmla="*/ 787 h 895"/>
                <a:gd name="T10" fmla="*/ 817 w 905"/>
                <a:gd name="T11" fmla="*/ 776 h 895"/>
                <a:gd name="T12" fmla="*/ 549 w 905"/>
                <a:gd name="T13" fmla="*/ 11 h 895"/>
                <a:gd name="T14" fmla="*/ 542 w 905"/>
                <a:gd name="T15" fmla="*/ 3 h 895"/>
                <a:gd name="T16" fmla="*/ 532 w 905"/>
                <a:gd name="T17" fmla="*/ 0 h 895"/>
                <a:gd name="T18" fmla="*/ 429 w 905"/>
                <a:gd name="T19" fmla="*/ 0 h 895"/>
                <a:gd name="T20" fmla="*/ 419 w 905"/>
                <a:gd name="T21" fmla="*/ 3 h 895"/>
                <a:gd name="T22" fmla="*/ 413 w 905"/>
                <a:gd name="T23" fmla="*/ 11 h 895"/>
                <a:gd name="T24" fmla="*/ 92 w 905"/>
                <a:gd name="T25" fmla="*/ 779 h 895"/>
                <a:gd name="T26" fmla="*/ 80 w 905"/>
                <a:gd name="T27" fmla="*/ 798 h 895"/>
                <a:gd name="T28" fmla="*/ 64 w 905"/>
                <a:gd name="T29" fmla="*/ 812 h 895"/>
                <a:gd name="T30" fmla="*/ 51 w 905"/>
                <a:gd name="T31" fmla="*/ 816 h 895"/>
                <a:gd name="T32" fmla="*/ 21 w 905"/>
                <a:gd name="T33" fmla="*/ 818 h 895"/>
                <a:gd name="T34" fmla="*/ 13 w 905"/>
                <a:gd name="T35" fmla="*/ 818 h 895"/>
                <a:gd name="T36" fmla="*/ 3 w 905"/>
                <a:gd name="T37" fmla="*/ 823 h 895"/>
                <a:gd name="T38" fmla="*/ 0 w 905"/>
                <a:gd name="T39" fmla="*/ 831 h 895"/>
                <a:gd name="T40" fmla="*/ 0 w 905"/>
                <a:gd name="T41" fmla="*/ 882 h 895"/>
                <a:gd name="T42" fmla="*/ 3 w 905"/>
                <a:gd name="T43" fmla="*/ 892 h 895"/>
                <a:gd name="T44" fmla="*/ 13 w 905"/>
                <a:gd name="T45" fmla="*/ 895 h 895"/>
                <a:gd name="T46" fmla="*/ 264 w 905"/>
                <a:gd name="T47" fmla="*/ 895 h 895"/>
                <a:gd name="T48" fmla="*/ 274 w 905"/>
                <a:gd name="T49" fmla="*/ 890 h 895"/>
                <a:gd name="T50" fmla="*/ 277 w 905"/>
                <a:gd name="T51" fmla="*/ 882 h 895"/>
                <a:gd name="T52" fmla="*/ 277 w 905"/>
                <a:gd name="T53" fmla="*/ 831 h 895"/>
                <a:gd name="T54" fmla="*/ 274 w 905"/>
                <a:gd name="T55" fmla="*/ 821 h 895"/>
                <a:gd name="T56" fmla="*/ 264 w 905"/>
                <a:gd name="T57" fmla="*/ 818 h 895"/>
                <a:gd name="T58" fmla="*/ 236 w 905"/>
                <a:gd name="T59" fmla="*/ 818 h 895"/>
                <a:gd name="T60" fmla="*/ 211 w 905"/>
                <a:gd name="T61" fmla="*/ 816 h 895"/>
                <a:gd name="T62" fmla="*/ 198 w 905"/>
                <a:gd name="T63" fmla="*/ 812 h 895"/>
                <a:gd name="T64" fmla="*/ 190 w 905"/>
                <a:gd name="T65" fmla="*/ 800 h 895"/>
                <a:gd name="T66" fmla="*/ 188 w 905"/>
                <a:gd name="T67" fmla="*/ 792 h 895"/>
                <a:gd name="T68" fmla="*/ 197 w 905"/>
                <a:gd name="T69" fmla="*/ 762 h 895"/>
                <a:gd name="T70" fmla="*/ 537 w 905"/>
                <a:gd name="T71" fmla="*/ 641 h 895"/>
                <a:gd name="T72" fmla="*/ 560 w 905"/>
                <a:gd name="T73" fmla="*/ 710 h 895"/>
                <a:gd name="T74" fmla="*/ 573 w 905"/>
                <a:gd name="T75" fmla="*/ 749 h 895"/>
                <a:gd name="T76" fmla="*/ 583 w 905"/>
                <a:gd name="T77" fmla="*/ 782 h 895"/>
                <a:gd name="T78" fmla="*/ 585 w 905"/>
                <a:gd name="T79" fmla="*/ 795 h 895"/>
                <a:gd name="T80" fmla="*/ 583 w 905"/>
                <a:gd name="T81" fmla="*/ 803 h 895"/>
                <a:gd name="T82" fmla="*/ 578 w 905"/>
                <a:gd name="T83" fmla="*/ 810 h 895"/>
                <a:gd name="T84" fmla="*/ 568 w 905"/>
                <a:gd name="T85" fmla="*/ 816 h 895"/>
                <a:gd name="T86" fmla="*/ 553 w 905"/>
                <a:gd name="T87" fmla="*/ 818 h 895"/>
                <a:gd name="T88" fmla="*/ 524 w 905"/>
                <a:gd name="T89" fmla="*/ 818 h 895"/>
                <a:gd name="T90" fmla="*/ 514 w 905"/>
                <a:gd name="T91" fmla="*/ 823 h 895"/>
                <a:gd name="T92" fmla="*/ 511 w 905"/>
                <a:gd name="T93" fmla="*/ 831 h 895"/>
                <a:gd name="T94" fmla="*/ 511 w 905"/>
                <a:gd name="T95" fmla="*/ 882 h 895"/>
                <a:gd name="T96" fmla="*/ 514 w 905"/>
                <a:gd name="T97" fmla="*/ 890 h 895"/>
                <a:gd name="T98" fmla="*/ 524 w 905"/>
                <a:gd name="T99" fmla="*/ 895 h 895"/>
                <a:gd name="T100" fmla="*/ 892 w 905"/>
                <a:gd name="T101" fmla="*/ 895 h 895"/>
                <a:gd name="T102" fmla="*/ 902 w 905"/>
                <a:gd name="T103" fmla="*/ 892 h 895"/>
                <a:gd name="T104" fmla="*/ 905 w 905"/>
                <a:gd name="T105" fmla="*/ 882 h 895"/>
                <a:gd name="T106" fmla="*/ 905 w 905"/>
                <a:gd name="T107" fmla="*/ 831 h 895"/>
                <a:gd name="T108" fmla="*/ 902 w 905"/>
                <a:gd name="T109" fmla="*/ 823 h 895"/>
                <a:gd name="T110" fmla="*/ 892 w 905"/>
                <a:gd name="T111" fmla="*/ 818 h 895"/>
                <a:gd name="T112" fmla="*/ 272 w 905"/>
                <a:gd name="T113" fmla="*/ 573 h 895"/>
                <a:gd name="T114" fmla="*/ 517 w 905"/>
                <a:gd name="T115" fmla="*/ 573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95">
                  <a:moveTo>
                    <a:pt x="892" y="818"/>
                  </a:moveTo>
                  <a:lnTo>
                    <a:pt x="878" y="818"/>
                  </a:lnTo>
                  <a:lnTo>
                    <a:pt x="878" y="818"/>
                  </a:lnTo>
                  <a:lnTo>
                    <a:pt x="865" y="818"/>
                  </a:lnTo>
                  <a:lnTo>
                    <a:pt x="853" y="816"/>
                  </a:lnTo>
                  <a:lnTo>
                    <a:pt x="845" y="813"/>
                  </a:lnTo>
                  <a:lnTo>
                    <a:pt x="837" y="810"/>
                  </a:lnTo>
                  <a:lnTo>
                    <a:pt x="830" y="803"/>
                  </a:lnTo>
                  <a:lnTo>
                    <a:pt x="825" y="795"/>
                  </a:lnTo>
                  <a:lnTo>
                    <a:pt x="820" y="787"/>
                  </a:lnTo>
                  <a:lnTo>
                    <a:pt x="817" y="776"/>
                  </a:lnTo>
                  <a:lnTo>
                    <a:pt x="817" y="776"/>
                  </a:lnTo>
                  <a:lnTo>
                    <a:pt x="549" y="11"/>
                  </a:lnTo>
                  <a:lnTo>
                    <a:pt x="549" y="11"/>
                  </a:lnTo>
                  <a:lnTo>
                    <a:pt x="547" y="6"/>
                  </a:lnTo>
                  <a:lnTo>
                    <a:pt x="542" y="3"/>
                  </a:lnTo>
                  <a:lnTo>
                    <a:pt x="537" y="1"/>
                  </a:lnTo>
                  <a:lnTo>
                    <a:pt x="532" y="0"/>
                  </a:lnTo>
                  <a:lnTo>
                    <a:pt x="429" y="0"/>
                  </a:lnTo>
                  <a:lnTo>
                    <a:pt x="429" y="0"/>
                  </a:lnTo>
                  <a:lnTo>
                    <a:pt x="424" y="1"/>
                  </a:lnTo>
                  <a:lnTo>
                    <a:pt x="419" y="3"/>
                  </a:lnTo>
                  <a:lnTo>
                    <a:pt x="416" y="6"/>
                  </a:lnTo>
                  <a:lnTo>
                    <a:pt x="413" y="11"/>
                  </a:lnTo>
                  <a:lnTo>
                    <a:pt x="92" y="779"/>
                  </a:lnTo>
                  <a:lnTo>
                    <a:pt x="92" y="779"/>
                  </a:lnTo>
                  <a:lnTo>
                    <a:pt x="87" y="790"/>
                  </a:lnTo>
                  <a:lnTo>
                    <a:pt x="80" y="798"/>
                  </a:lnTo>
                  <a:lnTo>
                    <a:pt x="74" y="805"/>
                  </a:lnTo>
                  <a:lnTo>
                    <a:pt x="64" y="812"/>
                  </a:lnTo>
                  <a:lnTo>
                    <a:pt x="64" y="812"/>
                  </a:lnTo>
                  <a:lnTo>
                    <a:pt x="51" y="816"/>
                  </a:lnTo>
                  <a:lnTo>
                    <a:pt x="38" y="818"/>
                  </a:lnTo>
                  <a:lnTo>
                    <a:pt x="21" y="818"/>
                  </a:lnTo>
                  <a:lnTo>
                    <a:pt x="13" y="818"/>
                  </a:lnTo>
                  <a:lnTo>
                    <a:pt x="13" y="818"/>
                  </a:lnTo>
                  <a:lnTo>
                    <a:pt x="8" y="820"/>
                  </a:lnTo>
                  <a:lnTo>
                    <a:pt x="3" y="823"/>
                  </a:lnTo>
                  <a:lnTo>
                    <a:pt x="2" y="826"/>
                  </a:lnTo>
                  <a:lnTo>
                    <a:pt x="0" y="831"/>
                  </a:lnTo>
                  <a:lnTo>
                    <a:pt x="0" y="882"/>
                  </a:lnTo>
                  <a:lnTo>
                    <a:pt x="0" y="882"/>
                  </a:lnTo>
                  <a:lnTo>
                    <a:pt x="2" y="887"/>
                  </a:lnTo>
                  <a:lnTo>
                    <a:pt x="3" y="892"/>
                  </a:lnTo>
                  <a:lnTo>
                    <a:pt x="8" y="893"/>
                  </a:lnTo>
                  <a:lnTo>
                    <a:pt x="13" y="895"/>
                  </a:lnTo>
                  <a:lnTo>
                    <a:pt x="264" y="895"/>
                  </a:lnTo>
                  <a:lnTo>
                    <a:pt x="264" y="895"/>
                  </a:lnTo>
                  <a:lnTo>
                    <a:pt x="269" y="893"/>
                  </a:lnTo>
                  <a:lnTo>
                    <a:pt x="274" y="890"/>
                  </a:lnTo>
                  <a:lnTo>
                    <a:pt x="275" y="887"/>
                  </a:lnTo>
                  <a:lnTo>
                    <a:pt x="277" y="882"/>
                  </a:lnTo>
                  <a:lnTo>
                    <a:pt x="277" y="831"/>
                  </a:lnTo>
                  <a:lnTo>
                    <a:pt x="277" y="831"/>
                  </a:lnTo>
                  <a:lnTo>
                    <a:pt x="275" y="826"/>
                  </a:lnTo>
                  <a:lnTo>
                    <a:pt x="274" y="821"/>
                  </a:lnTo>
                  <a:lnTo>
                    <a:pt x="269" y="820"/>
                  </a:lnTo>
                  <a:lnTo>
                    <a:pt x="264" y="818"/>
                  </a:lnTo>
                  <a:lnTo>
                    <a:pt x="236" y="818"/>
                  </a:lnTo>
                  <a:lnTo>
                    <a:pt x="236" y="818"/>
                  </a:lnTo>
                  <a:lnTo>
                    <a:pt x="218" y="818"/>
                  </a:lnTo>
                  <a:lnTo>
                    <a:pt x="211" y="816"/>
                  </a:lnTo>
                  <a:lnTo>
                    <a:pt x="203" y="815"/>
                  </a:lnTo>
                  <a:lnTo>
                    <a:pt x="198" y="812"/>
                  </a:lnTo>
                  <a:lnTo>
                    <a:pt x="193" y="807"/>
                  </a:lnTo>
                  <a:lnTo>
                    <a:pt x="190" y="800"/>
                  </a:lnTo>
                  <a:lnTo>
                    <a:pt x="188" y="792"/>
                  </a:lnTo>
                  <a:lnTo>
                    <a:pt x="188" y="792"/>
                  </a:lnTo>
                  <a:lnTo>
                    <a:pt x="190" y="779"/>
                  </a:lnTo>
                  <a:lnTo>
                    <a:pt x="197" y="762"/>
                  </a:lnTo>
                  <a:lnTo>
                    <a:pt x="246" y="641"/>
                  </a:lnTo>
                  <a:lnTo>
                    <a:pt x="537" y="641"/>
                  </a:lnTo>
                  <a:lnTo>
                    <a:pt x="537" y="641"/>
                  </a:lnTo>
                  <a:lnTo>
                    <a:pt x="560" y="710"/>
                  </a:lnTo>
                  <a:lnTo>
                    <a:pt x="573" y="749"/>
                  </a:lnTo>
                  <a:lnTo>
                    <a:pt x="573" y="749"/>
                  </a:lnTo>
                  <a:lnTo>
                    <a:pt x="583" y="782"/>
                  </a:lnTo>
                  <a:lnTo>
                    <a:pt x="583" y="782"/>
                  </a:lnTo>
                  <a:lnTo>
                    <a:pt x="583" y="789"/>
                  </a:lnTo>
                  <a:lnTo>
                    <a:pt x="585" y="795"/>
                  </a:lnTo>
                  <a:lnTo>
                    <a:pt x="585" y="795"/>
                  </a:lnTo>
                  <a:lnTo>
                    <a:pt x="583" y="803"/>
                  </a:lnTo>
                  <a:lnTo>
                    <a:pt x="581" y="807"/>
                  </a:lnTo>
                  <a:lnTo>
                    <a:pt x="578" y="810"/>
                  </a:lnTo>
                  <a:lnTo>
                    <a:pt x="575" y="813"/>
                  </a:lnTo>
                  <a:lnTo>
                    <a:pt x="568" y="816"/>
                  </a:lnTo>
                  <a:lnTo>
                    <a:pt x="562" y="818"/>
                  </a:lnTo>
                  <a:lnTo>
                    <a:pt x="553" y="818"/>
                  </a:lnTo>
                  <a:lnTo>
                    <a:pt x="524" y="818"/>
                  </a:lnTo>
                  <a:lnTo>
                    <a:pt x="524" y="818"/>
                  </a:lnTo>
                  <a:lnTo>
                    <a:pt x="517" y="820"/>
                  </a:lnTo>
                  <a:lnTo>
                    <a:pt x="514" y="823"/>
                  </a:lnTo>
                  <a:lnTo>
                    <a:pt x="511" y="826"/>
                  </a:lnTo>
                  <a:lnTo>
                    <a:pt x="511" y="831"/>
                  </a:lnTo>
                  <a:lnTo>
                    <a:pt x="511" y="882"/>
                  </a:lnTo>
                  <a:lnTo>
                    <a:pt x="511" y="882"/>
                  </a:lnTo>
                  <a:lnTo>
                    <a:pt x="511" y="887"/>
                  </a:lnTo>
                  <a:lnTo>
                    <a:pt x="514" y="890"/>
                  </a:lnTo>
                  <a:lnTo>
                    <a:pt x="517" y="893"/>
                  </a:lnTo>
                  <a:lnTo>
                    <a:pt x="524" y="895"/>
                  </a:lnTo>
                  <a:lnTo>
                    <a:pt x="892" y="895"/>
                  </a:lnTo>
                  <a:lnTo>
                    <a:pt x="892" y="895"/>
                  </a:lnTo>
                  <a:lnTo>
                    <a:pt x="897" y="893"/>
                  </a:lnTo>
                  <a:lnTo>
                    <a:pt x="902" y="892"/>
                  </a:lnTo>
                  <a:lnTo>
                    <a:pt x="905" y="887"/>
                  </a:lnTo>
                  <a:lnTo>
                    <a:pt x="905" y="882"/>
                  </a:lnTo>
                  <a:lnTo>
                    <a:pt x="905" y="831"/>
                  </a:lnTo>
                  <a:lnTo>
                    <a:pt x="905" y="831"/>
                  </a:lnTo>
                  <a:lnTo>
                    <a:pt x="905" y="826"/>
                  </a:lnTo>
                  <a:lnTo>
                    <a:pt x="902" y="823"/>
                  </a:lnTo>
                  <a:lnTo>
                    <a:pt x="897" y="820"/>
                  </a:lnTo>
                  <a:lnTo>
                    <a:pt x="892" y="818"/>
                  </a:lnTo>
                  <a:lnTo>
                    <a:pt x="892" y="818"/>
                  </a:lnTo>
                  <a:close/>
                  <a:moveTo>
                    <a:pt x="272" y="573"/>
                  </a:moveTo>
                  <a:lnTo>
                    <a:pt x="413" y="226"/>
                  </a:lnTo>
                  <a:lnTo>
                    <a:pt x="517" y="573"/>
                  </a:lnTo>
                  <a:lnTo>
                    <a:pt x="272" y="5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solidFill>
                  <a:schemeClr val="tx2"/>
                </a:solidFill>
              </a:endParaRPr>
            </a:p>
          </p:txBody>
        </p:sp>
      </p:grpSp>
      <p:sp>
        <p:nvSpPr>
          <p:cNvPr id="11" name="Untertitel 2"/>
          <p:cNvSpPr>
            <a:spLocks noGrp="1"/>
          </p:cNvSpPr>
          <p:nvPr>
            <p:ph type="subTitle" idx="1" hasCustomPrompt="1"/>
          </p:nvPr>
        </p:nvSpPr>
        <p:spPr>
          <a:xfrm>
            <a:off x="266069" y="2158382"/>
            <a:ext cx="11659866" cy="652515"/>
          </a:xfrm>
        </p:spPr>
        <p:txBody>
          <a:bodyPr/>
          <a:lstStyle>
            <a:lvl1pPr marL="0" indent="0" algn="ctr">
              <a:lnSpc>
                <a:spcPts val="4988"/>
              </a:lnSpc>
              <a:spcBef>
                <a:spcPts val="0"/>
              </a:spcBef>
              <a:buNone/>
              <a:defRPr sz="4988">
                <a:solidFill>
                  <a:schemeClr val="bg1"/>
                </a:solidFill>
                <a:latin typeface="+mn-lt"/>
              </a:defRPr>
            </a:lvl1pPr>
            <a:lvl2pPr marL="472974" indent="0" algn="ctr">
              <a:buNone/>
              <a:defRPr>
                <a:solidFill>
                  <a:schemeClr val="tx1">
                    <a:tint val="75000"/>
                  </a:schemeClr>
                </a:solidFill>
              </a:defRPr>
            </a:lvl2pPr>
            <a:lvl3pPr marL="945947" indent="0" algn="ctr">
              <a:buNone/>
              <a:defRPr>
                <a:solidFill>
                  <a:schemeClr val="tx1">
                    <a:tint val="75000"/>
                  </a:schemeClr>
                </a:solidFill>
              </a:defRPr>
            </a:lvl3pPr>
            <a:lvl4pPr marL="1418921" indent="0" algn="ctr">
              <a:buNone/>
              <a:defRPr>
                <a:solidFill>
                  <a:schemeClr val="tx1">
                    <a:tint val="75000"/>
                  </a:schemeClr>
                </a:solidFill>
              </a:defRPr>
            </a:lvl4pPr>
            <a:lvl5pPr marL="1891895" indent="0" algn="ctr">
              <a:buNone/>
              <a:defRPr>
                <a:solidFill>
                  <a:schemeClr val="tx1">
                    <a:tint val="75000"/>
                  </a:schemeClr>
                </a:solidFill>
              </a:defRPr>
            </a:lvl5pPr>
            <a:lvl6pPr marL="2364869" indent="0" algn="ctr">
              <a:buNone/>
              <a:defRPr>
                <a:solidFill>
                  <a:schemeClr val="tx1">
                    <a:tint val="75000"/>
                  </a:schemeClr>
                </a:solidFill>
              </a:defRPr>
            </a:lvl6pPr>
            <a:lvl7pPr marL="2837842" indent="0" algn="ctr">
              <a:buNone/>
              <a:defRPr>
                <a:solidFill>
                  <a:schemeClr val="tx1">
                    <a:tint val="75000"/>
                  </a:schemeClr>
                </a:solidFill>
              </a:defRPr>
            </a:lvl7pPr>
            <a:lvl8pPr marL="3310816" indent="0" algn="ctr">
              <a:buNone/>
              <a:defRPr>
                <a:solidFill>
                  <a:schemeClr val="tx1">
                    <a:tint val="75000"/>
                  </a:schemeClr>
                </a:solidFill>
              </a:defRPr>
            </a:lvl8pPr>
            <a:lvl9pPr marL="3783790" indent="0" algn="ctr">
              <a:buNone/>
              <a:defRPr>
                <a:solidFill>
                  <a:schemeClr val="tx1">
                    <a:tint val="75000"/>
                  </a:schemeClr>
                </a:solidFill>
              </a:defRPr>
            </a:lvl9pPr>
          </a:lstStyle>
          <a:p>
            <a:r>
              <a:rPr lang="en-GB"/>
              <a:t>Closing remark, e.g. Thank you</a:t>
            </a:r>
          </a:p>
        </p:txBody>
      </p:sp>
    </p:spTree>
    <p:extLst>
      <p:ext uri="{BB962C8B-B14F-4D97-AF65-F5344CB8AC3E}">
        <p14:creationId xmlns:p14="http://schemas.microsoft.com/office/powerpoint/2010/main" val="293757862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ighlight boxe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73797818"/>
              </p:ext>
            </p:extLst>
          </p:nvPr>
        </p:nvGraphicFramePr>
        <p:xfrm>
          <a:off x="1812" y="1443"/>
          <a:ext cx="1809" cy="143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kt 7" hidden="1"/>
                      <p:cNvPicPr/>
                      <p:nvPr/>
                    </p:nvPicPr>
                    <p:blipFill>
                      <a:blip r:embed="rId4"/>
                      <a:stretch>
                        <a:fillRect/>
                      </a:stretch>
                    </p:blipFill>
                    <p:spPr>
                      <a:xfrm>
                        <a:off x="1812" y="1443"/>
                        <a:ext cx="1809" cy="1439"/>
                      </a:xfrm>
                      <a:prstGeom prst="rect">
                        <a:avLst/>
                      </a:prstGeom>
                    </p:spPr>
                  </p:pic>
                </p:oleObj>
              </mc:Fallback>
            </mc:AlternateContent>
          </a:graphicData>
        </a:graphic>
      </p:graphicFrame>
      <p:sp>
        <p:nvSpPr>
          <p:cNvPr id="7" name="Rechteck 6"/>
          <p:cNvSpPr/>
          <p:nvPr userDrawn="1"/>
        </p:nvSpPr>
        <p:spPr>
          <a:xfrm>
            <a:off x="1" y="6470680"/>
            <a:ext cx="12192000" cy="387320"/>
          </a:xfrm>
          <a:prstGeom prst="rect">
            <a:avLst/>
          </a:prstGeom>
          <a:solidFill>
            <a:srgbClr val="D5D4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904"/>
          </a:p>
        </p:txBody>
      </p:sp>
      <p:sp>
        <p:nvSpPr>
          <p:cNvPr id="2" name="Titel 1"/>
          <p:cNvSpPr>
            <a:spLocks noGrp="1"/>
          </p:cNvSpPr>
          <p:nvPr>
            <p:ph type="title" hasCustomPrompt="1"/>
          </p:nvPr>
        </p:nvSpPr>
        <p:spPr>
          <a:xfrm>
            <a:off x="259913" y="143890"/>
            <a:ext cx="11666020" cy="418726"/>
          </a:xfrm>
        </p:spPr>
        <p:txBody>
          <a:bodyPr/>
          <a:lstStyle>
            <a:lvl1pPr>
              <a:lnSpc>
                <a:spcPts val="3265"/>
              </a:lnSpc>
              <a:defRPr/>
            </a:lvl1pPr>
          </a:lstStyle>
          <a:p>
            <a:r>
              <a:rPr lang="en-GB"/>
              <a:t>Highlight boxes</a:t>
            </a:r>
          </a:p>
        </p:txBody>
      </p:sp>
      <p:sp>
        <p:nvSpPr>
          <p:cNvPr id="3" name="Inhaltsplatzhalter 2"/>
          <p:cNvSpPr>
            <a:spLocks noGrp="1"/>
          </p:cNvSpPr>
          <p:nvPr>
            <p:ph idx="1" hasCustomPrompt="1"/>
          </p:nvPr>
        </p:nvSpPr>
        <p:spPr>
          <a:xfrm>
            <a:off x="259913" y="1429055"/>
            <a:ext cx="11666020" cy="251236"/>
          </a:xfrm>
        </p:spPr>
        <p:txBody>
          <a:bodyPr/>
          <a:lstStyle>
            <a:lvl1pPr marL="0" indent="0">
              <a:lnSpc>
                <a:spcPct val="100000"/>
              </a:lnSpc>
              <a:buNone/>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If you need to highlight text boxes, use these colours according to this colour hierarchy:</a:t>
            </a:r>
          </a:p>
        </p:txBody>
      </p:sp>
      <p:grpSp>
        <p:nvGrpSpPr>
          <p:cNvPr id="11" name="Gruppieren 10"/>
          <p:cNvGrpSpPr>
            <a:grpSpLocks noChangeAspect="1"/>
          </p:cNvGrpSpPr>
          <p:nvPr userDrawn="1"/>
        </p:nvGrpSpPr>
        <p:grpSpPr>
          <a:xfrm>
            <a:off x="11522251" y="6541937"/>
            <a:ext cx="401810" cy="244888"/>
            <a:chOff x="7680842" y="5709958"/>
            <a:chExt cx="884790" cy="677863"/>
          </a:xfrm>
          <a:solidFill>
            <a:schemeClr val="bg1"/>
          </a:solidFill>
        </p:grpSpPr>
        <p:sp>
          <p:nvSpPr>
            <p:cNvPr id="12" name="Freeform 17"/>
            <p:cNvSpPr>
              <a:spLocks noEditPoints="1"/>
            </p:cNvSpPr>
            <p:nvPr/>
          </p:nvSpPr>
          <p:spPr bwMode="auto">
            <a:xfrm>
              <a:off x="7680842" y="5709958"/>
              <a:ext cx="884790" cy="677863"/>
            </a:xfrm>
            <a:custGeom>
              <a:avLst/>
              <a:gdLst>
                <a:gd name="T0" fmla="*/ 2771 w 2976"/>
                <a:gd name="T1" fmla="*/ 570 h 2280"/>
                <a:gd name="T2" fmla="*/ 2686 w 2976"/>
                <a:gd name="T3" fmla="*/ 444 h 2280"/>
                <a:gd name="T4" fmla="*/ 2469 w 2976"/>
                <a:gd name="T5" fmla="*/ 363 h 2280"/>
                <a:gd name="T6" fmla="*/ 2333 w 2976"/>
                <a:gd name="T7" fmla="*/ 272 h 2280"/>
                <a:gd name="T8" fmla="*/ 2172 w 2976"/>
                <a:gd name="T9" fmla="*/ 119 h 2280"/>
                <a:gd name="T10" fmla="*/ 2025 w 2976"/>
                <a:gd name="T11" fmla="*/ 100 h 2280"/>
                <a:gd name="T12" fmla="*/ 1804 w 2976"/>
                <a:gd name="T13" fmla="*/ 118 h 2280"/>
                <a:gd name="T14" fmla="*/ 1591 w 2976"/>
                <a:gd name="T15" fmla="*/ 23 h 2280"/>
                <a:gd name="T16" fmla="*/ 1488 w 2976"/>
                <a:gd name="T17" fmla="*/ 0 h 2280"/>
                <a:gd name="T18" fmla="*/ 1305 w 2976"/>
                <a:gd name="T19" fmla="*/ 69 h 2280"/>
                <a:gd name="T20" fmla="*/ 1120 w 2976"/>
                <a:gd name="T21" fmla="*/ 121 h 2280"/>
                <a:gd name="T22" fmla="*/ 891 w 2976"/>
                <a:gd name="T23" fmla="*/ 98 h 2280"/>
                <a:gd name="T24" fmla="*/ 753 w 2976"/>
                <a:gd name="T25" fmla="*/ 152 h 2280"/>
                <a:gd name="T26" fmla="*/ 593 w 2976"/>
                <a:gd name="T27" fmla="*/ 318 h 2280"/>
                <a:gd name="T28" fmla="*/ 404 w 2976"/>
                <a:gd name="T29" fmla="*/ 396 h 2280"/>
                <a:gd name="T30" fmla="*/ 254 w 2976"/>
                <a:gd name="T31" fmla="*/ 473 h 2280"/>
                <a:gd name="T32" fmla="*/ 178 w 2976"/>
                <a:gd name="T33" fmla="*/ 719 h 2280"/>
                <a:gd name="T34" fmla="*/ 106 w 2976"/>
                <a:gd name="T35" fmla="*/ 907 h 2280"/>
                <a:gd name="T36" fmla="*/ 2 w 2976"/>
                <a:gd name="T37" fmla="*/ 1115 h 2280"/>
                <a:gd name="T38" fmla="*/ 34 w 2976"/>
                <a:gd name="T39" fmla="*/ 1265 h 2280"/>
                <a:gd name="T40" fmla="*/ 154 w 2976"/>
                <a:gd name="T41" fmla="*/ 1462 h 2280"/>
                <a:gd name="T42" fmla="*/ 219 w 2976"/>
                <a:gd name="T43" fmla="*/ 1750 h 2280"/>
                <a:gd name="T44" fmla="*/ 326 w 2976"/>
                <a:gd name="T45" fmla="*/ 1856 h 2280"/>
                <a:gd name="T46" fmla="*/ 550 w 2976"/>
                <a:gd name="T47" fmla="*/ 1935 h 2280"/>
                <a:gd name="T48" fmla="*/ 699 w 2976"/>
                <a:gd name="T49" fmla="*/ 2070 h 2280"/>
                <a:gd name="T50" fmla="*/ 823 w 2976"/>
                <a:gd name="T51" fmla="*/ 2169 h 2280"/>
                <a:gd name="T52" fmla="*/ 1031 w 2976"/>
                <a:gd name="T53" fmla="*/ 2167 h 2280"/>
                <a:gd name="T54" fmla="*/ 1224 w 2976"/>
                <a:gd name="T55" fmla="*/ 2175 h 2280"/>
                <a:gd name="T56" fmla="*/ 1421 w 2976"/>
                <a:gd name="T57" fmla="*/ 2270 h 2280"/>
                <a:gd name="T58" fmla="*/ 1555 w 2976"/>
                <a:gd name="T59" fmla="*/ 2270 h 2280"/>
                <a:gd name="T60" fmla="*/ 1752 w 2976"/>
                <a:gd name="T61" fmla="*/ 2175 h 2280"/>
                <a:gd name="T62" fmla="*/ 1945 w 2976"/>
                <a:gd name="T63" fmla="*/ 2167 h 2280"/>
                <a:gd name="T64" fmla="*/ 2153 w 2976"/>
                <a:gd name="T65" fmla="*/ 2169 h 2280"/>
                <a:gd name="T66" fmla="*/ 2277 w 2976"/>
                <a:gd name="T67" fmla="*/ 2070 h 2280"/>
                <a:gd name="T68" fmla="*/ 2424 w 2976"/>
                <a:gd name="T69" fmla="*/ 1935 h 2280"/>
                <a:gd name="T70" fmla="*/ 2649 w 2976"/>
                <a:gd name="T71" fmla="*/ 1856 h 2280"/>
                <a:gd name="T72" fmla="*/ 2757 w 2976"/>
                <a:gd name="T73" fmla="*/ 1750 h 2280"/>
                <a:gd name="T74" fmla="*/ 2820 w 2976"/>
                <a:gd name="T75" fmla="*/ 1462 h 2280"/>
                <a:gd name="T76" fmla="*/ 2942 w 2976"/>
                <a:gd name="T77" fmla="*/ 1264 h 2280"/>
                <a:gd name="T78" fmla="*/ 2974 w 2976"/>
                <a:gd name="T79" fmla="*/ 1115 h 2280"/>
                <a:gd name="T80" fmla="*/ 2868 w 2976"/>
                <a:gd name="T81" fmla="*/ 907 h 2280"/>
                <a:gd name="T82" fmla="*/ 1419 w 2976"/>
                <a:gd name="T83" fmla="*/ 2028 h 2280"/>
                <a:gd name="T84" fmla="*/ 923 w 2976"/>
                <a:gd name="T85" fmla="*/ 1943 h 2280"/>
                <a:gd name="T86" fmla="*/ 547 w 2976"/>
                <a:gd name="T87" fmla="*/ 1742 h 2280"/>
                <a:gd name="T88" fmla="*/ 314 w 2976"/>
                <a:gd name="T89" fmla="*/ 1449 h 2280"/>
                <a:gd name="T90" fmla="*/ 246 w 2976"/>
                <a:gd name="T91" fmla="*/ 1139 h 2280"/>
                <a:gd name="T92" fmla="*/ 334 w 2976"/>
                <a:gd name="T93" fmla="*/ 791 h 2280"/>
                <a:gd name="T94" fmla="*/ 588 w 2976"/>
                <a:gd name="T95" fmla="*/ 507 h 2280"/>
                <a:gd name="T96" fmla="*/ 979 w 2976"/>
                <a:gd name="T97" fmla="*/ 319 h 2280"/>
                <a:gd name="T98" fmla="*/ 1488 w 2976"/>
                <a:gd name="T99" fmla="*/ 250 h 2280"/>
                <a:gd name="T100" fmla="*/ 1940 w 2976"/>
                <a:gd name="T101" fmla="*/ 303 h 2280"/>
                <a:gd name="T102" fmla="*/ 2347 w 2976"/>
                <a:gd name="T103" fmla="*/ 480 h 2280"/>
                <a:gd name="T104" fmla="*/ 2619 w 2976"/>
                <a:gd name="T105" fmla="*/ 751 h 2280"/>
                <a:gd name="T106" fmla="*/ 2729 w 2976"/>
                <a:gd name="T107" fmla="*/ 1093 h 2280"/>
                <a:gd name="T108" fmla="*/ 2680 w 2976"/>
                <a:gd name="T109" fmla="*/ 1408 h 2280"/>
                <a:gd name="T110" fmla="*/ 2465 w 2976"/>
                <a:gd name="T111" fmla="*/ 1709 h 2280"/>
                <a:gd name="T112" fmla="*/ 2107 w 2976"/>
                <a:gd name="T113" fmla="*/ 1923 h 2280"/>
                <a:gd name="T114" fmla="*/ 1624 w 2976"/>
                <a:gd name="T115" fmla="*/ 2025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76" h="2280">
                  <a:moveTo>
                    <a:pt x="2820" y="818"/>
                  </a:moveTo>
                  <a:lnTo>
                    <a:pt x="2820" y="818"/>
                  </a:lnTo>
                  <a:lnTo>
                    <a:pt x="2812" y="792"/>
                  </a:lnTo>
                  <a:lnTo>
                    <a:pt x="2806" y="768"/>
                  </a:lnTo>
                  <a:lnTo>
                    <a:pt x="2798" y="719"/>
                  </a:lnTo>
                  <a:lnTo>
                    <a:pt x="2784" y="630"/>
                  </a:lnTo>
                  <a:lnTo>
                    <a:pt x="2776" y="589"/>
                  </a:lnTo>
                  <a:lnTo>
                    <a:pt x="2771" y="570"/>
                  </a:lnTo>
                  <a:lnTo>
                    <a:pt x="2765" y="550"/>
                  </a:lnTo>
                  <a:lnTo>
                    <a:pt x="2757" y="530"/>
                  </a:lnTo>
                  <a:lnTo>
                    <a:pt x="2747" y="511"/>
                  </a:lnTo>
                  <a:lnTo>
                    <a:pt x="2735" y="493"/>
                  </a:lnTo>
                  <a:lnTo>
                    <a:pt x="2722" y="473"/>
                  </a:lnTo>
                  <a:lnTo>
                    <a:pt x="2722" y="473"/>
                  </a:lnTo>
                  <a:lnTo>
                    <a:pt x="2704" y="458"/>
                  </a:lnTo>
                  <a:lnTo>
                    <a:pt x="2686" y="444"/>
                  </a:lnTo>
                  <a:lnTo>
                    <a:pt x="2668" y="434"/>
                  </a:lnTo>
                  <a:lnTo>
                    <a:pt x="2649" y="424"/>
                  </a:lnTo>
                  <a:lnTo>
                    <a:pt x="2631" y="416"/>
                  </a:lnTo>
                  <a:lnTo>
                    <a:pt x="2611" y="408"/>
                  </a:lnTo>
                  <a:lnTo>
                    <a:pt x="2572" y="396"/>
                  </a:lnTo>
                  <a:lnTo>
                    <a:pt x="2531" y="385"/>
                  </a:lnTo>
                  <a:lnTo>
                    <a:pt x="2490" y="372"/>
                  </a:lnTo>
                  <a:lnTo>
                    <a:pt x="2469" y="363"/>
                  </a:lnTo>
                  <a:lnTo>
                    <a:pt x="2447" y="355"/>
                  </a:lnTo>
                  <a:lnTo>
                    <a:pt x="2424" y="345"/>
                  </a:lnTo>
                  <a:lnTo>
                    <a:pt x="2403" y="332"/>
                  </a:lnTo>
                  <a:lnTo>
                    <a:pt x="2403" y="332"/>
                  </a:lnTo>
                  <a:lnTo>
                    <a:pt x="2383" y="318"/>
                  </a:lnTo>
                  <a:lnTo>
                    <a:pt x="2364" y="303"/>
                  </a:lnTo>
                  <a:lnTo>
                    <a:pt x="2347" y="286"/>
                  </a:lnTo>
                  <a:lnTo>
                    <a:pt x="2333" y="272"/>
                  </a:lnTo>
                  <a:lnTo>
                    <a:pt x="2303" y="239"/>
                  </a:lnTo>
                  <a:lnTo>
                    <a:pt x="2277" y="208"/>
                  </a:lnTo>
                  <a:lnTo>
                    <a:pt x="2251" y="178"/>
                  </a:lnTo>
                  <a:lnTo>
                    <a:pt x="2238" y="165"/>
                  </a:lnTo>
                  <a:lnTo>
                    <a:pt x="2223" y="152"/>
                  </a:lnTo>
                  <a:lnTo>
                    <a:pt x="2207" y="139"/>
                  </a:lnTo>
                  <a:lnTo>
                    <a:pt x="2190" y="129"/>
                  </a:lnTo>
                  <a:lnTo>
                    <a:pt x="2172" y="119"/>
                  </a:lnTo>
                  <a:lnTo>
                    <a:pt x="2153" y="110"/>
                  </a:lnTo>
                  <a:lnTo>
                    <a:pt x="2153" y="110"/>
                  </a:lnTo>
                  <a:lnTo>
                    <a:pt x="2130" y="105"/>
                  </a:lnTo>
                  <a:lnTo>
                    <a:pt x="2107" y="100"/>
                  </a:lnTo>
                  <a:lnTo>
                    <a:pt x="2085" y="98"/>
                  </a:lnTo>
                  <a:lnTo>
                    <a:pt x="2064" y="98"/>
                  </a:lnTo>
                  <a:lnTo>
                    <a:pt x="2045" y="98"/>
                  </a:lnTo>
                  <a:lnTo>
                    <a:pt x="2025" y="100"/>
                  </a:lnTo>
                  <a:lnTo>
                    <a:pt x="1984" y="106"/>
                  </a:lnTo>
                  <a:lnTo>
                    <a:pt x="1945" y="113"/>
                  </a:lnTo>
                  <a:lnTo>
                    <a:pt x="1901" y="119"/>
                  </a:lnTo>
                  <a:lnTo>
                    <a:pt x="1879" y="121"/>
                  </a:lnTo>
                  <a:lnTo>
                    <a:pt x="1855" y="121"/>
                  </a:lnTo>
                  <a:lnTo>
                    <a:pt x="1830" y="119"/>
                  </a:lnTo>
                  <a:lnTo>
                    <a:pt x="1804" y="118"/>
                  </a:lnTo>
                  <a:lnTo>
                    <a:pt x="1804" y="118"/>
                  </a:lnTo>
                  <a:lnTo>
                    <a:pt x="1776" y="111"/>
                  </a:lnTo>
                  <a:lnTo>
                    <a:pt x="1752" y="105"/>
                  </a:lnTo>
                  <a:lnTo>
                    <a:pt x="1729" y="97"/>
                  </a:lnTo>
                  <a:lnTo>
                    <a:pt x="1707" y="87"/>
                  </a:lnTo>
                  <a:lnTo>
                    <a:pt x="1671" y="69"/>
                  </a:lnTo>
                  <a:lnTo>
                    <a:pt x="1639" y="49"/>
                  </a:lnTo>
                  <a:lnTo>
                    <a:pt x="1607" y="31"/>
                  </a:lnTo>
                  <a:lnTo>
                    <a:pt x="1591" y="23"/>
                  </a:lnTo>
                  <a:lnTo>
                    <a:pt x="1573" y="16"/>
                  </a:lnTo>
                  <a:lnTo>
                    <a:pt x="1555" y="10"/>
                  </a:lnTo>
                  <a:lnTo>
                    <a:pt x="1534" y="5"/>
                  </a:lnTo>
                  <a:lnTo>
                    <a:pt x="1513" y="2"/>
                  </a:lnTo>
                  <a:lnTo>
                    <a:pt x="1488" y="0"/>
                  </a:lnTo>
                  <a:lnTo>
                    <a:pt x="1488" y="0"/>
                  </a:lnTo>
                  <a:lnTo>
                    <a:pt x="1488" y="0"/>
                  </a:lnTo>
                  <a:lnTo>
                    <a:pt x="1488" y="0"/>
                  </a:lnTo>
                  <a:lnTo>
                    <a:pt x="1463" y="2"/>
                  </a:lnTo>
                  <a:lnTo>
                    <a:pt x="1441" y="5"/>
                  </a:lnTo>
                  <a:lnTo>
                    <a:pt x="1421" y="10"/>
                  </a:lnTo>
                  <a:lnTo>
                    <a:pt x="1403" y="16"/>
                  </a:lnTo>
                  <a:lnTo>
                    <a:pt x="1385" y="23"/>
                  </a:lnTo>
                  <a:lnTo>
                    <a:pt x="1369" y="31"/>
                  </a:lnTo>
                  <a:lnTo>
                    <a:pt x="1337" y="49"/>
                  </a:lnTo>
                  <a:lnTo>
                    <a:pt x="1305" y="69"/>
                  </a:lnTo>
                  <a:lnTo>
                    <a:pt x="1269" y="87"/>
                  </a:lnTo>
                  <a:lnTo>
                    <a:pt x="1247" y="97"/>
                  </a:lnTo>
                  <a:lnTo>
                    <a:pt x="1224" y="105"/>
                  </a:lnTo>
                  <a:lnTo>
                    <a:pt x="1200" y="111"/>
                  </a:lnTo>
                  <a:lnTo>
                    <a:pt x="1172" y="118"/>
                  </a:lnTo>
                  <a:lnTo>
                    <a:pt x="1172" y="118"/>
                  </a:lnTo>
                  <a:lnTo>
                    <a:pt x="1146" y="119"/>
                  </a:lnTo>
                  <a:lnTo>
                    <a:pt x="1120" y="121"/>
                  </a:lnTo>
                  <a:lnTo>
                    <a:pt x="1097" y="121"/>
                  </a:lnTo>
                  <a:lnTo>
                    <a:pt x="1074" y="119"/>
                  </a:lnTo>
                  <a:lnTo>
                    <a:pt x="1031" y="113"/>
                  </a:lnTo>
                  <a:lnTo>
                    <a:pt x="990" y="106"/>
                  </a:lnTo>
                  <a:lnTo>
                    <a:pt x="951" y="100"/>
                  </a:lnTo>
                  <a:lnTo>
                    <a:pt x="931" y="98"/>
                  </a:lnTo>
                  <a:lnTo>
                    <a:pt x="910" y="98"/>
                  </a:lnTo>
                  <a:lnTo>
                    <a:pt x="891" y="98"/>
                  </a:lnTo>
                  <a:lnTo>
                    <a:pt x="869" y="100"/>
                  </a:lnTo>
                  <a:lnTo>
                    <a:pt x="846" y="105"/>
                  </a:lnTo>
                  <a:lnTo>
                    <a:pt x="823" y="110"/>
                  </a:lnTo>
                  <a:lnTo>
                    <a:pt x="823" y="110"/>
                  </a:lnTo>
                  <a:lnTo>
                    <a:pt x="804" y="119"/>
                  </a:lnTo>
                  <a:lnTo>
                    <a:pt x="786" y="129"/>
                  </a:lnTo>
                  <a:lnTo>
                    <a:pt x="768" y="139"/>
                  </a:lnTo>
                  <a:lnTo>
                    <a:pt x="753" y="152"/>
                  </a:lnTo>
                  <a:lnTo>
                    <a:pt x="738" y="165"/>
                  </a:lnTo>
                  <a:lnTo>
                    <a:pt x="725" y="178"/>
                  </a:lnTo>
                  <a:lnTo>
                    <a:pt x="699" y="208"/>
                  </a:lnTo>
                  <a:lnTo>
                    <a:pt x="671" y="239"/>
                  </a:lnTo>
                  <a:lnTo>
                    <a:pt x="643" y="272"/>
                  </a:lnTo>
                  <a:lnTo>
                    <a:pt x="629" y="286"/>
                  </a:lnTo>
                  <a:lnTo>
                    <a:pt x="611" y="303"/>
                  </a:lnTo>
                  <a:lnTo>
                    <a:pt x="593" y="318"/>
                  </a:lnTo>
                  <a:lnTo>
                    <a:pt x="573" y="332"/>
                  </a:lnTo>
                  <a:lnTo>
                    <a:pt x="573" y="332"/>
                  </a:lnTo>
                  <a:lnTo>
                    <a:pt x="550" y="345"/>
                  </a:lnTo>
                  <a:lnTo>
                    <a:pt x="529" y="355"/>
                  </a:lnTo>
                  <a:lnTo>
                    <a:pt x="507" y="363"/>
                  </a:lnTo>
                  <a:lnTo>
                    <a:pt x="486" y="372"/>
                  </a:lnTo>
                  <a:lnTo>
                    <a:pt x="445" y="385"/>
                  </a:lnTo>
                  <a:lnTo>
                    <a:pt x="404" y="396"/>
                  </a:lnTo>
                  <a:lnTo>
                    <a:pt x="365" y="408"/>
                  </a:lnTo>
                  <a:lnTo>
                    <a:pt x="345" y="416"/>
                  </a:lnTo>
                  <a:lnTo>
                    <a:pt x="326" y="424"/>
                  </a:lnTo>
                  <a:lnTo>
                    <a:pt x="308" y="434"/>
                  </a:lnTo>
                  <a:lnTo>
                    <a:pt x="290" y="444"/>
                  </a:lnTo>
                  <a:lnTo>
                    <a:pt x="272" y="458"/>
                  </a:lnTo>
                  <a:lnTo>
                    <a:pt x="254" y="473"/>
                  </a:lnTo>
                  <a:lnTo>
                    <a:pt x="254" y="473"/>
                  </a:lnTo>
                  <a:lnTo>
                    <a:pt x="241" y="493"/>
                  </a:lnTo>
                  <a:lnTo>
                    <a:pt x="228" y="511"/>
                  </a:lnTo>
                  <a:lnTo>
                    <a:pt x="219" y="530"/>
                  </a:lnTo>
                  <a:lnTo>
                    <a:pt x="211" y="550"/>
                  </a:lnTo>
                  <a:lnTo>
                    <a:pt x="205" y="570"/>
                  </a:lnTo>
                  <a:lnTo>
                    <a:pt x="200" y="589"/>
                  </a:lnTo>
                  <a:lnTo>
                    <a:pt x="192" y="630"/>
                  </a:lnTo>
                  <a:lnTo>
                    <a:pt x="178" y="719"/>
                  </a:lnTo>
                  <a:lnTo>
                    <a:pt x="169" y="768"/>
                  </a:lnTo>
                  <a:lnTo>
                    <a:pt x="162" y="792"/>
                  </a:lnTo>
                  <a:lnTo>
                    <a:pt x="154" y="818"/>
                  </a:lnTo>
                  <a:lnTo>
                    <a:pt x="154" y="818"/>
                  </a:lnTo>
                  <a:lnTo>
                    <a:pt x="144" y="843"/>
                  </a:lnTo>
                  <a:lnTo>
                    <a:pt x="133" y="866"/>
                  </a:lnTo>
                  <a:lnTo>
                    <a:pt x="119" y="887"/>
                  </a:lnTo>
                  <a:lnTo>
                    <a:pt x="106" y="907"/>
                  </a:lnTo>
                  <a:lnTo>
                    <a:pt x="82" y="944"/>
                  </a:lnTo>
                  <a:lnTo>
                    <a:pt x="57" y="979"/>
                  </a:lnTo>
                  <a:lnTo>
                    <a:pt x="34" y="1013"/>
                  </a:lnTo>
                  <a:lnTo>
                    <a:pt x="25" y="1031"/>
                  </a:lnTo>
                  <a:lnTo>
                    <a:pt x="16" y="1051"/>
                  </a:lnTo>
                  <a:lnTo>
                    <a:pt x="10" y="1070"/>
                  </a:lnTo>
                  <a:lnTo>
                    <a:pt x="5" y="1092"/>
                  </a:lnTo>
                  <a:lnTo>
                    <a:pt x="2" y="1115"/>
                  </a:lnTo>
                  <a:lnTo>
                    <a:pt x="0" y="1139"/>
                  </a:lnTo>
                  <a:lnTo>
                    <a:pt x="0" y="1139"/>
                  </a:lnTo>
                  <a:lnTo>
                    <a:pt x="2" y="1164"/>
                  </a:lnTo>
                  <a:lnTo>
                    <a:pt x="5" y="1187"/>
                  </a:lnTo>
                  <a:lnTo>
                    <a:pt x="10" y="1208"/>
                  </a:lnTo>
                  <a:lnTo>
                    <a:pt x="16" y="1228"/>
                  </a:lnTo>
                  <a:lnTo>
                    <a:pt x="25" y="1247"/>
                  </a:lnTo>
                  <a:lnTo>
                    <a:pt x="34" y="1265"/>
                  </a:lnTo>
                  <a:lnTo>
                    <a:pt x="57" y="1300"/>
                  </a:lnTo>
                  <a:lnTo>
                    <a:pt x="82" y="1336"/>
                  </a:lnTo>
                  <a:lnTo>
                    <a:pt x="106" y="1373"/>
                  </a:lnTo>
                  <a:lnTo>
                    <a:pt x="119" y="1393"/>
                  </a:lnTo>
                  <a:lnTo>
                    <a:pt x="133" y="1414"/>
                  </a:lnTo>
                  <a:lnTo>
                    <a:pt x="144" y="1437"/>
                  </a:lnTo>
                  <a:lnTo>
                    <a:pt x="154" y="1462"/>
                  </a:lnTo>
                  <a:lnTo>
                    <a:pt x="154" y="1462"/>
                  </a:lnTo>
                  <a:lnTo>
                    <a:pt x="162" y="1488"/>
                  </a:lnTo>
                  <a:lnTo>
                    <a:pt x="169" y="1512"/>
                  </a:lnTo>
                  <a:lnTo>
                    <a:pt x="178" y="1560"/>
                  </a:lnTo>
                  <a:lnTo>
                    <a:pt x="192" y="1648"/>
                  </a:lnTo>
                  <a:lnTo>
                    <a:pt x="200" y="1689"/>
                  </a:lnTo>
                  <a:lnTo>
                    <a:pt x="205" y="1710"/>
                  </a:lnTo>
                  <a:lnTo>
                    <a:pt x="211" y="1730"/>
                  </a:lnTo>
                  <a:lnTo>
                    <a:pt x="219" y="1750"/>
                  </a:lnTo>
                  <a:lnTo>
                    <a:pt x="228" y="1768"/>
                  </a:lnTo>
                  <a:lnTo>
                    <a:pt x="241" y="1787"/>
                  </a:lnTo>
                  <a:lnTo>
                    <a:pt x="254" y="1807"/>
                  </a:lnTo>
                  <a:lnTo>
                    <a:pt x="254" y="1807"/>
                  </a:lnTo>
                  <a:lnTo>
                    <a:pt x="272" y="1822"/>
                  </a:lnTo>
                  <a:lnTo>
                    <a:pt x="290" y="1835"/>
                  </a:lnTo>
                  <a:lnTo>
                    <a:pt x="308" y="1846"/>
                  </a:lnTo>
                  <a:lnTo>
                    <a:pt x="326" y="1856"/>
                  </a:lnTo>
                  <a:lnTo>
                    <a:pt x="345" y="1864"/>
                  </a:lnTo>
                  <a:lnTo>
                    <a:pt x="365" y="1871"/>
                  </a:lnTo>
                  <a:lnTo>
                    <a:pt x="404" y="1884"/>
                  </a:lnTo>
                  <a:lnTo>
                    <a:pt x="445" y="1895"/>
                  </a:lnTo>
                  <a:lnTo>
                    <a:pt x="486" y="1908"/>
                  </a:lnTo>
                  <a:lnTo>
                    <a:pt x="507" y="1915"/>
                  </a:lnTo>
                  <a:lnTo>
                    <a:pt x="529" y="1925"/>
                  </a:lnTo>
                  <a:lnTo>
                    <a:pt x="550" y="1935"/>
                  </a:lnTo>
                  <a:lnTo>
                    <a:pt x="573" y="1946"/>
                  </a:lnTo>
                  <a:lnTo>
                    <a:pt x="573" y="1946"/>
                  </a:lnTo>
                  <a:lnTo>
                    <a:pt x="593" y="1962"/>
                  </a:lnTo>
                  <a:lnTo>
                    <a:pt x="611" y="1977"/>
                  </a:lnTo>
                  <a:lnTo>
                    <a:pt x="629" y="1992"/>
                  </a:lnTo>
                  <a:lnTo>
                    <a:pt x="643" y="2008"/>
                  </a:lnTo>
                  <a:lnTo>
                    <a:pt x="671" y="2039"/>
                  </a:lnTo>
                  <a:lnTo>
                    <a:pt x="699" y="2070"/>
                  </a:lnTo>
                  <a:lnTo>
                    <a:pt x="725" y="2100"/>
                  </a:lnTo>
                  <a:lnTo>
                    <a:pt x="738" y="2115"/>
                  </a:lnTo>
                  <a:lnTo>
                    <a:pt x="753" y="2128"/>
                  </a:lnTo>
                  <a:lnTo>
                    <a:pt x="768" y="2139"/>
                  </a:lnTo>
                  <a:lnTo>
                    <a:pt x="786" y="2151"/>
                  </a:lnTo>
                  <a:lnTo>
                    <a:pt x="804" y="2161"/>
                  </a:lnTo>
                  <a:lnTo>
                    <a:pt x="823" y="2169"/>
                  </a:lnTo>
                  <a:lnTo>
                    <a:pt x="823" y="2169"/>
                  </a:lnTo>
                  <a:lnTo>
                    <a:pt x="846" y="2175"/>
                  </a:lnTo>
                  <a:lnTo>
                    <a:pt x="869" y="2179"/>
                  </a:lnTo>
                  <a:lnTo>
                    <a:pt x="891" y="2182"/>
                  </a:lnTo>
                  <a:lnTo>
                    <a:pt x="910" y="2182"/>
                  </a:lnTo>
                  <a:lnTo>
                    <a:pt x="931" y="2180"/>
                  </a:lnTo>
                  <a:lnTo>
                    <a:pt x="951" y="2179"/>
                  </a:lnTo>
                  <a:lnTo>
                    <a:pt x="990" y="2174"/>
                  </a:lnTo>
                  <a:lnTo>
                    <a:pt x="1031" y="2167"/>
                  </a:lnTo>
                  <a:lnTo>
                    <a:pt x="1074" y="2161"/>
                  </a:lnTo>
                  <a:lnTo>
                    <a:pt x="1097" y="2159"/>
                  </a:lnTo>
                  <a:lnTo>
                    <a:pt x="1120" y="2159"/>
                  </a:lnTo>
                  <a:lnTo>
                    <a:pt x="1146" y="2159"/>
                  </a:lnTo>
                  <a:lnTo>
                    <a:pt x="1172" y="2162"/>
                  </a:lnTo>
                  <a:lnTo>
                    <a:pt x="1172" y="2162"/>
                  </a:lnTo>
                  <a:lnTo>
                    <a:pt x="1200" y="2169"/>
                  </a:lnTo>
                  <a:lnTo>
                    <a:pt x="1224" y="2175"/>
                  </a:lnTo>
                  <a:lnTo>
                    <a:pt x="1247" y="2183"/>
                  </a:lnTo>
                  <a:lnTo>
                    <a:pt x="1269" y="2193"/>
                  </a:lnTo>
                  <a:lnTo>
                    <a:pt x="1305" y="2211"/>
                  </a:lnTo>
                  <a:lnTo>
                    <a:pt x="1337" y="2231"/>
                  </a:lnTo>
                  <a:lnTo>
                    <a:pt x="1369" y="2249"/>
                  </a:lnTo>
                  <a:lnTo>
                    <a:pt x="1385" y="2257"/>
                  </a:lnTo>
                  <a:lnTo>
                    <a:pt x="1403" y="2264"/>
                  </a:lnTo>
                  <a:lnTo>
                    <a:pt x="1421" y="2270"/>
                  </a:lnTo>
                  <a:lnTo>
                    <a:pt x="1441" y="2275"/>
                  </a:lnTo>
                  <a:lnTo>
                    <a:pt x="1463" y="2278"/>
                  </a:lnTo>
                  <a:lnTo>
                    <a:pt x="1488" y="2280"/>
                  </a:lnTo>
                  <a:lnTo>
                    <a:pt x="1488" y="2280"/>
                  </a:lnTo>
                  <a:lnTo>
                    <a:pt x="1488" y="2280"/>
                  </a:lnTo>
                  <a:lnTo>
                    <a:pt x="1513" y="2278"/>
                  </a:lnTo>
                  <a:lnTo>
                    <a:pt x="1534" y="2275"/>
                  </a:lnTo>
                  <a:lnTo>
                    <a:pt x="1555" y="2270"/>
                  </a:lnTo>
                  <a:lnTo>
                    <a:pt x="1573" y="2264"/>
                  </a:lnTo>
                  <a:lnTo>
                    <a:pt x="1591" y="2257"/>
                  </a:lnTo>
                  <a:lnTo>
                    <a:pt x="1607" y="2249"/>
                  </a:lnTo>
                  <a:lnTo>
                    <a:pt x="1639" y="2231"/>
                  </a:lnTo>
                  <a:lnTo>
                    <a:pt x="1671" y="2211"/>
                  </a:lnTo>
                  <a:lnTo>
                    <a:pt x="1707" y="2193"/>
                  </a:lnTo>
                  <a:lnTo>
                    <a:pt x="1729" y="2183"/>
                  </a:lnTo>
                  <a:lnTo>
                    <a:pt x="1752" y="2175"/>
                  </a:lnTo>
                  <a:lnTo>
                    <a:pt x="1776" y="2169"/>
                  </a:lnTo>
                  <a:lnTo>
                    <a:pt x="1804" y="2162"/>
                  </a:lnTo>
                  <a:lnTo>
                    <a:pt x="1804" y="2162"/>
                  </a:lnTo>
                  <a:lnTo>
                    <a:pt x="1830" y="2159"/>
                  </a:lnTo>
                  <a:lnTo>
                    <a:pt x="1855" y="2159"/>
                  </a:lnTo>
                  <a:lnTo>
                    <a:pt x="1879" y="2159"/>
                  </a:lnTo>
                  <a:lnTo>
                    <a:pt x="1901" y="2161"/>
                  </a:lnTo>
                  <a:lnTo>
                    <a:pt x="1945" y="2167"/>
                  </a:lnTo>
                  <a:lnTo>
                    <a:pt x="1984" y="2174"/>
                  </a:lnTo>
                  <a:lnTo>
                    <a:pt x="2025" y="2179"/>
                  </a:lnTo>
                  <a:lnTo>
                    <a:pt x="2045" y="2180"/>
                  </a:lnTo>
                  <a:lnTo>
                    <a:pt x="2064" y="2182"/>
                  </a:lnTo>
                  <a:lnTo>
                    <a:pt x="2085" y="2182"/>
                  </a:lnTo>
                  <a:lnTo>
                    <a:pt x="2107" y="2179"/>
                  </a:lnTo>
                  <a:lnTo>
                    <a:pt x="2130" y="2175"/>
                  </a:lnTo>
                  <a:lnTo>
                    <a:pt x="2153" y="2169"/>
                  </a:lnTo>
                  <a:lnTo>
                    <a:pt x="2153" y="2169"/>
                  </a:lnTo>
                  <a:lnTo>
                    <a:pt x="2172" y="2161"/>
                  </a:lnTo>
                  <a:lnTo>
                    <a:pt x="2190" y="2151"/>
                  </a:lnTo>
                  <a:lnTo>
                    <a:pt x="2207" y="2139"/>
                  </a:lnTo>
                  <a:lnTo>
                    <a:pt x="2223" y="2128"/>
                  </a:lnTo>
                  <a:lnTo>
                    <a:pt x="2238" y="2115"/>
                  </a:lnTo>
                  <a:lnTo>
                    <a:pt x="2251" y="2100"/>
                  </a:lnTo>
                  <a:lnTo>
                    <a:pt x="2277" y="2070"/>
                  </a:lnTo>
                  <a:lnTo>
                    <a:pt x="2303" y="2039"/>
                  </a:lnTo>
                  <a:lnTo>
                    <a:pt x="2333" y="2008"/>
                  </a:lnTo>
                  <a:lnTo>
                    <a:pt x="2347" y="1992"/>
                  </a:lnTo>
                  <a:lnTo>
                    <a:pt x="2364" y="1977"/>
                  </a:lnTo>
                  <a:lnTo>
                    <a:pt x="2383" y="1962"/>
                  </a:lnTo>
                  <a:lnTo>
                    <a:pt x="2403" y="1946"/>
                  </a:lnTo>
                  <a:lnTo>
                    <a:pt x="2403" y="1946"/>
                  </a:lnTo>
                  <a:lnTo>
                    <a:pt x="2424" y="1935"/>
                  </a:lnTo>
                  <a:lnTo>
                    <a:pt x="2447" y="1925"/>
                  </a:lnTo>
                  <a:lnTo>
                    <a:pt x="2469" y="1915"/>
                  </a:lnTo>
                  <a:lnTo>
                    <a:pt x="2490" y="1908"/>
                  </a:lnTo>
                  <a:lnTo>
                    <a:pt x="2531" y="1895"/>
                  </a:lnTo>
                  <a:lnTo>
                    <a:pt x="2572" y="1884"/>
                  </a:lnTo>
                  <a:lnTo>
                    <a:pt x="2611" y="1871"/>
                  </a:lnTo>
                  <a:lnTo>
                    <a:pt x="2631" y="1864"/>
                  </a:lnTo>
                  <a:lnTo>
                    <a:pt x="2649" y="1856"/>
                  </a:lnTo>
                  <a:lnTo>
                    <a:pt x="2668" y="1846"/>
                  </a:lnTo>
                  <a:lnTo>
                    <a:pt x="2686" y="1835"/>
                  </a:lnTo>
                  <a:lnTo>
                    <a:pt x="2704" y="1822"/>
                  </a:lnTo>
                  <a:lnTo>
                    <a:pt x="2722" y="1807"/>
                  </a:lnTo>
                  <a:lnTo>
                    <a:pt x="2722" y="1807"/>
                  </a:lnTo>
                  <a:lnTo>
                    <a:pt x="2735" y="1787"/>
                  </a:lnTo>
                  <a:lnTo>
                    <a:pt x="2747" y="1768"/>
                  </a:lnTo>
                  <a:lnTo>
                    <a:pt x="2757" y="1750"/>
                  </a:lnTo>
                  <a:lnTo>
                    <a:pt x="2765" y="1730"/>
                  </a:lnTo>
                  <a:lnTo>
                    <a:pt x="2771" y="1710"/>
                  </a:lnTo>
                  <a:lnTo>
                    <a:pt x="2776" y="1689"/>
                  </a:lnTo>
                  <a:lnTo>
                    <a:pt x="2784" y="1648"/>
                  </a:lnTo>
                  <a:lnTo>
                    <a:pt x="2798" y="1560"/>
                  </a:lnTo>
                  <a:lnTo>
                    <a:pt x="2806" y="1512"/>
                  </a:lnTo>
                  <a:lnTo>
                    <a:pt x="2812" y="1488"/>
                  </a:lnTo>
                  <a:lnTo>
                    <a:pt x="2820" y="1462"/>
                  </a:lnTo>
                  <a:lnTo>
                    <a:pt x="2820" y="1462"/>
                  </a:lnTo>
                  <a:lnTo>
                    <a:pt x="2832" y="1437"/>
                  </a:lnTo>
                  <a:lnTo>
                    <a:pt x="2843" y="1414"/>
                  </a:lnTo>
                  <a:lnTo>
                    <a:pt x="2857" y="1393"/>
                  </a:lnTo>
                  <a:lnTo>
                    <a:pt x="2868" y="1372"/>
                  </a:lnTo>
                  <a:lnTo>
                    <a:pt x="2894" y="1336"/>
                  </a:lnTo>
                  <a:lnTo>
                    <a:pt x="2919" y="1300"/>
                  </a:lnTo>
                  <a:lnTo>
                    <a:pt x="2942" y="1264"/>
                  </a:lnTo>
                  <a:lnTo>
                    <a:pt x="2951" y="1246"/>
                  </a:lnTo>
                  <a:lnTo>
                    <a:pt x="2960" y="1228"/>
                  </a:lnTo>
                  <a:lnTo>
                    <a:pt x="2966" y="1208"/>
                  </a:lnTo>
                  <a:lnTo>
                    <a:pt x="2971" y="1187"/>
                  </a:lnTo>
                  <a:lnTo>
                    <a:pt x="2974" y="1164"/>
                  </a:lnTo>
                  <a:lnTo>
                    <a:pt x="2976" y="1139"/>
                  </a:lnTo>
                  <a:lnTo>
                    <a:pt x="2976" y="1139"/>
                  </a:lnTo>
                  <a:lnTo>
                    <a:pt x="2974" y="1115"/>
                  </a:lnTo>
                  <a:lnTo>
                    <a:pt x="2971" y="1092"/>
                  </a:lnTo>
                  <a:lnTo>
                    <a:pt x="2966" y="1070"/>
                  </a:lnTo>
                  <a:lnTo>
                    <a:pt x="2960" y="1051"/>
                  </a:lnTo>
                  <a:lnTo>
                    <a:pt x="2951" y="1031"/>
                  </a:lnTo>
                  <a:lnTo>
                    <a:pt x="2942" y="1013"/>
                  </a:lnTo>
                  <a:lnTo>
                    <a:pt x="2919" y="979"/>
                  </a:lnTo>
                  <a:lnTo>
                    <a:pt x="2894" y="943"/>
                  </a:lnTo>
                  <a:lnTo>
                    <a:pt x="2868" y="907"/>
                  </a:lnTo>
                  <a:lnTo>
                    <a:pt x="2857" y="887"/>
                  </a:lnTo>
                  <a:lnTo>
                    <a:pt x="2843" y="866"/>
                  </a:lnTo>
                  <a:lnTo>
                    <a:pt x="2832" y="843"/>
                  </a:lnTo>
                  <a:lnTo>
                    <a:pt x="2820" y="818"/>
                  </a:lnTo>
                  <a:lnTo>
                    <a:pt x="2820" y="818"/>
                  </a:lnTo>
                  <a:close/>
                  <a:moveTo>
                    <a:pt x="1488" y="2030"/>
                  </a:moveTo>
                  <a:lnTo>
                    <a:pt x="1488" y="2030"/>
                  </a:lnTo>
                  <a:lnTo>
                    <a:pt x="1419" y="2028"/>
                  </a:lnTo>
                  <a:lnTo>
                    <a:pt x="1350" y="2025"/>
                  </a:lnTo>
                  <a:lnTo>
                    <a:pt x="1285" y="2018"/>
                  </a:lnTo>
                  <a:lnTo>
                    <a:pt x="1221" y="2012"/>
                  </a:lnTo>
                  <a:lnTo>
                    <a:pt x="1157" y="2002"/>
                  </a:lnTo>
                  <a:lnTo>
                    <a:pt x="1097" y="1990"/>
                  </a:lnTo>
                  <a:lnTo>
                    <a:pt x="1036" y="1976"/>
                  </a:lnTo>
                  <a:lnTo>
                    <a:pt x="979" y="1961"/>
                  </a:lnTo>
                  <a:lnTo>
                    <a:pt x="923" y="1943"/>
                  </a:lnTo>
                  <a:lnTo>
                    <a:pt x="869" y="1923"/>
                  </a:lnTo>
                  <a:lnTo>
                    <a:pt x="817" y="1902"/>
                  </a:lnTo>
                  <a:lnTo>
                    <a:pt x="768" y="1879"/>
                  </a:lnTo>
                  <a:lnTo>
                    <a:pt x="719" y="1854"/>
                  </a:lnTo>
                  <a:lnTo>
                    <a:pt x="673" y="1828"/>
                  </a:lnTo>
                  <a:lnTo>
                    <a:pt x="629" y="1800"/>
                  </a:lnTo>
                  <a:lnTo>
                    <a:pt x="586" y="1771"/>
                  </a:lnTo>
                  <a:lnTo>
                    <a:pt x="547" y="1742"/>
                  </a:lnTo>
                  <a:lnTo>
                    <a:pt x="509" y="1709"/>
                  </a:lnTo>
                  <a:lnTo>
                    <a:pt x="475" y="1674"/>
                  </a:lnTo>
                  <a:lnTo>
                    <a:pt x="442" y="1640"/>
                  </a:lnTo>
                  <a:lnTo>
                    <a:pt x="411" y="1604"/>
                  </a:lnTo>
                  <a:lnTo>
                    <a:pt x="383" y="1566"/>
                  </a:lnTo>
                  <a:lnTo>
                    <a:pt x="357" y="1529"/>
                  </a:lnTo>
                  <a:lnTo>
                    <a:pt x="334" y="1489"/>
                  </a:lnTo>
                  <a:lnTo>
                    <a:pt x="314" y="1449"/>
                  </a:lnTo>
                  <a:lnTo>
                    <a:pt x="296" y="1408"/>
                  </a:lnTo>
                  <a:lnTo>
                    <a:pt x="280" y="1365"/>
                  </a:lnTo>
                  <a:lnTo>
                    <a:pt x="267" y="1321"/>
                  </a:lnTo>
                  <a:lnTo>
                    <a:pt x="257" y="1277"/>
                  </a:lnTo>
                  <a:lnTo>
                    <a:pt x="250" y="1232"/>
                  </a:lnTo>
                  <a:lnTo>
                    <a:pt x="246" y="1187"/>
                  </a:lnTo>
                  <a:lnTo>
                    <a:pt x="246" y="1139"/>
                  </a:lnTo>
                  <a:lnTo>
                    <a:pt x="246" y="1139"/>
                  </a:lnTo>
                  <a:lnTo>
                    <a:pt x="246" y="1093"/>
                  </a:lnTo>
                  <a:lnTo>
                    <a:pt x="250" y="1048"/>
                  </a:lnTo>
                  <a:lnTo>
                    <a:pt x="257" y="1002"/>
                  </a:lnTo>
                  <a:lnTo>
                    <a:pt x="267" y="958"/>
                  </a:lnTo>
                  <a:lnTo>
                    <a:pt x="280" y="915"/>
                  </a:lnTo>
                  <a:lnTo>
                    <a:pt x="296" y="872"/>
                  </a:lnTo>
                  <a:lnTo>
                    <a:pt x="314" y="831"/>
                  </a:lnTo>
                  <a:lnTo>
                    <a:pt x="334" y="791"/>
                  </a:lnTo>
                  <a:lnTo>
                    <a:pt x="357" y="751"/>
                  </a:lnTo>
                  <a:lnTo>
                    <a:pt x="383" y="712"/>
                  </a:lnTo>
                  <a:lnTo>
                    <a:pt x="411" y="674"/>
                  </a:lnTo>
                  <a:lnTo>
                    <a:pt x="442" y="638"/>
                  </a:lnTo>
                  <a:lnTo>
                    <a:pt x="475" y="604"/>
                  </a:lnTo>
                  <a:lnTo>
                    <a:pt x="509" y="571"/>
                  </a:lnTo>
                  <a:lnTo>
                    <a:pt x="547" y="538"/>
                  </a:lnTo>
                  <a:lnTo>
                    <a:pt x="588" y="507"/>
                  </a:lnTo>
                  <a:lnTo>
                    <a:pt x="629" y="480"/>
                  </a:lnTo>
                  <a:lnTo>
                    <a:pt x="673" y="452"/>
                  </a:lnTo>
                  <a:lnTo>
                    <a:pt x="719" y="426"/>
                  </a:lnTo>
                  <a:lnTo>
                    <a:pt x="768" y="401"/>
                  </a:lnTo>
                  <a:lnTo>
                    <a:pt x="817" y="378"/>
                  </a:lnTo>
                  <a:lnTo>
                    <a:pt x="869" y="357"/>
                  </a:lnTo>
                  <a:lnTo>
                    <a:pt x="923" y="337"/>
                  </a:lnTo>
                  <a:lnTo>
                    <a:pt x="979" y="319"/>
                  </a:lnTo>
                  <a:lnTo>
                    <a:pt x="1036" y="303"/>
                  </a:lnTo>
                  <a:lnTo>
                    <a:pt x="1097" y="290"/>
                  </a:lnTo>
                  <a:lnTo>
                    <a:pt x="1157" y="278"/>
                  </a:lnTo>
                  <a:lnTo>
                    <a:pt x="1221" y="268"/>
                  </a:lnTo>
                  <a:lnTo>
                    <a:pt x="1285" y="260"/>
                  </a:lnTo>
                  <a:lnTo>
                    <a:pt x="1350" y="255"/>
                  </a:lnTo>
                  <a:lnTo>
                    <a:pt x="1419" y="252"/>
                  </a:lnTo>
                  <a:lnTo>
                    <a:pt x="1488" y="250"/>
                  </a:lnTo>
                  <a:lnTo>
                    <a:pt x="1488" y="250"/>
                  </a:lnTo>
                  <a:lnTo>
                    <a:pt x="1557" y="252"/>
                  </a:lnTo>
                  <a:lnTo>
                    <a:pt x="1626" y="255"/>
                  </a:lnTo>
                  <a:lnTo>
                    <a:pt x="1691" y="260"/>
                  </a:lnTo>
                  <a:lnTo>
                    <a:pt x="1756" y="268"/>
                  </a:lnTo>
                  <a:lnTo>
                    <a:pt x="1819" y="278"/>
                  </a:lnTo>
                  <a:lnTo>
                    <a:pt x="1879" y="290"/>
                  </a:lnTo>
                  <a:lnTo>
                    <a:pt x="1940" y="303"/>
                  </a:lnTo>
                  <a:lnTo>
                    <a:pt x="1997" y="319"/>
                  </a:lnTo>
                  <a:lnTo>
                    <a:pt x="2053" y="337"/>
                  </a:lnTo>
                  <a:lnTo>
                    <a:pt x="2107" y="357"/>
                  </a:lnTo>
                  <a:lnTo>
                    <a:pt x="2159" y="378"/>
                  </a:lnTo>
                  <a:lnTo>
                    <a:pt x="2210" y="401"/>
                  </a:lnTo>
                  <a:lnTo>
                    <a:pt x="2257" y="426"/>
                  </a:lnTo>
                  <a:lnTo>
                    <a:pt x="2303" y="452"/>
                  </a:lnTo>
                  <a:lnTo>
                    <a:pt x="2347" y="480"/>
                  </a:lnTo>
                  <a:lnTo>
                    <a:pt x="2390" y="507"/>
                  </a:lnTo>
                  <a:lnTo>
                    <a:pt x="2429" y="538"/>
                  </a:lnTo>
                  <a:lnTo>
                    <a:pt x="2467" y="571"/>
                  </a:lnTo>
                  <a:lnTo>
                    <a:pt x="2501" y="604"/>
                  </a:lnTo>
                  <a:lnTo>
                    <a:pt x="2534" y="638"/>
                  </a:lnTo>
                  <a:lnTo>
                    <a:pt x="2565" y="674"/>
                  </a:lnTo>
                  <a:lnTo>
                    <a:pt x="2593" y="712"/>
                  </a:lnTo>
                  <a:lnTo>
                    <a:pt x="2619" y="751"/>
                  </a:lnTo>
                  <a:lnTo>
                    <a:pt x="2642" y="791"/>
                  </a:lnTo>
                  <a:lnTo>
                    <a:pt x="2662" y="831"/>
                  </a:lnTo>
                  <a:lnTo>
                    <a:pt x="2680" y="872"/>
                  </a:lnTo>
                  <a:lnTo>
                    <a:pt x="2696" y="915"/>
                  </a:lnTo>
                  <a:lnTo>
                    <a:pt x="2708" y="958"/>
                  </a:lnTo>
                  <a:lnTo>
                    <a:pt x="2717" y="1002"/>
                  </a:lnTo>
                  <a:lnTo>
                    <a:pt x="2726" y="1048"/>
                  </a:lnTo>
                  <a:lnTo>
                    <a:pt x="2729" y="1093"/>
                  </a:lnTo>
                  <a:lnTo>
                    <a:pt x="2730" y="1139"/>
                  </a:lnTo>
                  <a:lnTo>
                    <a:pt x="2730" y="1139"/>
                  </a:lnTo>
                  <a:lnTo>
                    <a:pt x="2729" y="1187"/>
                  </a:lnTo>
                  <a:lnTo>
                    <a:pt x="2726" y="1232"/>
                  </a:lnTo>
                  <a:lnTo>
                    <a:pt x="2717" y="1277"/>
                  </a:lnTo>
                  <a:lnTo>
                    <a:pt x="2708" y="1321"/>
                  </a:lnTo>
                  <a:lnTo>
                    <a:pt x="2696" y="1365"/>
                  </a:lnTo>
                  <a:lnTo>
                    <a:pt x="2680" y="1408"/>
                  </a:lnTo>
                  <a:lnTo>
                    <a:pt x="2662" y="1449"/>
                  </a:lnTo>
                  <a:lnTo>
                    <a:pt x="2642" y="1489"/>
                  </a:lnTo>
                  <a:lnTo>
                    <a:pt x="2619" y="1529"/>
                  </a:lnTo>
                  <a:lnTo>
                    <a:pt x="2593" y="1566"/>
                  </a:lnTo>
                  <a:lnTo>
                    <a:pt x="2565" y="1604"/>
                  </a:lnTo>
                  <a:lnTo>
                    <a:pt x="2534" y="1640"/>
                  </a:lnTo>
                  <a:lnTo>
                    <a:pt x="2501" y="1674"/>
                  </a:lnTo>
                  <a:lnTo>
                    <a:pt x="2465" y="1709"/>
                  </a:lnTo>
                  <a:lnTo>
                    <a:pt x="2429" y="1742"/>
                  </a:lnTo>
                  <a:lnTo>
                    <a:pt x="2388" y="1771"/>
                  </a:lnTo>
                  <a:lnTo>
                    <a:pt x="2347" y="1800"/>
                  </a:lnTo>
                  <a:lnTo>
                    <a:pt x="2303" y="1828"/>
                  </a:lnTo>
                  <a:lnTo>
                    <a:pt x="2257" y="1854"/>
                  </a:lnTo>
                  <a:lnTo>
                    <a:pt x="2208" y="1879"/>
                  </a:lnTo>
                  <a:lnTo>
                    <a:pt x="2159" y="1902"/>
                  </a:lnTo>
                  <a:lnTo>
                    <a:pt x="2107" y="1923"/>
                  </a:lnTo>
                  <a:lnTo>
                    <a:pt x="2053" y="1943"/>
                  </a:lnTo>
                  <a:lnTo>
                    <a:pt x="1997" y="1961"/>
                  </a:lnTo>
                  <a:lnTo>
                    <a:pt x="1938" y="1976"/>
                  </a:lnTo>
                  <a:lnTo>
                    <a:pt x="1879" y="1990"/>
                  </a:lnTo>
                  <a:lnTo>
                    <a:pt x="1819" y="2002"/>
                  </a:lnTo>
                  <a:lnTo>
                    <a:pt x="1755" y="2012"/>
                  </a:lnTo>
                  <a:lnTo>
                    <a:pt x="1691" y="2018"/>
                  </a:lnTo>
                  <a:lnTo>
                    <a:pt x="1624" y="2025"/>
                  </a:lnTo>
                  <a:lnTo>
                    <a:pt x="1557" y="2028"/>
                  </a:lnTo>
                  <a:lnTo>
                    <a:pt x="1488" y="2030"/>
                  </a:lnTo>
                  <a:lnTo>
                    <a:pt x="1488" y="20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5" name="Freeform 18"/>
            <p:cNvSpPr>
              <a:spLocks/>
            </p:cNvSpPr>
            <p:nvPr/>
          </p:nvSpPr>
          <p:spPr bwMode="auto">
            <a:xfrm>
              <a:off x="7856254" y="5908560"/>
              <a:ext cx="206927" cy="269362"/>
            </a:xfrm>
            <a:custGeom>
              <a:avLst/>
              <a:gdLst>
                <a:gd name="T0" fmla="*/ 4 w 698"/>
                <a:gd name="T1" fmla="*/ 404 h 907"/>
                <a:gd name="T2" fmla="*/ 18 w 698"/>
                <a:gd name="T3" fmla="*/ 309 h 907"/>
                <a:gd name="T4" fmla="*/ 48 w 698"/>
                <a:gd name="T5" fmla="*/ 226 h 907"/>
                <a:gd name="T6" fmla="*/ 89 w 698"/>
                <a:gd name="T7" fmla="*/ 154 h 907"/>
                <a:gd name="T8" fmla="*/ 143 w 698"/>
                <a:gd name="T9" fmla="*/ 95 h 907"/>
                <a:gd name="T10" fmla="*/ 207 w 698"/>
                <a:gd name="T11" fmla="*/ 49 h 907"/>
                <a:gd name="T12" fmla="*/ 279 w 698"/>
                <a:gd name="T13" fmla="*/ 18 h 907"/>
                <a:gd name="T14" fmla="*/ 359 w 698"/>
                <a:gd name="T15" fmla="*/ 1 h 907"/>
                <a:gd name="T16" fmla="*/ 428 w 698"/>
                <a:gd name="T17" fmla="*/ 0 h 907"/>
                <a:gd name="T18" fmla="*/ 519 w 698"/>
                <a:gd name="T19" fmla="*/ 16 h 907"/>
                <a:gd name="T20" fmla="*/ 573 w 698"/>
                <a:gd name="T21" fmla="*/ 37 h 907"/>
                <a:gd name="T22" fmla="*/ 593 w 698"/>
                <a:gd name="T23" fmla="*/ 37 h 907"/>
                <a:gd name="T24" fmla="*/ 611 w 698"/>
                <a:gd name="T25" fmla="*/ 16 h 907"/>
                <a:gd name="T26" fmla="*/ 621 w 698"/>
                <a:gd name="T27" fmla="*/ 6 h 907"/>
                <a:gd name="T28" fmla="*/ 681 w 698"/>
                <a:gd name="T29" fmla="*/ 6 h 907"/>
                <a:gd name="T30" fmla="*/ 689 w 698"/>
                <a:gd name="T31" fmla="*/ 245 h 907"/>
                <a:gd name="T32" fmla="*/ 681 w 698"/>
                <a:gd name="T33" fmla="*/ 258 h 907"/>
                <a:gd name="T34" fmla="*/ 621 w 698"/>
                <a:gd name="T35" fmla="*/ 258 h 907"/>
                <a:gd name="T36" fmla="*/ 613 w 698"/>
                <a:gd name="T37" fmla="*/ 247 h 907"/>
                <a:gd name="T38" fmla="*/ 586 w 698"/>
                <a:gd name="T39" fmla="*/ 160 h 907"/>
                <a:gd name="T40" fmla="*/ 550 w 698"/>
                <a:gd name="T41" fmla="*/ 111 h 907"/>
                <a:gd name="T42" fmla="*/ 495 w 698"/>
                <a:gd name="T43" fmla="*/ 82 h 907"/>
                <a:gd name="T44" fmla="*/ 436 w 698"/>
                <a:gd name="T45" fmla="*/ 75 h 907"/>
                <a:gd name="T46" fmla="*/ 383 w 698"/>
                <a:gd name="T47" fmla="*/ 87 h 907"/>
                <a:gd name="T48" fmla="*/ 342 w 698"/>
                <a:gd name="T49" fmla="*/ 114 h 907"/>
                <a:gd name="T50" fmla="*/ 285 w 698"/>
                <a:gd name="T51" fmla="*/ 206 h 907"/>
                <a:gd name="T52" fmla="*/ 256 w 698"/>
                <a:gd name="T53" fmla="*/ 321 h 907"/>
                <a:gd name="T54" fmla="*/ 247 w 698"/>
                <a:gd name="T55" fmla="*/ 424 h 907"/>
                <a:gd name="T56" fmla="*/ 257 w 698"/>
                <a:gd name="T57" fmla="*/ 596 h 907"/>
                <a:gd name="T58" fmla="*/ 290 w 698"/>
                <a:gd name="T59" fmla="*/ 722 h 907"/>
                <a:gd name="T60" fmla="*/ 338 w 698"/>
                <a:gd name="T61" fmla="*/ 792 h 907"/>
                <a:gd name="T62" fmla="*/ 383 w 698"/>
                <a:gd name="T63" fmla="*/ 820 h 907"/>
                <a:gd name="T64" fmla="*/ 441 w 698"/>
                <a:gd name="T65" fmla="*/ 831 h 907"/>
                <a:gd name="T66" fmla="*/ 503 w 698"/>
                <a:gd name="T67" fmla="*/ 823 h 907"/>
                <a:gd name="T68" fmla="*/ 562 w 698"/>
                <a:gd name="T69" fmla="*/ 794 h 907"/>
                <a:gd name="T70" fmla="*/ 598 w 698"/>
                <a:gd name="T71" fmla="*/ 743 h 907"/>
                <a:gd name="T72" fmla="*/ 621 w 698"/>
                <a:gd name="T73" fmla="*/ 658 h 907"/>
                <a:gd name="T74" fmla="*/ 631 w 698"/>
                <a:gd name="T75" fmla="*/ 646 h 907"/>
                <a:gd name="T76" fmla="*/ 689 w 698"/>
                <a:gd name="T77" fmla="*/ 648 h 907"/>
                <a:gd name="T78" fmla="*/ 698 w 698"/>
                <a:gd name="T79" fmla="*/ 887 h 907"/>
                <a:gd name="T80" fmla="*/ 689 w 698"/>
                <a:gd name="T81" fmla="*/ 898 h 907"/>
                <a:gd name="T82" fmla="*/ 629 w 698"/>
                <a:gd name="T83" fmla="*/ 900 h 907"/>
                <a:gd name="T84" fmla="*/ 621 w 698"/>
                <a:gd name="T85" fmla="*/ 892 h 907"/>
                <a:gd name="T86" fmla="*/ 599 w 698"/>
                <a:gd name="T87" fmla="*/ 877 h 907"/>
                <a:gd name="T88" fmla="*/ 534 w 698"/>
                <a:gd name="T89" fmla="*/ 892 h 907"/>
                <a:gd name="T90" fmla="*/ 403 w 698"/>
                <a:gd name="T91" fmla="*/ 907 h 907"/>
                <a:gd name="T92" fmla="*/ 334 w 698"/>
                <a:gd name="T93" fmla="*/ 902 h 907"/>
                <a:gd name="T94" fmla="*/ 249 w 698"/>
                <a:gd name="T95" fmla="*/ 877 h 907"/>
                <a:gd name="T96" fmla="*/ 177 w 698"/>
                <a:gd name="T97" fmla="*/ 838 h 907"/>
                <a:gd name="T98" fmla="*/ 118 w 698"/>
                <a:gd name="T99" fmla="*/ 784 h 907"/>
                <a:gd name="T100" fmla="*/ 59 w 698"/>
                <a:gd name="T101" fmla="*/ 702 h 907"/>
                <a:gd name="T102" fmla="*/ 7 w 698"/>
                <a:gd name="T103" fmla="*/ 5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8" h="907">
                  <a:moveTo>
                    <a:pt x="0" y="455"/>
                  </a:moveTo>
                  <a:lnTo>
                    <a:pt x="0" y="455"/>
                  </a:lnTo>
                  <a:lnTo>
                    <a:pt x="2" y="429"/>
                  </a:lnTo>
                  <a:lnTo>
                    <a:pt x="4" y="404"/>
                  </a:lnTo>
                  <a:lnTo>
                    <a:pt x="5" y="378"/>
                  </a:lnTo>
                  <a:lnTo>
                    <a:pt x="8" y="355"/>
                  </a:lnTo>
                  <a:lnTo>
                    <a:pt x="13" y="332"/>
                  </a:lnTo>
                  <a:lnTo>
                    <a:pt x="18" y="309"/>
                  </a:lnTo>
                  <a:lnTo>
                    <a:pt x="25" y="286"/>
                  </a:lnTo>
                  <a:lnTo>
                    <a:pt x="31" y="265"/>
                  </a:lnTo>
                  <a:lnTo>
                    <a:pt x="38" y="245"/>
                  </a:lnTo>
                  <a:lnTo>
                    <a:pt x="48" y="226"/>
                  </a:lnTo>
                  <a:lnTo>
                    <a:pt x="56" y="206"/>
                  </a:lnTo>
                  <a:lnTo>
                    <a:pt x="67" y="188"/>
                  </a:lnTo>
                  <a:lnTo>
                    <a:pt x="77" y="170"/>
                  </a:lnTo>
                  <a:lnTo>
                    <a:pt x="89" y="154"/>
                  </a:lnTo>
                  <a:lnTo>
                    <a:pt x="102" y="137"/>
                  </a:lnTo>
                  <a:lnTo>
                    <a:pt x="115" y="123"/>
                  </a:lnTo>
                  <a:lnTo>
                    <a:pt x="128" y="108"/>
                  </a:lnTo>
                  <a:lnTo>
                    <a:pt x="143" y="95"/>
                  </a:lnTo>
                  <a:lnTo>
                    <a:pt x="157" y="82"/>
                  </a:lnTo>
                  <a:lnTo>
                    <a:pt x="174" y="70"/>
                  </a:lnTo>
                  <a:lnTo>
                    <a:pt x="190" y="59"/>
                  </a:lnTo>
                  <a:lnTo>
                    <a:pt x="207" y="49"/>
                  </a:lnTo>
                  <a:lnTo>
                    <a:pt x="225" y="39"/>
                  </a:lnTo>
                  <a:lnTo>
                    <a:pt x="243" y="31"/>
                  </a:lnTo>
                  <a:lnTo>
                    <a:pt x="261" y="24"/>
                  </a:lnTo>
                  <a:lnTo>
                    <a:pt x="279" y="18"/>
                  </a:lnTo>
                  <a:lnTo>
                    <a:pt x="298" y="11"/>
                  </a:lnTo>
                  <a:lnTo>
                    <a:pt x="318" y="8"/>
                  </a:lnTo>
                  <a:lnTo>
                    <a:pt x="339" y="3"/>
                  </a:lnTo>
                  <a:lnTo>
                    <a:pt x="359" y="1"/>
                  </a:lnTo>
                  <a:lnTo>
                    <a:pt x="380" y="0"/>
                  </a:lnTo>
                  <a:lnTo>
                    <a:pt x="401" y="0"/>
                  </a:lnTo>
                  <a:lnTo>
                    <a:pt x="401" y="0"/>
                  </a:lnTo>
                  <a:lnTo>
                    <a:pt x="428" y="0"/>
                  </a:lnTo>
                  <a:lnTo>
                    <a:pt x="452" y="1"/>
                  </a:lnTo>
                  <a:lnTo>
                    <a:pt x="472" y="5"/>
                  </a:lnTo>
                  <a:lnTo>
                    <a:pt x="490" y="8"/>
                  </a:lnTo>
                  <a:lnTo>
                    <a:pt x="519" y="16"/>
                  </a:lnTo>
                  <a:lnTo>
                    <a:pt x="541" y="24"/>
                  </a:lnTo>
                  <a:lnTo>
                    <a:pt x="541" y="24"/>
                  </a:lnTo>
                  <a:lnTo>
                    <a:pt x="563" y="34"/>
                  </a:lnTo>
                  <a:lnTo>
                    <a:pt x="573" y="37"/>
                  </a:lnTo>
                  <a:lnTo>
                    <a:pt x="583" y="39"/>
                  </a:lnTo>
                  <a:lnTo>
                    <a:pt x="583" y="39"/>
                  </a:lnTo>
                  <a:lnTo>
                    <a:pt x="588" y="39"/>
                  </a:lnTo>
                  <a:lnTo>
                    <a:pt x="593" y="37"/>
                  </a:lnTo>
                  <a:lnTo>
                    <a:pt x="598" y="36"/>
                  </a:lnTo>
                  <a:lnTo>
                    <a:pt x="601" y="33"/>
                  </a:lnTo>
                  <a:lnTo>
                    <a:pt x="608" y="24"/>
                  </a:lnTo>
                  <a:lnTo>
                    <a:pt x="611" y="16"/>
                  </a:lnTo>
                  <a:lnTo>
                    <a:pt x="611" y="16"/>
                  </a:lnTo>
                  <a:lnTo>
                    <a:pt x="614" y="11"/>
                  </a:lnTo>
                  <a:lnTo>
                    <a:pt x="617" y="8"/>
                  </a:lnTo>
                  <a:lnTo>
                    <a:pt x="621" y="6"/>
                  </a:lnTo>
                  <a:lnTo>
                    <a:pt x="624" y="5"/>
                  </a:lnTo>
                  <a:lnTo>
                    <a:pt x="676" y="5"/>
                  </a:lnTo>
                  <a:lnTo>
                    <a:pt x="676" y="5"/>
                  </a:lnTo>
                  <a:lnTo>
                    <a:pt x="681" y="6"/>
                  </a:lnTo>
                  <a:lnTo>
                    <a:pt x="686" y="8"/>
                  </a:lnTo>
                  <a:lnTo>
                    <a:pt x="688" y="13"/>
                  </a:lnTo>
                  <a:lnTo>
                    <a:pt x="689" y="18"/>
                  </a:lnTo>
                  <a:lnTo>
                    <a:pt x="689" y="245"/>
                  </a:lnTo>
                  <a:lnTo>
                    <a:pt x="689" y="245"/>
                  </a:lnTo>
                  <a:lnTo>
                    <a:pt x="688" y="250"/>
                  </a:lnTo>
                  <a:lnTo>
                    <a:pt x="686" y="255"/>
                  </a:lnTo>
                  <a:lnTo>
                    <a:pt x="681" y="258"/>
                  </a:lnTo>
                  <a:lnTo>
                    <a:pt x="676" y="258"/>
                  </a:lnTo>
                  <a:lnTo>
                    <a:pt x="626" y="258"/>
                  </a:lnTo>
                  <a:lnTo>
                    <a:pt x="626" y="258"/>
                  </a:lnTo>
                  <a:lnTo>
                    <a:pt x="621" y="258"/>
                  </a:lnTo>
                  <a:lnTo>
                    <a:pt x="617" y="257"/>
                  </a:lnTo>
                  <a:lnTo>
                    <a:pt x="614" y="252"/>
                  </a:lnTo>
                  <a:lnTo>
                    <a:pt x="613" y="247"/>
                  </a:lnTo>
                  <a:lnTo>
                    <a:pt x="613" y="247"/>
                  </a:lnTo>
                  <a:lnTo>
                    <a:pt x="604" y="209"/>
                  </a:lnTo>
                  <a:lnTo>
                    <a:pt x="599" y="191"/>
                  </a:lnTo>
                  <a:lnTo>
                    <a:pt x="593" y="175"/>
                  </a:lnTo>
                  <a:lnTo>
                    <a:pt x="586" y="160"/>
                  </a:lnTo>
                  <a:lnTo>
                    <a:pt x="580" y="145"/>
                  </a:lnTo>
                  <a:lnTo>
                    <a:pt x="572" y="132"/>
                  </a:lnTo>
                  <a:lnTo>
                    <a:pt x="562" y="121"/>
                  </a:lnTo>
                  <a:lnTo>
                    <a:pt x="550" y="111"/>
                  </a:lnTo>
                  <a:lnTo>
                    <a:pt x="539" y="101"/>
                  </a:lnTo>
                  <a:lnTo>
                    <a:pt x="526" y="93"/>
                  </a:lnTo>
                  <a:lnTo>
                    <a:pt x="511" y="87"/>
                  </a:lnTo>
                  <a:lnTo>
                    <a:pt x="495" y="82"/>
                  </a:lnTo>
                  <a:lnTo>
                    <a:pt x="477" y="78"/>
                  </a:lnTo>
                  <a:lnTo>
                    <a:pt x="457" y="77"/>
                  </a:lnTo>
                  <a:lnTo>
                    <a:pt x="436" y="75"/>
                  </a:lnTo>
                  <a:lnTo>
                    <a:pt x="436" y="75"/>
                  </a:lnTo>
                  <a:lnTo>
                    <a:pt x="421" y="77"/>
                  </a:lnTo>
                  <a:lnTo>
                    <a:pt x="408" y="78"/>
                  </a:lnTo>
                  <a:lnTo>
                    <a:pt x="395" y="82"/>
                  </a:lnTo>
                  <a:lnTo>
                    <a:pt x="383" y="87"/>
                  </a:lnTo>
                  <a:lnTo>
                    <a:pt x="372" y="91"/>
                  </a:lnTo>
                  <a:lnTo>
                    <a:pt x="362" y="98"/>
                  </a:lnTo>
                  <a:lnTo>
                    <a:pt x="352" y="105"/>
                  </a:lnTo>
                  <a:lnTo>
                    <a:pt x="342" y="114"/>
                  </a:lnTo>
                  <a:lnTo>
                    <a:pt x="324" y="132"/>
                  </a:lnTo>
                  <a:lnTo>
                    <a:pt x="310" y="155"/>
                  </a:lnTo>
                  <a:lnTo>
                    <a:pt x="297" y="180"/>
                  </a:lnTo>
                  <a:lnTo>
                    <a:pt x="285" y="206"/>
                  </a:lnTo>
                  <a:lnTo>
                    <a:pt x="275" y="234"/>
                  </a:lnTo>
                  <a:lnTo>
                    <a:pt x="267" y="263"/>
                  </a:lnTo>
                  <a:lnTo>
                    <a:pt x="261" y="291"/>
                  </a:lnTo>
                  <a:lnTo>
                    <a:pt x="256" y="321"/>
                  </a:lnTo>
                  <a:lnTo>
                    <a:pt x="252" y="348"/>
                  </a:lnTo>
                  <a:lnTo>
                    <a:pt x="249" y="375"/>
                  </a:lnTo>
                  <a:lnTo>
                    <a:pt x="247" y="424"/>
                  </a:lnTo>
                  <a:lnTo>
                    <a:pt x="247" y="424"/>
                  </a:lnTo>
                  <a:lnTo>
                    <a:pt x="249" y="491"/>
                  </a:lnTo>
                  <a:lnTo>
                    <a:pt x="251" y="525"/>
                  </a:lnTo>
                  <a:lnTo>
                    <a:pt x="254" y="561"/>
                  </a:lnTo>
                  <a:lnTo>
                    <a:pt x="257" y="596"/>
                  </a:lnTo>
                  <a:lnTo>
                    <a:pt x="264" y="628"/>
                  </a:lnTo>
                  <a:lnTo>
                    <a:pt x="270" y="661"/>
                  </a:lnTo>
                  <a:lnTo>
                    <a:pt x="280" y="692"/>
                  </a:lnTo>
                  <a:lnTo>
                    <a:pt x="290" y="722"/>
                  </a:lnTo>
                  <a:lnTo>
                    <a:pt x="303" y="748"/>
                  </a:lnTo>
                  <a:lnTo>
                    <a:pt x="320" y="772"/>
                  </a:lnTo>
                  <a:lnTo>
                    <a:pt x="328" y="782"/>
                  </a:lnTo>
                  <a:lnTo>
                    <a:pt x="338" y="792"/>
                  </a:lnTo>
                  <a:lnTo>
                    <a:pt x="347" y="800"/>
                  </a:lnTo>
                  <a:lnTo>
                    <a:pt x="359" y="808"/>
                  </a:lnTo>
                  <a:lnTo>
                    <a:pt x="370" y="815"/>
                  </a:lnTo>
                  <a:lnTo>
                    <a:pt x="383" y="820"/>
                  </a:lnTo>
                  <a:lnTo>
                    <a:pt x="396" y="825"/>
                  </a:lnTo>
                  <a:lnTo>
                    <a:pt x="411" y="828"/>
                  </a:lnTo>
                  <a:lnTo>
                    <a:pt x="426" y="830"/>
                  </a:lnTo>
                  <a:lnTo>
                    <a:pt x="441" y="831"/>
                  </a:lnTo>
                  <a:lnTo>
                    <a:pt x="441" y="831"/>
                  </a:lnTo>
                  <a:lnTo>
                    <a:pt x="464" y="830"/>
                  </a:lnTo>
                  <a:lnTo>
                    <a:pt x="485" y="828"/>
                  </a:lnTo>
                  <a:lnTo>
                    <a:pt x="503" y="823"/>
                  </a:lnTo>
                  <a:lnTo>
                    <a:pt x="521" y="818"/>
                  </a:lnTo>
                  <a:lnTo>
                    <a:pt x="536" y="812"/>
                  </a:lnTo>
                  <a:lnTo>
                    <a:pt x="549" y="803"/>
                  </a:lnTo>
                  <a:lnTo>
                    <a:pt x="562" y="794"/>
                  </a:lnTo>
                  <a:lnTo>
                    <a:pt x="572" y="782"/>
                  </a:lnTo>
                  <a:lnTo>
                    <a:pt x="581" y="771"/>
                  </a:lnTo>
                  <a:lnTo>
                    <a:pt x="590" y="758"/>
                  </a:lnTo>
                  <a:lnTo>
                    <a:pt x="598" y="743"/>
                  </a:lnTo>
                  <a:lnTo>
                    <a:pt x="603" y="728"/>
                  </a:lnTo>
                  <a:lnTo>
                    <a:pt x="609" y="712"/>
                  </a:lnTo>
                  <a:lnTo>
                    <a:pt x="614" y="695"/>
                  </a:lnTo>
                  <a:lnTo>
                    <a:pt x="621" y="658"/>
                  </a:lnTo>
                  <a:lnTo>
                    <a:pt x="621" y="658"/>
                  </a:lnTo>
                  <a:lnTo>
                    <a:pt x="622" y="653"/>
                  </a:lnTo>
                  <a:lnTo>
                    <a:pt x="626" y="648"/>
                  </a:lnTo>
                  <a:lnTo>
                    <a:pt x="631" y="646"/>
                  </a:lnTo>
                  <a:lnTo>
                    <a:pt x="634" y="646"/>
                  </a:lnTo>
                  <a:lnTo>
                    <a:pt x="685" y="646"/>
                  </a:lnTo>
                  <a:lnTo>
                    <a:pt x="685" y="646"/>
                  </a:lnTo>
                  <a:lnTo>
                    <a:pt x="689" y="648"/>
                  </a:lnTo>
                  <a:lnTo>
                    <a:pt x="694" y="650"/>
                  </a:lnTo>
                  <a:lnTo>
                    <a:pt x="696" y="654"/>
                  </a:lnTo>
                  <a:lnTo>
                    <a:pt x="698" y="659"/>
                  </a:lnTo>
                  <a:lnTo>
                    <a:pt x="698" y="887"/>
                  </a:lnTo>
                  <a:lnTo>
                    <a:pt x="698" y="887"/>
                  </a:lnTo>
                  <a:lnTo>
                    <a:pt x="696" y="892"/>
                  </a:lnTo>
                  <a:lnTo>
                    <a:pt x="694" y="897"/>
                  </a:lnTo>
                  <a:lnTo>
                    <a:pt x="689" y="898"/>
                  </a:lnTo>
                  <a:lnTo>
                    <a:pt x="685" y="900"/>
                  </a:lnTo>
                  <a:lnTo>
                    <a:pt x="632" y="900"/>
                  </a:lnTo>
                  <a:lnTo>
                    <a:pt x="632" y="900"/>
                  </a:lnTo>
                  <a:lnTo>
                    <a:pt x="629" y="900"/>
                  </a:lnTo>
                  <a:lnTo>
                    <a:pt x="626" y="898"/>
                  </a:lnTo>
                  <a:lnTo>
                    <a:pt x="622" y="895"/>
                  </a:lnTo>
                  <a:lnTo>
                    <a:pt x="621" y="892"/>
                  </a:lnTo>
                  <a:lnTo>
                    <a:pt x="621" y="892"/>
                  </a:lnTo>
                  <a:lnTo>
                    <a:pt x="617" y="887"/>
                  </a:lnTo>
                  <a:lnTo>
                    <a:pt x="613" y="882"/>
                  </a:lnTo>
                  <a:lnTo>
                    <a:pt x="608" y="877"/>
                  </a:lnTo>
                  <a:lnTo>
                    <a:pt x="599" y="877"/>
                  </a:lnTo>
                  <a:lnTo>
                    <a:pt x="599" y="877"/>
                  </a:lnTo>
                  <a:lnTo>
                    <a:pt x="588" y="877"/>
                  </a:lnTo>
                  <a:lnTo>
                    <a:pt x="573" y="880"/>
                  </a:lnTo>
                  <a:lnTo>
                    <a:pt x="534" y="892"/>
                  </a:lnTo>
                  <a:lnTo>
                    <a:pt x="509" y="897"/>
                  </a:lnTo>
                  <a:lnTo>
                    <a:pt x="478" y="902"/>
                  </a:lnTo>
                  <a:lnTo>
                    <a:pt x="444" y="905"/>
                  </a:lnTo>
                  <a:lnTo>
                    <a:pt x="403" y="907"/>
                  </a:lnTo>
                  <a:lnTo>
                    <a:pt x="403" y="907"/>
                  </a:lnTo>
                  <a:lnTo>
                    <a:pt x="380" y="907"/>
                  </a:lnTo>
                  <a:lnTo>
                    <a:pt x="356" y="903"/>
                  </a:lnTo>
                  <a:lnTo>
                    <a:pt x="334" y="902"/>
                  </a:lnTo>
                  <a:lnTo>
                    <a:pt x="311" y="897"/>
                  </a:lnTo>
                  <a:lnTo>
                    <a:pt x="290" y="892"/>
                  </a:lnTo>
                  <a:lnTo>
                    <a:pt x="270" y="885"/>
                  </a:lnTo>
                  <a:lnTo>
                    <a:pt x="249" y="877"/>
                  </a:lnTo>
                  <a:lnTo>
                    <a:pt x="231" y="869"/>
                  </a:lnTo>
                  <a:lnTo>
                    <a:pt x="213" y="859"/>
                  </a:lnTo>
                  <a:lnTo>
                    <a:pt x="195" y="849"/>
                  </a:lnTo>
                  <a:lnTo>
                    <a:pt x="177" y="838"/>
                  </a:lnTo>
                  <a:lnTo>
                    <a:pt x="162" y="826"/>
                  </a:lnTo>
                  <a:lnTo>
                    <a:pt x="146" y="813"/>
                  </a:lnTo>
                  <a:lnTo>
                    <a:pt x="131" y="799"/>
                  </a:lnTo>
                  <a:lnTo>
                    <a:pt x="118" y="784"/>
                  </a:lnTo>
                  <a:lnTo>
                    <a:pt x="105" y="769"/>
                  </a:lnTo>
                  <a:lnTo>
                    <a:pt x="92" y="753"/>
                  </a:lnTo>
                  <a:lnTo>
                    <a:pt x="81" y="736"/>
                  </a:lnTo>
                  <a:lnTo>
                    <a:pt x="59" y="702"/>
                  </a:lnTo>
                  <a:lnTo>
                    <a:pt x="41" y="664"/>
                  </a:lnTo>
                  <a:lnTo>
                    <a:pt x="26" y="625"/>
                  </a:lnTo>
                  <a:lnTo>
                    <a:pt x="15" y="584"/>
                  </a:lnTo>
                  <a:lnTo>
                    <a:pt x="7" y="542"/>
                  </a:lnTo>
                  <a:lnTo>
                    <a:pt x="2" y="499"/>
                  </a:lnTo>
                  <a:lnTo>
                    <a:pt x="0"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6" name="Freeform 20"/>
            <p:cNvSpPr>
              <a:spLocks noEditPoints="1"/>
            </p:cNvSpPr>
            <p:nvPr/>
          </p:nvSpPr>
          <p:spPr bwMode="auto">
            <a:xfrm>
              <a:off x="8051289" y="5957319"/>
              <a:ext cx="137357" cy="129032"/>
            </a:xfrm>
            <a:custGeom>
              <a:avLst/>
              <a:gdLst>
                <a:gd name="T0" fmla="*/ 345 w 461"/>
                <a:gd name="T1" fmla="*/ 187 h 436"/>
                <a:gd name="T2" fmla="*/ 339 w 461"/>
                <a:gd name="T3" fmla="*/ 194 h 436"/>
                <a:gd name="T4" fmla="*/ 291 w 461"/>
                <a:gd name="T5" fmla="*/ 290 h 436"/>
                <a:gd name="T6" fmla="*/ 263 w 461"/>
                <a:gd name="T7" fmla="*/ 179 h 436"/>
                <a:gd name="T8" fmla="*/ 316 w 461"/>
                <a:gd name="T9" fmla="*/ 128 h 436"/>
                <a:gd name="T10" fmla="*/ 325 w 461"/>
                <a:gd name="T11" fmla="*/ 94 h 436"/>
                <a:gd name="T12" fmla="*/ 321 w 461"/>
                <a:gd name="T13" fmla="*/ 64 h 436"/>
                <a:gd name="T14" fmla="*/ 299 w 461"/>
                <a:gd name="T15" fmla="*/ 32 h 436"/>
                <a:gd name="T16" fmla="*/ 257 w 461"/>
                <a:gd name="T17" fmla="*/ 7 h 436"/>
                <a:gd name="T18" fmla="*/ 186 w 461"/>
                <a:gd name="T19" fmla="*/ 2 h 436"/>
                <a:gd name="T20" fmla="*/ 131 w 461"/>
                <a:gd name="T21" fmla="*/ 22 h 436"/>
                <a:gd name="T22" fmla="*/ 98 w 461"/>
                <a:gd name="T23" fmla="*/ 51 h 436"/>
                <a:gd name="T24" fmla="*/ 83 w 461"/>
                <a:gd name="T25" fmla="*/ 97 h 436"/>
                <a:gd name="T26" fmla="*/ 85 w 461"/>
                <a:gd name="T27" fmla="*/ 133 h 436"/>
                <a:gd name="T28" fmla="*/ 111 w 461"/>
                <a:gd name="T29" fmla="*/ 187 h 436"/>
                <a:gd name="T30" fmla="*/ 54 w 461"/>
                <a:gd name="T31" fmla="*/ 217 h 436"/>
                <a:gd name="T32" fmla="*/ 10 w 461"/>
                <a:gd name="T33" fmla="*/ 269 h 436"/>
                <a:gd name="T34" fmla="*/ 0 w 461"/>
                <a:gd name="T35" fmla="*/ 315 h 436"/>
                <a:gd name="T36" fmla="*/ 8 w 461"/>
                <a:gd name="T37" fmla="*/ 354 h 436"/>
                <a:gd name="T38" fmla="*/ 36 w 461"/>
                <a:gd name="T39" fmla="*/ 395 h 436"/>
                <a:gd name="T40" fmla="*/ 80 w 461"/>
                <a:gd name="T41" fmla="*/ 423 h 436"/>
                <a:gd name="T42" fmla="*/ 137 w 461"/>
                <a:gd name="T43" fmla="*/ 434 h 436"/>
                <a:gd name="T44" fmla="*/ 195 w 461"/>
                <a:gd name="T45" fmla="*/ 431 h 436"/>
                <a:gd name="T46" fmla="*/ 255 w 461"/>
                <a:gd name="T47" fmla="*/ 410 h 436"/>
                <a:gd name="T48" fmla="*/ 294 w 461"/>
                <a:gd name="T49" fmla="*/ 416 h 436"/>
                <a:gd name="T50" fmla="*/ 350 w 461"/>
                <a:gd name="T51" fmla="*/ 426 h 436"/>
                <a:gd name="T52" fmla="*/ 401 w 461"/>
                <a:gd name="T53" fmla="*/ 424 h 436"/>
                <a:gd name="T54" fmla="*/ 416 w 461"/>
                <a:gd name="T55" fmla="*/ 388 h 436"/>
                <a:gd name="T56" fmla="*/ 416 w 461"/>
                <a:gd name="T57" fmla="*/ 380 h 436"/>
                <a:gd name="T58" fmla="*/ 389 w 461"/>
                <a:gd name="T59" fmla="*/ 379 h 436"/>
                <a:gd name="T60" fmla="*/ 343 w 461"/>
                <a:gd name="T61" fmla="*/ 362 h 436"/>
                <a:gd name="T62" fmla="*/ 327 w 461"/>
                <a:gd name="T63" fmla="*/ 344 h 436"/>
                <a:gd name="T64" fmla="*/ 375 w 461"/>
                <a:gd name="T65" fmla="*/ 289 h 436"/>
                <a:gd name="T66" fmla="*/ 404 w 461"/>
                <a:gd name="T67" fmla="*/ 243 h 436"/>
                <a:gd name="T68" fmla="*/ 435 w 461"/>
                <a:gd name="T69" fmla="*/ 233 h 436"/>
                <a:gd name="T70" fmla="*/ 445 w 461"/>
                <a:gd name="T71" fmla="*/ 228 h 436"/>
                <a:gd name="T72" fmla="*/ 461 w 461"/>
                <a:gd name="T73" fmla="*/ 190 h 436"/>
                <a:gd name="T74" fmla="*/ 452 w 461"/>
                <a:gd name="T75" fmla="*/ 187 h 436"/>
                <a:gd name="T76" fmla="*/ 226 w 461"/>
                <a:gd name="T77" fmla="*/ 43 h 436"/>
                <a:gd name="T78" fmla="*/ 244 w 461"/>
                <a:gd name="T79" fmla="*/ 68 h 436"/>
                <a:gd name="T80" fmla="*/ 244 w 461"/>
                <a:gd name="T81" fmla="*/ 95 h 436"/>
                <a:gd name="T82" fmla="*/ 226 w 461"/>
                <a:gd name="T83" fmla="*/ 135 h 436"/>
                <a:gd name="T84" fmla="*/ 196 w 461"/>
                <a:gd name="T85" fmla="*/ 158 h 436"/>
                <a:gd name="T86" fmla="*/ 170 w 461"/>
                <a:gd name="T87" fmla="*/ 84 h 436"/>
                <a:gd name="T88" fmla="*/ 175 w 461"/>
                <a:gd name="T89" fmla="*/ 59 h 436"/>
                <a:gd name="T90" fmla="*/ 201 w 461"/>
                <a:gd name="T91" fmla="*/ 40 h 436"/>
                <a:gd name="T92" fmla="*/ 167 w 461"/>
                <a:gd name="T93" fmla="*/ 388 h 436"/>
                <a:gd name="T94" fmla="*/ 113 w 461"/>
                <a:gd name="T95" fmla="*/ 367 h 436"/>
                <a:gd name="T96" fmla="*/ 91 w 461"/>
                <a:gd name="T97" fmla="*/ 310 h 436"/>
                <a:gd name="T98" fmla="*/ 100 w 461"/>
                <a:gd name="T99" fmla="*/ 275 h 436"/>
                <a:gd name="T100" fmla="*/ 127 w 461"/>
                <a:gd name="T101" fmla="*/ 235 h 436"/>
                <a:gd name="T102" fmla="*/ 217 w 461"/>
                <a:gd name="T103" fmla="*/ 369 h 436"/>
                <a:gd name="T104" fmla="*/ 177 w 461"/>
                <a:gd name="T105" fmla="*/ 38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1" h="436">
                  <a:moveTo>
                    <a:pt x="452" y="187"/>
                  </a:moveTo>
                  <a:lnTo>
                    <a:pt x="350" y="187"/>
                  </a:lnTo>
                  <a:lnTo>
                    <a:pt x="350" y="187"/>
                  </a:lnTo>
                  <a:lnTo>
                    <a:pt x="345" y="187"/>
                  </a:lnTo>
                  <a:lnTo>
                    <a:pt x="340" y="189"/>
                  </a:lnTo>
                  <a:lnTo>
                    <a:pt x="339" y="190"/>
                  </a:lnTo>
                  <a:lnTo>
                    <a:pt x="339" y="194"/>
                  </a:lnTo>
                  <a:lnTo>
                    <a:pt x="339" y="194"/>
                  </a:lnTo>
                  <a:lnTo>
                    <a:pt x="330" y="218"/>
                  </a:lnTo>
                  <a:lnTo>
                    <a:pt x="321" y="241"/>
                  </a:lnTo>
                  <a:lnTo>
                    <a:pt x="307" y="266"/>
                  </a:lnTo>
                  <a:lnTo>
                    <a:pt x="291" y="290"/>
                  </a:lnTo>
                  <a:lnTo>
                    <a:pt x="229" y="197"/>
                  </a:lnTo>
                  <a:lnTo>
                    <a:pt x="229" y="197"/>
                  </a:lnTo>
                  <a:lnTo>
                    <a:pt x="245" y="189"/>
                  </a:lnTo>
                  <a:lnTo>
                    <a:pt x="263" y="179"/>
                  </a:lnTo>
                  <a:lnTo>
                    <a:pt x="280" y="169"/>
                  </a:lnTo>
                  <a:lnTo>
                    <a:pt x="294" y="156"/>
                  </a:lnTo>
                  <a:lnTo>
                    <a:pt x="306" y="143"/>
                  </a:lnTo>
                  <a:lnTo>
                    <a:pt x="316" y="128"/>
                  </a:lnTo>
                  <a:lnTo>
                    <a:pt x="321" y="122"/>
                  </a:lnTo>
                  <a:lnTo>
                    <a:pt x="322" y="112"/>
                  </a:lnTo>
                  <a:lnTo>
                    <a:pt x="324" y="104"/>
                  </a:lnTo>
                  <a:lnTo>
                    <a:pt x="325" y="94"/>
                  </a:lnTo>
                  <a:lnTo>
                    <a:pt x="325" y="94"/>
                  </a:lnTo>
                  <a:lnTo>
                    <a:pt x="324" y="84"/>
                  </a:lnTo>
                  <a:lnTo>
                    <a:pt x="322" y="74"/>
                  </a:lnTo>
                  <a:lnTo>
                    <a:pt x="321" y="64"/>
                  </a:lnTo>
                  <a:lnTo>
                    <a:pt x="317" y="56"/>
                  </a:lnTo>
                  <a:lnTo>
                    <a:pt x="312" y="46"/>
                  </a:lnTo>
                  <a:lnTo>
                    <a:pt x="306" y="40"/>
                  </a:lnTo>
                  <a:lnTo>
                    <a:pt x="299" y="32"/>
                  </a:lnTo>
                  <a:lnTo>
                    <a:pt x="293" y="25"/>
                  </a:lnTo>
                  <a:lnTo>
                    <a:pt x="285" y="20"/>
                  </a:lnTo>
                  <a:lnTo>
                    <a:pt x="276" y="15"/>
                  </a:lnTo>
                  <a:lnTo>
                    <a:pt x="257" y="7"/>
                  </a:lnTo>
                  <a:lnTo>
                    <a:pt x="235" y="2"/>
                  </a:lnTo>
                  <a:lnTo>
                    <a:pt x="211" y="0"/>
                  </a:lnTo>
                  <a:lnTo>
                    <a:pt x="211" y="0"/>
                  </a:lnTo>
                  <a:lnTo>
                    <a:pt x="186" y="2"/>
                  </a:lnTo>
                  <a:lnTo>
                    <a:pt x="163" y="7"/>
                  </a:lnTo>
                  <a:lnTo>
                    <a:pt x="152" y="10"/>
                  </a:lnTo>
                  <a:lnTo>
                    <a:pt x="141" y="15"/>
                  </a:lnTo>
                  <a:lnTo>
                    <a:pt x="131" y="22"/>
                  </a:lnTo>
                  <a:lnTo>
                    <a:pt x="123" y="28"/>
                  </a:lnTo>
                  <a:lnTo>
                    <a:pt x="113" y="35"/>
                  </a:lnTo>
                  <a:lnTo>
                    <a:pt x="106" y="43"/>
                  </a:lnTo>
                  <a:lnTo>
                    <a:pt x="98" y="51"/>
                  </a:lnTo>
                  <a:lnTo>
                    <a:pt x="93" y="61"/>
                  </a:lnTo>
                  <a:lnTo>
                    <a:pt x="88" y="72"/>
                  </a:lnTo>
                  <a:lnTo>
                    <a:pt x="85" y="84"/>
                  </a:lnTo>
                  <a:lnTo>
                    <a:pt x="83" y="97"/>
                  </a:lnTo>
                  <a:lnTo>
                    <a:pt x="82" y="110"/>
                  </a:lnTo>
                  <a:lnTo>
                    <a:pt x="82" y="110"/>
                  </a:lnTo>
                  <a:lnTo>
                    <a:pt x="83" y="122"/>
                  </a:lnTo>
                  <a:lnTo>
                    <a:pt x="85" y="133"/>
                  </a:lnTo>
                  <a:lnTo>
                    <a:pt x="86" y="143"/>
                  </a:lnTo>
                  <a:lnTo>
                    <a:pt x="91" y="153"/>
                  </a:lnTo>
                  <a:lnTo>
                    <a:pt x="100" y="171"/>
                  </a:lnTo>
                  <a:lnTo>
                    <a:pt x="111" y="187"/>
                  </a:lnTo>
                  <a:lnTo>
                    <a:pt x="111" y="187"/>
                  </a:lnTo>
                  <a:lnTo>
                    <a:pt x="91" y="194"/>
                  </a:lnTo>
                  <a:lnTo>
                    <a:pt x="72" y="203"/>
                  </a:lnTo>
                  <a:lnTo>
                    <a:pt x="54" y="217"/>
                  </a:lnTo>
                  <a:lnTo>
                    <a:pt x="36" y="231"/>
                  </a:lnTo>
                  <a:lnTo>
                    <a:pt x="21" y="249"/>
                  </a:lnTo>
                  <a:lnTo>
                    <a:pt x="14" y="259"/>
                  </a:lnTo>
                  <a:lnTo>
                    <a:pt x="10" y="269"/>
                  </a:lnTo>
                  <a:lnTo>
                    <a:pt x="5" y="279"/>
                  </a:lnTo>
                  <a:lnTo>
                    <a:pt x="1" y="290"/>
                  </a:lnTo>
                  <a:lnTo>
                    <a:pt x="0" y="302"/>
                  </a:lnTo>
                  <a:lnTo>
                    <a:pt x="0" y="315"/>
                  </a:lnTo>
                  <a:lnTo>
                    <a:pt x="0" y="315"/>
                  </a:lnTo>
                  <a:lnTo>
                    <a:pt x="1" y="328"/>
                  </a:lnTo>
                  <a:lnTo>
                    <a:pt x="3" y="341"/>
                  </a:lnTo>
                  <a:lnTo>
                    <a:pt x="8" y="354"/>
                  </a:lnTo>
                  <a:lnTo>
                    <a:pt x="13" y="365"/>
                  </a:lnTo>
                  <a:lnTo>
                    <a:pt x="19" y="377"/>
                  </a:lnTo>
                  <a:lnTo>
                    <a:pt x="28" y="387"/>
                  </a:lnTo>
                  <a:lnTo>
                    <a:pt x="36" y="395"/>
                  </a:lnTo>
                  <a:lnTo>
                    <a:pt x="46" y="403"/>
                  </a:lnTo>
                  <a:lnTo>
                    <a:pt x="57" y="411"/>
                  </a:lnTo>
                  <a:lnTo>
                    <a:pt x="68" y="418"/>
                  </a:lnTo>
                  <a:lnTo>
                    <a:pt x="80" y="423"/>
                  </a:lnTo>
                  <a:lnTo>
                    <a:pt x="95" y="428"/>
                  </a:lnTo>
                  <a:lnTo>
                    <a:pt x="108" y="431"/>
                  </a:lnTo>
                  <a:lnTo>
                    <a:pt x="123" y="433"/>
                  </a:lnTo>
                  <a:lnTo>
                    <a:pt x="137" y="434"/>
                  </a:lnTo>
                  <a:lnTo>
                    <a:pt x="154" y="436"/>
                  </a:lnTo>
                  <a:lnTo>
                    <a:pt x="154" y="436"/>
                  </a:lnTo>
                  <a:lnTo>
                    <a:pt x="180" y="434"/>
                  </a:lnTo>
                  <a:lnTo>
                    <a:pt x="195" y="431"/>
                  </a:lnTo>
                  <a:lnTo>
                    <a:pt x="209" y="428"/>
                  </a:lnTo>
                  <a:lnTo>
                    <a:pt x="226" y="423"/>
                  </a:lnTo>
                  <a:lnTo>
                    <a:pt x="240" y="418"/>
                  </a:lnTo>
                  <a:lnTo>
                    <a:pt x="255" y="410"/>
                  </a:lnTo>
                  <a:lnTo>
                    <a:pt x="270" y="400"/>
                  </a:lnTo>
                  <a:lnTo>
                    <a:pt x="270" y="400"/>
                  </a:lnTo>
                  <a:lnTo>
                    <a:pt x="281" y="410"/>
                  </a:lnTo>
                  <a:lnTo>
                    <a:pt x="294" y="416"/>
                  </a:lnTo>
                  <a:lnTo>
                    <a:pt x="309" y="421"/>
                  </a:lnTo>
                  <a:lnTo>
                    <a:pt x="321" y="424"/>
                  </a:lnTo>
                  <a:lnTo>
                    <a:pt x="342" y="426"/>
                  </a:lnTo>
                  <a:lnTo>
                    <a:pt x="350" y="426"/>
                  </a:lnTo>
                  <a:lnTo>
                    <a:pt x="391" y="426"/>
                  </a:lnTo>
                  <a:lnTo>
                    <a:pt x="391" y="426"/>
                  </a:lnTo>
                  <a:lnTo>
                    <a:pt x="396" y="426"/>
                  </a:lnTo>
                  <a:lnTo>
                    <a:pt x="401" y="424"/>
                  </a:lnTo>
                  <a:lnTo>
                    <a:pt x="402" y="421"/>
                  </a:lnTo>
                  <a:lnTo>
                    <a:pt x="404" y="418"/>
                  </a:lnTo>
                  <a:lnTo>
                    <a:pt x="416" y="388"/>
                  </a:lnTo>
                  <a:lnTo>
                    <a:pt x="416" y="388"/>
                  </a:lnTo>
                  <a:lnTo>
                    <a:pt x="417" y="385"/>
                  </a:lnTo>
                  <a:lnTo>
                    <a:pt x="417" y="382"/>
                  </a:lnTo>
                  <a:lnTo>
                    <a:pt x="416" y="380"/>
                  </a:lnTo>
                  <a:lnTo>
                    <a:pt x="416" y="380"/>
                  </a:lnTo>
                  <a:lnTo>
                    <a:pt x="411" y="379"/>
                  </a:lnTo>
                  <a:lnTo>
                    <a:pt x="407" y="379"/>
                  </a:lnTo>
                  <a:lnTo>
                    <a:pt x="389" y="379"/>
                  </a:lnTo>
                  <a:lnTo>
                    <a:pt x="389" y="379"/>
                  </a:lnTo>
                  <a:lnTo>
                    <a:pt x="375" y="377"/>
                  </a:lnTo>
                  <a:lnTo>
                    <a:pt x="361" y="374"/>
                  </a:lnTo>
                  <a:lnTo>
                    <a:pt x="352" y="367"/>
                  </a:lnTo>
                  <a:lnTo>
                    <a:pt x="343" y="362"/>
                  </a:lnTo>
                  <a:lnTo>
                    <a:pt x="337" y="356"/>
                  </a:lnTo>
                  <a:lnTo>
                    <a:pt x="332" y="351"/>
                  </a:lnTo>
                  <a:lnTo>
                    <a:pt x="327" y="344"/>
                  </a:lnTo>
                  <a:lnTo>
                    <a:pt x="327" y="344"/>
                  </a:lnTo>
                  <a:lnTo>
                    <a:pt x="343" y="328"/>
                  </a:lnTo>
                  <a:lnTo>
                    <a:pt x="355" y="316"/>
                  </a:lnTo>
                  <a:lnTo>
                    <a:pt x="375" y="289"/>
                  </a:lnTo>
                  <a:lnTo>
                    <a:pt x="375" y="289"/>
                  </a:lnTo>
                  <a:lnTo>
                    <a:pt x="391" y="264"/>
                  </a:lnTo>
                  <a:lnTo>
                    <a:pt x="399" y="249"/>
                  </a:lnTo>
                  <a:lnTo>
                    <a:pt x="399" y="249"/>
                  </a:lnTo>
                  <a:lnTo>
                    <a:pt x="404" y="243"/>
                  </a:lnTo>
                  <a:lnTo>
                    <a:pt x="409" y="238"/>
                  </a:lnTo>
                  <a:lnTo>
                    <a:pt x="414" y="235"/>
                  </a:lnTo>
                  <a:lnTo>
                    <a:pt x="420" y="233"/>
                  </a:lnTo>
                  <a:lnTo>
                    <a:pt x="435" y="233"/>
                  </a:lnTo>
                  <a:lnTo>
                    <a:pt x="435" y="233"/>
                  </a:lnTo>
                  <a:lnTo>
                    <a:pt x="438" y="233"/>
                  </a:lnTo>
                  <a:lnTo>
                    <a:pt x="442" y="231"/>
                  </a:lnTo>
                  <a:lnTo>
                    <a:pt x="445" y="228"/>
                  </a:lnTo>
                  <a:lnTo>
                    <a:pt x="447" y="225"/>
                  </a:lnTo>
                  <a:lnTo>
                    <a:pt x="460" y="197"/>
                  </a:lnTo>
                  <a:lnTo>
                    <a:pt x="460" y="197"/>
                  </a:lnTo>
                  <a:lnTo>
                    <a:pt x="461" y="190"/>
                  </a:lnTo>
                  <a:lnTo>
                    <a:pt x="460" y="187"/>
                  </a:lnTo>
                  <a:lnTo>
                    <a:pt x="455" y="187"/>
                  </a:lnTo>
                  <a:lnTo>
                    <a:pt x="452" y="187"/>
                  </a:lnTo>
                  <a:lnTo>
                    <a:pt x="452" y="187"/>
                  </a:lnTo>
                  <a:close/>
                  <a:moveTo>
                    <a:pt x="209" y="40"/>
                  </a:moveTo>
                  <a:lnTo>
                    <a:pt x="209" y="40"/>
                  </a:lnTo>
                  <a:lnTo>
                    <a:pt x="217" y="40"/>
                  </a:lnTo>
                  <a:lnTo>
                    <a:pt x="226" y="43"/>
                  </a:lnTo>
                  <a:lnTo>
                    <a:pt x="232" y="48"/>
                  </a:lnTo>
                  <a:lnTo>
                    <a:pt x="237" y="53"/>
                  </a:lnTo>
                  <a:lnTo>
                    <a:pt x="240" y="59"/>
                  </a:lnTo>
                  <a:lnTo>
                    <a:pt x="244" y="68"/>
                  </a:lnTo>
                  <a:lnTo>
                    <a:pt x="244" y="76"/>
                  </a:lnTo>
                  <a:lnTo>
                    <a:pt x="245" y="84"/>
                  </a:lnTo>
                  <a:lnTo>
                    <a:pt x="245" y="84"/>
                  </a:lnTo>
                  <a:lnTo>
                    <a:pt x="244" y="95"/>
                  </a:lnTo>
                  <a:lnTo>
                    <a:pt x="242" y="107"/>
                  </a:lnTo>
                  <a:lnTo>
                    <a:pt x="239" y="117"/>
                  </a:lnTo>
                  <a:lnTo>
                    <a:pt x="234" y="127"/>
                  </a:lnTo>
                  <a:lnTo>
                    <a:pt x="226" y="135"/>
                  </a:lnTo>
                  <a:lnTo>
                    <a:pt x="217" y="143"/>
                  </a:lnTo>
                  <a:lnTo>
                    <a:pt x="208" y="151"/>
                  </a:lnTo>
                  <a:lnTo>
                    <a:pt x="196" y="158"/>
                  </a:lnTo>
                  <a:lnTo>
                    <a:pt x="196" y="158"/>
                  </a:lnTo>
                  <a:lnTo>
                    <a:pt x="185" y="138"/>
                  </a:lnTo>
                  <a:lnTo>
                    <a:pt x="177" y="122"/>
                  </a:lnTo>
                  <a:lnTo>
                    <a:pt x="172" y="104"/>
                  </a:lnTo>
                  <a:lnTo>
                    <a:pt x="170" y="84"/>
                  </a:lnTo>
                  <a:lnTo>
                    <a:pt x="170" y="84"/>
                  </a:lnTo>
                  <a:lnTo>
                    <a:pt x="170" y="76"/>
                  </a:lnTo>
                  <a:lnTo>
                    <a:pt x="172" y="68"/>
                  </a:lnTo>
                  <a:lnTo>
                    <a:pt x="175" y="59"/>
                  </a:lnTo>
                  <a:lnTo>
                    <a:pt x="180" y="53"/>
                  </a:lnTo>
                  <a:lnTo>
                    <a:pt x="186" y="48"/>
                  </a:lnTo>
                  <a:lnTo>
                    <a:pt x="193" y="43"/>
                  </a:lnTo>
                  <a:lnTo>
                    <a:pt x="201" y="40"/>
                  </a:lnTo>
                  <a:lnTo>
                    <a:pt x="209" y="40"/>
                  </a:lnTo>
                  <a:lnTo>
                    <a:pt x="209" y="40"/>
                  </a:lnTo>
                  <a:close/>
                  <a:moveTo>
                    <a:pt x="167" y="388"/>
                  </a:moveTo>
                  <a:lnTo>
                    <a:pt x="167" y="388"/>
                  </a:lnTo>
                  <a:lnTo>
                    <a:pt x="150" y="387"/>
                  </a:lnTo>
                  <a:lnTo>
                    <a:pt x="136" y="383"/>
                  </a:lnTo>
                  <a:lnTo>
                    <a:pt x="123" y="377"/>
                  </a:lnTo>
                  <a:lnTo>
                    <a:pt x="113" y="367"/>
                  </a:lnTo>
                  <a:lnTo>
                    <a:pt x="103" y="357"/>
                  </a:lnTo>
                  <a:lnTo>
                    <a:pt x="96" y="343"/>
                  </a:lnTo>
                  <a:lnTo>
                    <a:pt x="93" y="328"/>
                  </a:lnTo>
                  <a:lnTo>
                    <a:pt x="91" y="310"/>
                  </a:lnTo>
                  <a:lnTo>
                    <a:pt x="91" y="310"/>
                  </a:lnTo>
                  <a:lnTo>
                    <a:pt x="93" y="298"/>
                  </a:lnTo>
                  <a:lnTo>
                    <a:pt x="95" y="287"/>
                  </a:lnTo>
                  <a:lnTo>
                    <a:pt x="100" y="275"/>
                  </a:lnTo>
                  <a:lnTo>
                    <a:pt x="104" y="264"/>
                  </a:lnTo>
                  <a:lnTo>
                    <a:pt x="111" y="253"/>
                  </a:lnTo>
                  <a:lnTo>
                    <a:pt x="119" y="244"/>
                  </a:lnTo>
                  <a:lnTo>
                    <a:pt x="127" y="235"/>
                  </a:lnTo>
                  <a:lnTo>
                    <a:pt x="137" y="228"/>
                  </a:lnTo>
                  <a:lnTo>
                    <a:pt x="231" y="357"/>
                  </a:lnTo>
                  <a:lnTo>
                    <a:pt x="231" y="357"/>
                  </a:lnTo>
                  <a:lnTo>
                    <a:pt x="217" y="369"/>
                  </a:lnTo>
                  <a:lnTo>
                    <a:pt x="203" y="380"/>
                  </a:lnTo>
                  <a:lnTo>
                    <a:pt x="195" y="383"/>
                  </a:lnTo>
                  <a:lnTo>
                    <a:pt x="186" y="387"/>
                  </a:lnTo>
                  <a:lnTo>
                    <a:pt x="177" y="388"/>
                  </a:lnTo>
                  <a:lnTo>
                    <a:pt x="167" y="388"/>
                  </a:lnTo>
                  <a:lnTo>
                    <a:pt x="167"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sp>
          <p:nvSpPr>
            <p:cNvPr id="17" name="Freeform 21"/>
            <p:cNvSpPr>
              <a:spLocks noEditPoints="1"/>
            </p:cNvSpPr>
            <p:nvPr/>
          </p:nvSpPr>
          <p:spPr bwMode="auto">
            <a:xfrm>
              <a:off x="8136319" y="5909749"/>
              <a:ext cx="269362" cy="266388"/>
            </a:xfrm>
            <a:custGeom>
              <a:avLst/>
              <a:gdLst>
                <a:gd name="T0" fmla="*/ 878 w 905"/>
                <a:gd name="T1" fmla="*/ 818 h 895"/>
                <a:gd name="T2" fmla="*/ 865 w 905"/>
                <a:gd name="T3" fmla="*/ 818 h 895"/>
                <a:gd name="T4" fmla="*/ 845 w 905"/>
                <a:gd name="T5" fmla="*/ 813 h 895"/>
                <a:gd name="T6" fmla="*/ 830 w 905"/>
                <a:gd name="T7" fmla="*/ 803 h 895"/>
                <a:gd name="T8" fmla="*/ 820 w 905"/>
                <a:gd name="T9" fmla="*/ 787 h 895"/>
                <a:gd name="T10" fmla="*/ 817 w 905"/>
                <a:gd name="T11" fmla="*/ 776 h 895"/>
                <a:gd name="T12" fmla="*/ 549 w 905"/>
                <a:gd name="T13" fmla="*/ 11 h 895"/>
                <a:gd name="T14" fmla="*/ 542 w 905"/>
                <a:gd name="T15" fmla="*/ 3 h 895"/>
                <a:gd name="T16" fmla="*/ 532 w 905"/>
                <a:gd name="T17" fmla="*/ 0 h 895"/>
                <a:gd name="T18" fmla="*/ 429 w 905"/>
                <a:gd name="T19" fmla="*/ 0 h 895"/>
                <a:gd name="T20" fmla="*/ 419 w 905"/>
                <a:gd name="T21" fmla="*/ 3 h 895"/>
                <a:gd name="T22" fmla="*/ 413 w 905"/>
                <a:gd name="T23" fmla="*/ 11 h 895"/>
                <a:gd name="T24" fmla="*/ 92 w 905"/>
                <a:gd name="T25" fmla="*/ 779 h 895"/>
                <a:gd name="T26" fmla="*/ 80 w 905"/>
                <a:gd name="T27" fmla="*/ 798 h 895"/>
                <a:gd name="T28" fmla="*/ 64 w 905"/>
                <a:gd name="T29" fmla="*/ 812 h 895"/>
                <a:gd name="T30" fmla="*/ 51 w 905"/>
                <a:gd name="T31" fmla="*/ 816 h 895"/>
                <a:gd name="T32" fmla="*/ 21 w 905"/>
                <a:gd name="T33" fmla="*/ 818 h 895"/>
                <a:gd name="T34" fmla="*/ 13 w 905"/>
                <a:gd name="T35" fmla="*/ 818 h 895"/>
                <a:gd name="T36" fmla="*/ 3 w 905"/>
                <a:gd name="T37" fmla="*/ 823 h 895"/>
                <a:gd name="T38" fmla="*/ 0 w 905"/>
                <a:gd name="T39" fmla="*/ 831 h 895"/>
                <a:gd name="T40" fmla="*/ 0 w 905"/>
                <a:gd name="T41" fmla="*/ 882 h 895"/>
                <a:gd name="T42" fmla="*/ 3 w 905"/>
                <a:gd name="T43" fmla="*/ 892 h 895"/>
                <a:gd name="T44" fmla="*/ 13 w 905"/>
                <a:gd name="T45" fmla="*/ 895 h 895"/>
                <a:gd name="T46" fmla="*/ 264 w 905"/>
                <a:gd name="T47" fmla="*/ 895 h 895"/>
                <a:gd name="T48" fmla="*/ 274 w 905"/>
                <a:gd name="T49" fmla="*/ 890 h 895"/>
                <a:gd name="T50" fmla="*/ 277 w 905"/>
                <a:gd name="T51" fmla="*/ 882 h 895"/>
                <a:gd name="T52" fmla="*/ 277 w 905"/>
                <a:gd name="T53" fmla="*/ 831 h 895"/>
                <a:gd name="T54" fmla="*/ 274 w 905"/>
                <a:gd name="T55" fmla="*/ 821 h 895"/>
                <a:gd name="T56" fmla="*/ 264 w 905"/>
                <a:gd name="T57" fmla="*/ 818 h 895"/>
                <a:gd name="T58" fmla="*/ 236 w 905"/>
                <a:gd name="T59" fmla="*/ 818 h 895"/>
                <a:gd name="T60" fmla="*/ 211 w 905"/>
                <a:gd name="T61" fmla="*/ 816 h 895"/>
                <a:gd name="T62" fmla="*/ 198 w 905"/>
                <a:gd name="T63" fmla="*/ 812 h 895"/>
                <a:gd name="T64" fmla="*/ 190 w 905"/>
                <a:gd name="T65" fmla="*/ 800 h 895"/>
                <a:gd name="T66" fmla="*/ 188 w 905"/>
                <a:gd name="T67" fmla="*/ 792 h 895"/>
                <a:gd name="T68" fmla="*/ 197 w 905"/>
                <a:gd name="T69" fmla="*/ 762 h 895"/>
                <a:gd name="T70" fmla="*/ 537 w 905"/>
                <a:gd name="T71" fmla="*/ 641 h 895"/>
                <a:gd name="T72" fmla="*/ 560 w 905"/>
                <a:gd name="T73" fmla="*/ 710 h 895"/>
                <a:gd name="T74" fmla="*/ 573 w 905"/>
                <a:gd name="T75" fmla="*/ 749 h 895"/>
                <a:gd name="T76" fmla="*/ 583 w 905"/>
                <a:gd name="T77" fmla="*/ 782 h 895"/>
                <a:gd name="T78" fmla="*/ 585 w 905"/>
                <a:gd name="T79" fmla="*/ 795 h 895"/>
                <a:gd name="T80" fmla="*/ 583 w 905"/>
                <a:gd name="T81" fmla="*/ 803 h 895"/>
                <a:gd name="T82" fmla="*/ 578 w 905"/>
                <a:gd name="T83" fmla="*/ 810 h 895"/>
                <a:gd name="T84" fmla="*/ 568 w 905"/>
                <a:gd name="T85" fmla="*/ 816 h 895"/>
                <a:gd name="T86" fmla="*/ 553 w 905"/>
                <a:gd name="T87" fmla="*/ 818 h 895"/>
                <a:gd name="T88" fmla="*/ 524 w 905"/>
                <a:gd name="T89" fmla="*/ 818 h 895"/>
                <a:gd name="T90" fmla="*/ 514 w 905"/>
                <a:gd name="T91" fmla="*/ 823 h 895"/>
                <a:gd name="T92" fmla="*/ 511 w 905"/>
                <a:gd name="T93" fmla="*/ 831 h 895"/>
                <a:gd name="T94" fmla="*/ 511 w 905"/>
                <a:gd name="T95" fmla="*/ 882 h 895"/>
                <a:gd name="T96" fmla="*/ 514 w 905"/>
                <a:gd name="T97" fmla="*/ 890 h 895"/>
                <a:gd name="T98" fmla="*/ 524 w 905"/>
                <a:gd name="T99" fmla="*/ 895 h 895"/>
                <a:gd name="T100" fmla="*/ 892 w 905"/>
                <a:gd name="T101" fmla="*/ 895 h 895"/>
                <a:gd name="T102" fmla="*/ 902 w 905"/>
                <a:gd name="T103" fmla="*/ 892 h 895"/>
                <a:gd name="T104" fmla="*/ 905 w 905"/>
                <a:gd name="T105" fmla="*/ 882 h 895"/>
                <a:gd name="T106" fmla="*/ 905 w 905"/>
                <a:gd name="T107" fmla="*/ 831 h 895"/>
                <a:gd name="T108" fmla="*/ 902 w 905"/>
                <a:gd name="T109" fmla="*/ 823 h 895"/>
                <a:gd name="T110" fmla="*/ 892 w 905"/>
                <a:gd name="T111" fmla="*/ 818 h 895"/>
                <a:gd name="T112" fmla="*/ 272 w 905"/>
                <a:gd name="T113" fmla="*/ 573 h 895"/>
                <a:gd name="T114" fmla="*/ 517 w 905"/>
                <a:gd name="T115" fmla="*/ 573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95">
                  <a:moveTo>
                    <a:pt x="892" y="818"/>
                  </a:moveTo>
                  <a:lnTo>
                    <a:pt x="878" y="818"/>
                  </a:lnTo>
                  <a:lnTo>
                    <a:pt x="878" y="818"/>
                  </a:lnTo>
                  <a:lnTo>
                    <a:pt x="865" y="818"/>
                  </a:lnTo>
                  <a:lnTo>
                    <a:pt x="853" y="816"/>
                  </a:lnTo>
                  <a:lnTo>
                    <a:pt x="845" y="813"/>
                  </a:lnTo>
                  <a:lnTo>
                    <a:pt x="837" y="810"/>
                  </a:lnTo>
                  <a:lnTo>
                    <a:pt x="830" y="803"/>
                  </a:lnTo>
                  <a:lnTo>
                    <a:pt x="825" y="795"/>
                  </a:lnTo>
                  <a:lnTo>
                    <a:pt x="820" y="787"/>
                  </a:lnTo>
                  <a:lnTo>
                    <a:pt x="817" y="776"/>
                  </a:lnTo>
                  <a:lnTo>
                    <a:pt x="817" y="776"/>
                  </a:lnTo>
                  <a:lnTo>
                    <a:pt x="549" y="11"/>
                  </a:lnTo>
                  <a:lnTo>
                    <a:pt x="549" y="11"/>
                  </a:lnTo>
                  <a:lnTo>
                    <a:pt x="547" y="6"/>
                  </a:lnTo>
                  <a:lnTo>
                    <a:pt x="542" y="3"/>
                  </a:lnTo>
                  <a:lnTo>
                    <a:pt x="537" y="1"/>
                  </a:lnTo>
                  <a:lnTo>
                    <a:pt x="532" y="0"/>
                  </a:lnTo>
                  <a:lnTo>
                    <a:pt x="429" y="0"/>
                  </a:lnTo>
                  <a:lnTo>
                    <a:pt x="429" y="0"/>
                  </a:lnTo>
                  <a:lnTo>
                    <a:pt x="424" y="1"/>
                  </a:lnTo>
                  <a:lnTo>
                    <a:pt x="419" y="3"/>
                  </a:lnTo>
                  <a:lnTo>
                    <a:pt x="416" y="6"/>
                  </a:lnTo>
                  <a:lnTo>
                    <a:pt x="413" y="11"/>
                  </a:lnTo>
                  <a:lnTo>
                    <a:pt x="92" y="779"/>
                  </a:lnTo>
                  <a:lnTo>
                    <a:pt x="92" y="779"/>
                  </a:lnTo>
                  <a:lnTo>
                    <a:pt x="87" y="790"/>
                  </a:lnTo>
                  <a:lnTo>
                    <a:pt x="80" y="798"/>
                  </a:lnTo>
                  <a:lnTo>
                    <a:pt x="74" y="805"/>
                  </a:lnTo>
                  <a:lnTo>
                    <a:pt x="64" y="812"/>
                  </a:lnTo>
                  <a:lnTo>
                    <a:pt x="64" y="812"/>
                  </a:lnTo>
                  <a:lnTo>
                    <a:pt x="51" y="816"/>
                  </a:lnTo>
                  <a:lnTo>
                    <a:pt x="38" y="818"/>
                  </a:lnTo>
                  <a:lnTo>
                    <a:pt x="21" y="818"/>
                  </a:lnTo>
                  <a:lnTo>
                    <a:pt x="13" y="818"/>
                  </a:lnTo>
                  <a:lnTo>
                    <a:pt x="13" y="818"/>
                  </a:lnTo>
                  <a:lnTo>
                    <a:pt x="8" y="820"/>
                  </a:lnTo>
                  <a:lnTo>
                    <a:pt x="3" y="823"/>
                  </a:lnTo>
                  <a:lnTo>
                    <a:pt x="2" y="826"/>
                  </a:lnTo>
                  <a:lnTo>
                    <a:pt x="0" y="831"/>
                  </a:lnTo>
                  <a:lnTo>
                    <a:pt x="0" y="882"/>
                  </a:lnTo>
                  <a:lnTo>
                    <a:pt x="0" y="882"/>
                  </a:lnTo>
                  <a:lnTo>
                    <a:pt x="2" y="887"/>
                  </a:lnTo>
                  <a:lnTo>
                    <a:pt x="3" y="892"/>
                  </a:lnTo>
                  <a:lnTo>
                    <a:pt x="8" y="893"/>
                  </a:lnTo>
                  <a:lnTo>
                    <a:pt x="13" y="895"/>
                  </a:lnTo>
                  <a:lnTo>
                    <a:pt x="264" y="895"/>
                  </a:lnTo>
                  <a:lnTo>
                    <a:pt x="264" y="895"/>
                  </a:lnTo>
                  <a:lnTo>
                    <a:pt x="269" y="893"/>
                  </a:lnTo>
                  <a:lnTo>
                    <a:pt x="274" y="890"/>
                  </a:lnTo>
                  <a:lnTo>
                    <a:pt x="275" y="887"/>
                  </a:lnTo>
                  <a:lnTo>
                    <a:pt x="277" y="882"/>
                  </a:lnTo>
                  <a:lnTo>
                    <a:pt x="277" y="831"/>
                  </a:lnTo>
                  <a:lnTo>
                    <a:pt x="277" y="831"/>
                  </a:lnTo>
                  <a:lnTo>
                    <a:pt x="275" y="826"/>
                  </a:lnTo>
                  <a:lnTo>
                    <a:pt x="274" y="821"/>
                  </a:lnTo>
                  <a:lnTo>
                    <a:pt x="269" y="820"/>
                  </a:lnTo>
                  <a:lnTo>
                    <a:pt x="264" y="818"/>
                  </a:lnTo>
                  <a:lnTo>
                    <a:pt x="236" y="818"/>
                  </a:lnTo>
                  <a:lnTo>
                    <a:pt x="236" y="818"/>
                  </a:lnTo>
                  <a:lnTo>
                    <a:pt x="218" y="818"/>
                  </a:lnTo>
                  <a:lnTo>
                    <a:pt x="211" y="816"/>
                  </a:lnTo>
                  <a:lnTo>
                    <a:pt x="203" y="815"/>
                  </a:lnTo>
                  <a:lnTo>
                    <a:pt x="198" y="812"/>
                  </a:lnTo>
                  <a:lnTo>
                    <a:pt x="193" y="807"/>
                  </a:lnTo>
                  <a:lnTo>
                    <a:pt x="190" y="800"/>
                  </a:lnTo>
                  <a:lnTo>
                    <a:pt x="188" y="792"/>
                  </a:lnTo>
                  <a:lnTo>
                    <a:pt x="188" y="792"/>
                  </a:lnTo>
                  <a:lnTo>
                    <a:pt x="190" y="779"/>
                  </a:lnTo>
                  <a:lnTo>
                    <a:pt x="197" y="762"/>
                  </a:lnTo>
                  <a:lnTo>
                    <a:pt x="246" y="641"/>
                  </a:lnTo>
                  <a:lnTo>
                    <a:pt x="537" y="641"/>
                  </a:lnTo>
                  <a:lnTo>
                    <a:pt x="537" y="641"/>
                  </a:lnTo>
                  <a:lnTo>
                    <a:pt x="560" y="710"/>
                  </a:lnTo>
                  <a:lnTo>
                    <a:pt x="573" y="749"/>
                  </a:lnTo>
                  <a:lnTo>
                    <a:pt x="573" y="749"/>
                  </a:lnTo>
                  <a:lnTo>
                    <a:pt x="583" y="782"/>
                  </a:lnTo>
                  <a:lnTo>
                    <a:pt x="583" y="782"/>
                  </a:lnTo>
                  <a:lnTo>
                    <a:pt x="583" y="789"/>
                  </a:lnTo>
                  <a:lnTo>
                    <a:pt x="585" y="795"/>
                  </a:lnTo>
                  <a:lnTo>
                    <a:pt x="585" y="795"/>
                  </a:lnTo>
                  <a:lnTo>
                    <a:pt x="583" y="803"/>
                  </a:lnTo>
                  <a:lnTo>
                    <a:pt x="581" y="807"/>
                  </a:lnTo>
                  <a:lnTo>
                    <a:pt x="578" y="810"/>
                  </a:lnTo>
                  <a:lnTo>
                    <a:pt x="575" y="813"/>
                  </a:lnTo>
                  <a:lnTo>
                    <a:pt x="568" y="816"/>
                  </a:lnTo>
                  <a:lnTo>
                    <a:pt x="562" y="818"/>
                  </a:lnTo>
                  <a:lnTo>
                    <a:pt x="553" y="818"/>
                  </a:lnTo>
                  <a:lnTo>
                    <a:pt x="524" y="818"/>
                  </a:lnTo>
                  <a:lnTo>
                    <a:pt x="524" y="818"/>
                  </a:lnTo>
                  <a:lnTo>
                    <a:pt x="517" y="820"/>
                  </a:lnTo>
                  <a:lnTo>
                    <a:pt x="514" y="823"/>
                  </a:lnTo>
                  <a:lnTo>
                    <a:pt x="511" y="826"/>
                  </a:lnTo>
                  <a:lnTo>
                    <a:pt x="511" y="831"/>
                  </a:lnTo>
                  <a:lnTo>
                    <a:pt x="511" y="882"/>
                  </a:lnTo>
                  <a:lnTo>
                    <a:pt x="511" y="882"/>
                  </a:lnTo>
                  <a:lnTo>
                    <a:pt x="511" y="887"/>
                  </a:lnTo>
                  <a:lnTo>
                    <a:pt x="514" y="890"/>
                  </a:lnTo>
                  <a:lnTo>
                    <a:pt x="517" y="893"/>
                  </a:lnTo>
                  <a:lnTo>
                    <a:pt x="524" y="895"/>
                  </a:lnTo>
                  <a:lnTo>
                    <a:pt x="892" y="895"/>
                  </a:lnTo>
                  <a:lnTo>
                    <a:pt x="892" y="895"/>
                  </a:lnTo>
                  <a:lnTo>
                    <a:pt x="897" y="893"/>
                  </a:lnTo>
                  <a:lnTo>
                    <a:pt x="902" y="892"/>
                  </a:lnTo>
                  <a:lnTo>
                    <a:pt x="905" y="887"/>
                  </a:lnTo>
                  <a:lnTo>
                    <a:pt x="905" y="882"/>
                  </a:lnTo>
                  <a:lnTo>
                    <a:pt x="905" y="831"/>
                  </a:lnTo>
                  <a:lnTo>
                    <a:pt x="905" y="831"/>
                  </a:lnTo>
                  <a:lnTo>
                    <a:pt x="905" y="826"/>
                  </a:lnTo>
                  <a:lnTo>
                    <a:pt x="902" y="823"/>
                  </a:lnTo>
                  <a:lnTo>
                    <a:pt x="897" y="820"/>
                  </a:lnTo>
                  <a:lnTo>
                    <a:pt x="892" y="818"/>
                  </a:lnTo>
                  <a:lnTo>
                    <a:pt x="892" y="818"/>
                  </a:lnTo>
                  <a:close/>
                  <a:moveTo>
                    <a:pt x="272" y="573"/>
                  </a:moveTo>
                  <a:lnTo>
                    <a:pt x="413" y="226"/>
                  </a:lnTo>
                  <a:lnTo>
                    <a:pt x="517" y="573"/>
                  </a:lnTo>
                  <a:lnTo>
                    <a:pt x="272" y="5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1904"/>
            </a:p>
          </p:txBody>
        </p:sp>
      </p:grpSp>
      <p:sp>
        <p:nvSpPr>
          <p:cNvPr id="4" name="Datumsplatzhalter 3"/>
          <p:cNvSpPr>
            <a:spLocks noGrp="1"/>
          </p:cNvSpPr>
          <p:nvPr>
            <p:ph type="dt" sz="half" idx="14"/>
          </p:nvPr>
        </p:nvSpPr>
        <p:spPr>
          <a:xfrm>
            <a:off x="747184" y="6597536"/>
            <a:ext cx="1057790" cy="139590"/>
          </a:xfrm>
        </p:spPr>
        <p:txBody>
          <a:bodyPr/>
          <a:lstStyle/>
          <a:p>
            <a:fld id="{E3BDED9A-B086-4E73-ABA8-EF8BF3D09BFD}" type="datetime4">
              <a:rPr lang="en-GB" smtClean="0"/>
              <a:t>15 February 2024</a:t>
            </a:fld>
            <a:endParaRPr lang="en-GB"/>
          </a:p>
        </p:txBody>
      </p:sp>
      <p:cxnSp>
        <p:nvCxnSpPr>
          <p:cNvPr id="19" name="Gerade Verbindung 18"/>
          <p:cNvCxnSpPr/>
          <p:nvPr userDrawn="1"/>
        </p:nvCxnSpPr>
        <p:spPr>
          <a:xfrm>
            <a:off x="632870" y="6617659"/>
            <a:ext cx="0" cy="993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Foliennummernplatzhalter 5"/>
          <p:cNvSpPr txBox="1">
            <a:spLocks/>
          </p:cNvSpPr>
          <p:nvPr userDrawn="1"/>
        </p:nvSpPr>
        <p:spPr>
          <a:xfrm>
            <a:off x="331601" y="6597536"/>
            <a:ext cx="210955" cy="139590"/>
          </a:xfrm>
          <a:prstGeom prst="rect">
            <a:avLst/>
          </a:prstGeom>
        </p:spPr>
        <p:txBody>
          <a:bodyPr vert="horz" wrap="none" lIns="0" tIns="0" rIns="0" bIns="0" rtlCol="0" anchor="ctr" anchorCtr="0">
            <a:spAutoFit/>
          </a:bodyPr>
          <a:lstStyle>
            <a:defPPr>
              <a:defRPr lang="de-DE"/>
            </a:defPPr>
            <a:lvl1pPr marL="0" algn="l" defTabSz="1043056" rtl="0" eaLnBrk="1" latinLnBrk="0" hangingPunct="1">
              <a:defRPr lang="de-AT" sz="1000" b="0" kern="1200" spc="190" baseline="0" smtClean="0">
                <a:solidFill>
                  <a:schemeClr val="tx1"/>
                </a:solidFill>
                <a:latin typeface="CA Sans" pitchFamily="50" charset="0"/>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fld id="{30272582-AA89-4A5B-9BA7-B311A460C225}" type="slidenum">
              <a:rPr lang="en-GB" sz="907" smtClean="0"/>
              <a:pPr algn="r"/>
              <a:t>‹#›</a:t>
            </a:fld>
            <a:endParaRPr lang="en-GB" sz="907"/>
          </a:p>
        </p:txBody>
      </p:sp>
      <p:sp>
        <p:nvSpPr>
          <p:cNvPr id="6" name="Textplatzhalter 5"/>
          <p:cNvSpPr>
            <a:spLocks noGrp="1"/>
          </p:cNvSpPr>
          <p:nvPr>
            <p:ph type="body" sz="quarter" idx="23" hasCustomPrompt="1"/>
          </p:nvPr>
        </p:nvSpPr>
        <p:spPr>
          <a:xfrm>
            <a:off x="266067" y="1852368"/>
            <a:ext cx="11659867" cy="946899"/>
          </a:xfrm>
          <a:solidFill>
            <a:schemeClr val="accent1"/>
          </a:solidFill>
        </p:spPr>
        <p:txBody>
          <a:bodyPr vert="horz" wrap="square" lIns="108000" tIns="0" rIns="108000" bIns="0" rtlCol="0" anchor="ctr" anchorCtr="0">
            <a:noAutofit/>
          </a:bodyPr>
          <a:lstStyle>
            <a:lvl1pPr marL="0" indent="0" algn="ctr">
              <a:buNone/>
              <a:defRPr lang="de-AT" dirty="0">
                <a:solidFill>
                  <a:schemeClr val="bg1"/>
                </a:solidFill>
              </a:defRPr>
            </a:lvl1pPr>
          </a:lstStyle>
          <a:p>
            <a:pPr lvl="0" algn="ctr"/>
            <a:r>
              <a:rPr lang="en-GB"/>
              <a:t>1</a:t>
            </a:r>
          </a:p>
        </p:txBody>
      </p:sp>
      <p:sp>
        <p:nvSpPr>
          <p:cNvPr id="27" name="Textplatzhalter 5"/>
          <p:cNvSpPr>
            <a:spLocks noGrp="1"/>
          </p:cNvSpPr>
          <p:nvPr>
            <p:ph type="body" sz="quarter" idx="24" hasCustomPrompt="1"/>
          </p:nvPr>
        </p:nvSpPr>
        <p:spPr>
          <a:xfrm>
            <a:off x="266067" y="2943227"/>
            <a:ext cx="11659867" cy="946899"/>
          </a:xfrm>
          <a:solidFill>
            <a:schemeClr val="accent3"/>
          </a:solidFill>
        </p:spPr>
        <p:txBody>
          <a:bodyPr vert="horz" wrap="square" lIns="108000" tIns="0" rIns="108000" bIns="0" rtlCol="0" anchor="ctr" anchorCtr="0">
            <a:noAutofit/>
          </a:bodyPr>
          <a:lstStyle>
            <a:lvl1pPr marL="0" indent="0" algn="ctr">
              <a:buNone/>
              <a:defRPr lang="de-AT" dirty="0">
                <a:solidFill>
                  <a:schemeClr val="bg1"/>
                </a:solidFill>
              </a:defRPr>
            </a:lvl1pPr>
          </a:lstStyle>
          <a:p>
            <a:pPr lvl="0" algn="ctr"/>
            <a:r>
              <a:rPr lang="en-GB"/>
              <a:t>2</a:t>
            </a:r>
          </a:p>
        </p:txBody>
      </p:sp>
      <p:sp>
        <p:nvSpPr>
          <p:cNvPr id="28" name="Textplatzhalter 5"/>
          <p:cNvSpPr>
            <a:spLocks noGrp="1"/>
          </p:cNvSpPr>
          <p:nvPr>
            <p:ph type="body" sz="quarter" idx="25" hasCustomPrompt="1"/>
          </p:nvPr>
        </p:nvSpPr>
        <p:spPr>
          <a:xfrm>
            <a:off x="266067" y="4034085"/>
            <a:ext cx="11659867" cy="946899"/>
          </a:xfrm>
          <a:solidFill>
            <a:schemeClr val="bg2"/>
          </a:solidFill>
        </p:spPr>
        <p:txBody>
          <a:bodyPr vert="horz" wrap="square" lIns="108000" tIns="0" rIns="108000" bIns="0" rtlCol="0" anchor="ctr" anchorCtr="0">
            <a:noAutofit/>
          </a:bodyPr>
          <a:lstStyle>
            <a:lvl1pPr marL="0" indent="0" algn="ctr">
              <a:buNone/>
              <a:defRPr lang="de-AT" dirty="0">
                <a:solidFill>
                  <a:schemeClr val="bg1"/>
                </a:solidFill>
              </a:defRPr>
            </a:lvl1pPr>
          </a:lstStyle>
          <a:p>
            <a:pPr lvl="0" algn="ctr"/>
            <a:r>
              <a:rPr lang="en-GB"/>
              <a:t>3</a:t>
            </a:r>
          </a:p>
        </p:txBody>
      </p:sp>
      <p:sp>
        <p:nvSpPr>
          <p:cNvPr id="29" name="Textplatzhalter 5"/>
          <p:cNvSpPr>
            <a:spLocks noGrp="1"/>
          </p:cNvSpPr>
          <p:nvPr>
            <p:ph type="body" sz="quarter" idx="26" hasCustomPrompt="1"/>
          </p:nvPr>
        </p:nvSpPr>
        <p:spPr>
          <a:xfrm>
            <a:off x="266067" y="5124944"/>
            <a:ext cx="11659867" cy="946899"/>
          </a:xfrm>
          <a:solidFill>
            <a:schemeClr val="bg1">
              <a:lumMod val="85000"/>
            </a:schemeClr>
          </a:solidFill>
        </p:spPr>
        <p:txBody>
          <a:bodyPr vert="horz" wrap="square" lIns="108000" tIns="0" rIns="108000" bIns="0" rtlCol="0" anchor="ctr" anchorCtr="0">
            <a:noAutofit/>
          </a:bodyPr>
          <a:lstStyle>
            <a:lvl1pPr marL="0" indent="0" algn="ctr">
              <a:buNone/>
              <a:defRPr lang="de-AT" dirty="0">
                <a:solidFill>
                  <a:schemeClr val="bg1"/>
                </a:solidFill>
              </a:defRPr>
            </a:lvl1pPr>
          </a:lstStyle>
          <a:p>
            <a:pPr lvl="0" algn="ctr"/>
            <a:r>
              <a:rPr lang="en-GB"/>
              <a:t>4</a:t>
            </a:r>
          </a:p>
        </p:txBody>
      </p:sp>
    </p:spTree>
    <p:extLst>
      <p:ext uri="{BB962C8B-B14F-4D97-AF65-F5344CB8AC3E}">
        <p14:creationId xmlns:p14="http://schemas.microsoft.com/office/powerpoint/2010/main" val="2542701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DIagramm 1">
    <p:spTree>
      <p:nvGrpSpPr>
        <p:cNvPr id="1" name=""/>
        <p:cNvGrpSpPr/>
        <p:nvPr/>
      </p:nvGrpSpPr>
      <p:grpSpPr>
        <a:xfrm>
          <a:off x="0" y="0"/>
          <a:ext cx="0" cy="0"/>
          <a:chOff x="0" y="0"/>
          <a:chExt cx="0" cy="0"/>
        </a:xfrm>
      </p:grpSpPr>
      <p:sp>
        <p:nvSpPr>
          <p:cNvPr id="714" name="GeoSlab703 Lt BT. 60 pt."/>
          <p:cNvSpPr>
            <a:spLocks noGrp="1"/>
          </p:cNvSpPr>
          <p:nvPr>
            <p:ph type="body" sz="quarter" idx="13"/>
          </p:nvPr>
        </p:nvSpPr>
        <p:spPr>
          <a:xfrm>
            <a:off x="796477" y="947164"/>
            <a:ext cx="9709006" cy="460495"/>
          </a:xfrm>
          <a:prstGeom prst="rect">
            <a:avLst/>
          </a:prstGeom>
        </p:spPr>
        <p:txBody>
          <a:bodyPr lIns="46220" tIns="46220" rIns="46220" bIns="46220" anchor="t">
            <a:spAutoFit/>
          </a:bodyPr>
          <a:lstStyle>
            <a:lvl1pPr marL="0" indent="0" algn="l" defTabSz="165428">
              <a:lnSpc>
                <a:spcPct val="100000"/>
              </a:lnSpc>
              <a:spcBef>
                <a:spcPts val="0"/>
              </a:spcBef>
              <a:buSzTx/>
              <a:buNone/>
              <a:defRPr sz="2386" b="0" cap="all" spc="239">
                <a:latin typeface="GeoSlab703 Md BT"/>
                <a:ea typeface="GeoSlab703 Md BT"/>
                <a:cs typeface="GeoSlab703 Md BT"/>
                <a:sym typeface="GeoSlab703 Md BT"/>
              </a:defRPr>
            </a:lvl1pPr>
          </a:lstStyle>
          <a:p>
            <a:r>
              <a:t>GeoSlab703 Lt BT. 60 pt.</a:t>
            </a:r>
          </a:p>
        </p:txBody>
      </p:sp>
      <p:sp>
        <p:nvSpPr>
          <p:cNvPr id="715" name="Skyline. Typo: GeoSlab703 Lt BT. Punktgröße: 40 pt."/>
          <p:cNvSpPr>
            <a:spLocks noGrp="1"/>
          </p:cNvSpPr>
          <p:nvPr>
            <p:ph type="body" sz="quarter" idx="14"/>
          </p:nvPr>
        </p:nvSpPr>
        <p:spPr>
          <a:xfrm>
            <a:off x="796476" y="592839"/>
            <a:ext cx="7232657" cy="338153"/>
          </a:xfrm>
          <a:prstGeom prst="rect">
            <a:avLst/>
          </a:prstGeom>
        </p:spPr>
        <p:txBody>
          <a:bodyPr lIns="46220" tIns="46220" rIns="46220" bIns="46220" anchor="t">
            <a:spAutoFit/>
          </a:bodyPr>
          <a:lstStyle>
            <a:lvl1pPr marL="0" indent="0" algn="l" defTabSz="165428">
              <a:lnSpc>
                <a:spcPct val="100000"/>
              </a:lnSpc>
              <a:spcBef>
                <a:spcPts val="0"/>
              </a:spcBef>
              <a:buSzTx/>
              <a:buNone/>
              <a:defRPr sz="1591" b="0" cap="all" spc="159">
                <a:latin typeface="GeoSlab703 Lt BT"/>
                <a:ea typeface="GeoSlab703 Lt BT"/>
                <a:cs typeface="GeoSlab703 Lt BT"/>
                <a:sym typeface="GeoSlab703 Lt BT"/>
              </a:defRPr>
            </a:lvl1pPr>
          </a:lstStyle>
          <a:p>
            <a:r>
              <a:t>Skyline. Typo: GeoSlab703 Lt BT. Punktgröße: 40 pt.</a:t>
            </a:r>
          </a:p>
        </p:txBody>
      </p:sp>
      <p:sp>
        <p:nvSpPr>
          <p:cNvPr id="716" name="Foliennummer"/>
          <p:cNvSpPr>
            <a:spLocks noGrp="1"/>
          </p:cNvSpPr>
          <p:nvPr>
            <p:ph type="sldNum" sz="quarter" idx="2"/>
          </p:nvPr>
        </p:nvSpPr>
        <p:spPr>
          <a:xfrm>
            <a:off x="6090222" y="6543453"/>
            <a:ext cx="259863" cy="227995"/>
          </a:xfrm>
          <a:prstGeom prst="rect">
            <a:avLst/>
          </a:prstGeom>
        </p:spPr>
        <p:txBody>
          <a:bodyPr lIns="46220" tIns="46220" rIns="46220" bIns="46220"/>
          <a:lstStyle>
            <a:lvl1pPr algn="l" defTabSz="165428">
              <a:lnSpc>
                <a:spcPct val="100000"/>
              </a:lnSpc>
              <a:defRPr sz="875" b="0" cap="all" spc="87">
                <a:latin typeface="GeoSlab703 Lt BT"/>
                <a:ea typeface="GeoSlab703 Lt BT"/>
                <a:cs typeface="GeoSlab703 Lt BT"/>
                <a:sym typeface="GeoSlab703 Lt BT"/>
              </a:defRPr>
            </a:lvl1pPr>
          </a:lstStyle>
          <a:p>
            <a:fld id="{86CB4B4D-7CA3-9044-876B-883B54F8677D}" type="slidenum">
              <a:t>‹#›</a:t>
            </a:fld>
            <a:endParaRPr/>
          </a:p>
        </p:txBody>
      </p:sp>
    </p:spTree>
    <p:extLst>
      <p:ext uri="{BB962C8B-B14F-4D97-AF65-F5344CB8AC3E}">
        <p14:creationId xmlns:p14="http://schemas.microsoft.com/office/powerpoint/2010/main" val="2034878582"/>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231" name="Grafik 13"/>
          <p:cNvSpPr/>
          <p:nvPr/>
        </p:nvSpPr>
        <p:spPr>
          <a:xfrm>
            <a:off x="11264520" y="6449103"/>
            <a:ext cx="519498" cy="269992"/>
          </a:xfrm>
          <a:custGeom>
            <a:avLst/>
            <a:gdLst/>
            <a:ahLst/>
            <a:cxnLst>
              <a:cxn ang="0">
                <a:pos x="wd2" y="hd2"/>
              </a:cxn>
              <a:cxn ang="5400000">
                <a:pos x="wd2" y="hd2"/>
              </a:cxn>
              <a:cxn ang="10800000">
                <a:pos x="wd2" y="hd2"/>
              </a:cxn>
              <a:cxn ang="16200000">
                <a:pos x="wd2" y="hd2"/>
              </a:cxn>
            </a:cxnLst>
            <a:rect l="0" t="0" r="r" b="b"/>
            <a:pathLst>
              <a:path w="21595" h="21600" extrusionOk="0">
                <a:moveTo>
                  <a:pt x="8616" y="15722"/>
                </a:moveTo>
                <a:lnTo>
                  <a:pt x="8616" y="21119"/>
                </a:lnTo>
                <a:cubicBezTo>
                  <a:pt x="8623" y="21278"/>
                  <a:pt x="8561" y="21417"/>
                  <a:pt x="8479" y="21431"/>
                </a:cubicBezTo>
                <a:cubicBezTo>
                  <a:pt x="8471" y="21432"/>
                  <a:pt x="8463" y="21432"/>
                  <a:pt x="8455" y="21431"/>
                </a:cubicBezTo>
                <a:lnTo>
                  <a:pt x="7810" y="21431"/>
                </a:lnTo>
                <a:cubicBezTo>
                  <a:pt x="7742" y="21440"/>
                  <a:pt x="7679" y="21362"/>
                  <a:pt x="7656" y="21238"/>
                </a:cubicBezTo>
                <a:cubicBezTo>
                  <a:pt x="7619" y="21024"/>
                  <a:pt x="7515" y="20880"/>
                  <a:pt x="7398" y="20880"/>
                </a:cubicBezTo>
                <a:cubicBezTo>
                  <a:pt x="7040" y="20880"/>
                  <a:pt x="6404" y="21600"/>
                  <a:pt x="4979" y="21600"/>
                </a:cubicBezTo>
                <a:cubicBezTo>
                  <a:pt x="1756" y="21600"/>
                  <a:pt x="0" y="16465"/>
                  <a:pt x="0" y="10842"/>
                </a:cubicBezTo>
                <a:cubicBezTo>
                  <a:pt x="0" y="4183"/>
                  <a:pt x="2099" y="0"/>
                  <a:pt x="4963" y="0"/>
                </a:cubicBezTo>
                <a:cubicBezTo>
                  <a:pt x="5870" y="0"/>
                  <a:pt x="6377" y="352"/>
                  <a:pt x="6679" y="591"/>
                </a:cubicBezTo>
                <a:cubicBezTo>
                  <a:pt x="6921" y="808"/>
                  <a:pt x="7032" y="945"/>
                  <a:pt x="7191" y="945"/>
                </a:cubicBezTo>
                <a:cubicBezTo>
                  <a:pt x="7410" y="945"/>
                  <a:pt x="7477" y="708"/>
                  <a:pt x="7552" y="391"/>
                </a:cubicBezTo>
                <a:cubicBezTo>
                  <a:pt x="7598" y="206"/>
                  <a:pt x="7628" y="144"/>
                  <a:pt x="7709" y="144"/>
                </a:cubicBezTo>
                <a:lnTo>
                  <a:pt x="8353" y="144"/>
                </a:lnTo>
                <a:cubicBezTo>
                  <a:pt x="8436" y="133"/>
                  <a:pt x="8507" y="253"/>
                  <a:pt x="8513" y="412"/>
                </a:cubicBezTo>
                <a:cubicBezTo>
                  <a:pt x="8514" y="427"/>
                  <a:pt x="8514" y="443"/>
                  <a:pt x="8513" y="458"/>
                </a:cubicBezTo>
                <a:lnTo>
                  <a:pt x="8513" y="5865"/>
                </a:lnTo>
                <a:cubicBezTo>
                  <a:pt x="8520" y="6021"/>
                  <a:pt x="8461" y="6160"/>
                  <a:pt x="8379" y="6174"/>
                </a:cubicBezTo>
                <a:cubicBezTo>
                  <a:pt x="8370" y="6176"/>
                  <a:pt x="8362" y="6176"/>
                  <a:pt x="8353" y="6174"/>
                </a:cubicBezTo>
                <a:lnTo>
                  <a:pt x="7722" y="6174"/>
                </a:lnTo>
                <a:cubicBezTo>
                  <a:pt x="7635" y="6174"/>
                  <a:pt x="7584" y="6109"/>
                  <a:pt x="7560" y="5892"/>
                </a:cubicBezTo>
                <a:cubicBezTo>
                  <a:pt x="7320" y="3352"/>
                  <a:pt x="6849" y="1818"/>
                  <a:pt x="5370" y="1818"/>
                </a:cubicBezTo>
                <a:cubicBezTo>
                  <a:pt x="3505" y="1818"/>
                  <a:pt x="3056" y="7356"/>
                  <a:pt x="3056" y="10092"/>
                </a:cubicBezTo>
                <a:cubicBezTo>
                  <a:pt x="3056" y="14250"/>
                  <a:pt x="3299" y="19807"/>
                  <a:pt x="5448" y="19807"/>
                </a:cubicBezTo>
                <a:cubicBezTo>
                  <a:pt x="7002" y="19807"/>
                  <a:pt x="7464" y="18110"/>
                  <a:pt x="7663" y="15689"/>
                </a:cubicBezTo>
                <a:cubicBezTo>
                  <a:pt x="7668" y="15530"/>
                  <a:pt x="7738" y="15408"/>
                  <a:pt x="7821" y="15416"/>
                </a:cubicBezTo>
                <a:lnTo>
                  <a:pt x="8455" y="15416"/>
                </a:lnTo>
                <a:cubicBezTo>
                  <a:pt x="8539" y="15406"/>
                  <a:pt x="8611" y="15529"/>
                  <a:pt x="8616" y="15690"/>
                </a:cubicBezTo>
                <a:cubicBezTo>
                  <a:pt x="8616" y="15702"/>
                  <a:pt x="8616" y="15715"/>
                  <a:pt x="8616" y="15728"/>
                </a:cubicBezTo>
                <a:moveTo>
                  <a:pt x="21595" y="19936"/>
                </a:moveTo>
                <a:lnTo>
                  <a:pt x="21595" y="21117"/>
                </a:lnTo>
                <a:cubicBezTo>
                  <a:pt x="21600" y="21280"/>
                  <a:pt x="21535" y="21421"/>
                  <a:pt x="21451" y="21431"/>
                </a:cubicBezTo>
                <a:cubicBezTo>
                  <a:pt x="21444" y="21432"/>
                  <a:pt x="21437" y="21432"/>
                  <a:pt x="21431" y="21431"/>
                </a:cubicBezTo>
                <a:lnTo>
                  <a:pt x="16868" y="21431"/>
                </a:lnTo>
                <a:cubicBezTo>
                  <a:pt x="16784" y="21443"/>
                  <a:pt x="16711" y="21322"/>
                  <a:pt x="16705" y="21161"/>
                </a:cubicBezTo>
                <a:cubicBezTo>
                  <a:pt x="16705" y="21148"/>
                  <a:pt x="16705" y="21135"/>
                  <a:pt x="16705" y="21123"/>
                </a:cubicBezTo>
                <a:lnTo>
                  <a:pt x="16705" y="19936"/>
                </a:lnTo>
                <a:cubicBezTo>
                  <a:pt x="16700" y="19773"/>
                  <a:pt x="16765" y="19635"/>
                  <a:pt x="16849" y="19626"/>
                </a:cubicBezTo>
                <a:cubicBezTo>
                  <a:pt x="16856" y="19625"/>
                  <a:pt x="16862" y="19625"/>
                  <a:pt x="16868" y="19626"/>
                </a:cubicBezTo>
                <a:lnTo>
                  <a:pt x="17245" y="19609"/>
                </a:lnTo>
                <a:cubicBezTo>
                  <a:pt x="17540" y="19609"/>
                  <a:pt x="17614" y="19324"/>
                  <a:pt x="17618" y="19064"/>
                </a:cubicBezTo>
                <a:cubicBezTo>
                  <a:pt x="17618" y="18958"/>
                  <a:pt x="17611" y="18851"/>
                  <a:pt x="17597" y="18748"/>
                </a:cubicBezTo>
                <a:cubicBezTo>
                  <a:pt x="17566" y="18516"/>
                  <a:pt x="17472" y="17956"/>
                  <a:pt x="17472" y="17956"/>
                </a:cubicBezTo>
                <a:cubicBezTo>
                  <a:pt x="17472" y="17956"/>
                  <a:pt x="17205" y="16309"/>
                  <a:pt x="17038" y="15410"/>
                </a:cubicBezTo>
                <a:lnTo>
                  <a:pt x="13423" y="15410"/>
                </a:lnTo>
                <a:lnTo>
                  <a:pt x="12823" y="18269"/>
                </a:lnTo>
                <a:cubicBezTo>
                  <a:pt x="12770" y="18494"/>
                  <a:pt x="12739" y="18735"/>
                  <a:pt x="12732" y="18981"/>
                </a:cubicBezTo>
                <a:cubicBezTo>
                  <a:pt x="12732" y="19582"/>
                  <a:pt x="13032" y="19612"/>
                  <a:pt x="13313" y="19622"/>
                </a:cubicBezTo>
                <a:lnTo>
                  <a:pt x="13656" y="19622"/>
                </a:lnTo>
                <a:cubicBezTo>
                  <a:pt x="13739" y="19610"/>
                  <a:pt x="13811" y="19730"/>
                  <a:pt x="13818" y="19890"/>
                </a:cubicBezTo>
                <a:cubicBezTo>
                  <a:pt x="13818" y="19903"/>
                  <a:pt x="13818" y="19917"/>
                  <a:pt x="13818" y="19930"/>
                </a:cubicBezTo>
                <a:lnTo>
                  <a:pt x="13818" y="21113"/>
                </a:lnTo>
                <a:cubicBezTo>
                  <a:pt x="13825" y="21273"/>
                  <a:pt x="13763" y="21413"/>
                  <a:pt x="13680" y="21427"/>
                </a:cubicBezTo>
                <a:cubicBezTo>
                  <a:pt x="13672" y="21428"/>
                  <a:pt x="13664" y="21428"/>
                  <a:pt x="13656" y="21427"/>
                </a:cubicBezTo>
                <a:lnTo>
                  <a:pt x="10563" y="21427"/>
                </a:lnTo>
                <a:cubicBezTo>
                  <a:pt x="10480" y="21439"/>
                  <a:pt x="10408" y="21319"/>
                  <a:pt x="10402" y="21159"/>
                </a:cubicBezTo>
                <a:cubicBezTo>
                  <a:pt x="10401" y="21144"/>
                  <a:pt x="10401" y="21130"/>
                  <a:pt x="10402" y="21115"/>
                </a:cubicBezTo>
                <a:lnTo>
                  <a:pt x="10402" y="19932"/>
                </a:lnTo>
                <a:cubicBezTo>
                  <a:pt x="10395" y="19773"/>
                  <a:pt x="10457" y="19634"/>
                  <a:pt x="10540" y="19622"/>
                </a:cubicBezTo>
                <a:cubicBezTo>
                  <a:pt x="10547" y="19621"/>
                  <a:pt x="10556" y="19621"/>
                  <a:pt x="10563" y="19622"/>
                </a:cubicBezTo>
                <a:lnTo>
                  <a:pt x="10663" y="19622"/>
                </a:lnTo>
                <a:cubicBezTo>
                  <a:pt x="10840" y="19637"/>
                  <a:pt x="11016" y="19584"/>
                  <a:pt x="11181" y="19466"/>
                </a:cubicBezTo>
                <a:cubicBezTo>
                  <a:pt x="11370" y="19274"/>
                  <a:pt x="11442" y="19060"/>
                  <a:pt x="11525" y="18685"/>
                </a:cubicBezTo>
                <a:lnTo>
                  <a:pt x="15496" y="416"/>
                </a:lnTo>
                <a:cubicBezTo>
                  <a:pt x="15527" y="243"/>
                  <a:pt x="15614" y="131"/>
                  <a:pt x="15708" y="144"/>
                </a:cubicBezTo>
                <a:lnTo>
                  <a:pt x="16975" y="144"/>
                </a:lnTo>
                <a:cubicBezTo>
                  <a:pt x="17066" y="137"/>
                  <a:pt x="17148" y="248"/>
                  <a:pt x="17175" y="416"/>
                </a:cubicBezTo>
                <a:cubicBezTo>
                  <a:pt x="17534" y="2397"/>
                  <a:pt x="20485" y="18596"/>
                  <a:pt x="20487" y="18602"/>
                </a:cubicBezTo>
                <a:cubicBezTo>
                  <a:pt x="20629" y="19372"/>
                  <a:pt x="20769" y="19622"/>
                  <a:pt x="21234" y="19624"/>
                </a:cubicBezTo>
                <a:lnTo>
                  <a:pt x="21428" y="19624"/>
                </a:lnTo>
                <a:cubicBezTo>
                  <a:pt x="21512" y="19612"/>
                  <a:pt x="21584" y="19733"/>
                  <a:pt x="21591" y="19894"/>
                </a:cubicBezTo>
                <a:cubicBezTo>
                  <a:pt x="21591" y="19907"/>
                  <a:pt x="21591" y="19920"/>
                  <a:pt x="21591" y="19934"/>
                </a:cubicBezTo>
                <a:moveTo>
                  <a:pt x="16796" y="13779"/>
                </a:moveTo>
                <a:lnTo>
                  <a:pt x="15496" y="5505"/>
                </a:lnTo>
                <a:lnTo>
                  <a:pt x="13768" y="13779"/>
                </a:lnTo>
                <a:close/>
                <a:moveTo>
                  <a:pt x="10668" y="13276"/>
                </a:moveTo>
                <a:cubicBezTo>
                  <a:pt x="10352" y="13724"/>
                  <a:pt x="9967" y="13956"/>
                  <a:pt x="9574" y="13934"/>
                </a:cubicBezTo>
                <a:cubicBezTo>
                  <a:pt x="8774" y="13934"/>
                  <a:pt x="8136" y="13117"/>
                  <a:pt x="8122" y="11731"/>
                </a:cubicBezTo>
                <a:cubicBezTo>
                  <a:pt x="8110" y="10531"/>
                  <a:pt x="8698" y="9688"/>
                  <a:pt x="9178" y="9407"/>
                </a:cubicBezTo>
                <a:cubicBezTo>
                  <a:pt x="9005" y="9017"/>
                  <a:pt x="8906" y="8526"/>
                  <a:pt x="8898" y="8014"/>
                </a:cubicBezTo>
                <a:cubicBezTo>
                  <a:pt x="8898" y="6667"/>
                  <a:pt x="9498" y="6021"/>
                  <a:pt x="10124" y="6021"/>
                </a:cubicBezTo>
                <a:cubicBezTo>
                  <a:pt x="10749" y="6021"/>
                  <a:pt x="11197" y="6682"/>
                  <a:pt x="11197" y="7733"/>
                </a:cubicBezTo>
                <a:cubicBezTo>
                  <a:pt x="11197" y="8649"/>
                  <a:pt x="10720" y="9220"/>
                  <a:pt x="10287" y="9584"/>
                </a:cubicBezTo>
                <a:lnTo>
                  <a:pt x="10886" y="11296"/>
                </a:lnTo>
                <a:cubicBezTo>
                  <a:pt x="11089" y="10766"/>
                  <a:pt x="11238" y="10168"/>
                  <a:pt x="11326" y="9532"/>
                </a:cubicBezTo>
                <a:cubicBezTo>
                  <a:pt x="11332" y="9484"/>
                  <a:pt x="11353" y="9405"/>
                  <a:pt x="11435" y="9405"/>
                </a:cubicBezTo>
                <a:lnTo>
                  <a:pt x="12393" y="9405"/>
                </a:lnTo>
                <a:cubicBezTo>
                  <a:pt x="12447" y="9405"/>
                  <a:pt x="12514" y="9390"/>
                  <a:pt x="12467" y="9611"/>
                </a:cubicBezTo>
                <a:lnTo>
                  <a:pt x="12354" y="10109"/>
                </a:lnTo>
                <a:cubicBezTo>
                  <a:pt x="12336" y="10200"/>
                  <a:pt x="12291" y="10260"/>
                  <a:pt x="12240" y="10257"/>
                </a:cubicBezTo>
                <a:lnTo>
                  <a:pt x="12107" y="10257"/>
                </a:lnTo>
                <a:cubicBezTo>
                  <a:pt x="12007" y="10257"/>
                  <a:pt x="11962" y="10377"/>
                  <a:pt x="11901" y="10559"/>
                </a:cubicBezTo>
                <a:cubicBezTo>
                  <a:pt x="11901" y="10559"/>
                  <a:pt x="11763" y="10994"/>
                  <a:pt x="11666" y="11260"/>
                </a:cubicBezTo>
                <a:cubicBezTo>
                  <a:pt x="11540" y="11634"/>
                  <a:pt x="11393" y="11980"/>
                  <a:pt x="11227" y="12291"/>
                </a:cubicBezTo>
                <a:cubicBezTo>
                  <a:pt x="11357" y="12669"/>
                  <a:pt x="11575" y="12899"/>
                  <a:pt x="11810" y="12905"/>
                </a:cubicBezTo>
                <a:lnTo>
                  <a:pt x="11982" y="12905"/>
                </a:lnTo>
                <a:cubicBezTo>
                  <a:pt x="12011" y="12905"/>
                  <a:pt x="12104" y="12884"/>
                  <a:pt x="12061" y="13097"/>
                </a:cubicBezTo>
                <a:lnTo>
                  <a:pt x="11945" y="13638"/>
                </a:lnTo>
                <a:cubicBezTo>
                  <a:pt x="11931" y="13737"/>
                  <a:pt x="11882" y="13800"/>
                  <a:pt x="11829" y="13786"/>
                </a:cubicBezTo>
                <a:lnTo>
                  <a:pt x="11442" y="13786"/>
                </a:lnTo>
                <a:cubicBezTo>
                  <a:pt x="11442" y="13786"/>
                  <a:pt x="10957" y="13854"/>
                  <a:pt x="10668" y="13276"/>
                </a:cubicBezTo>
                <a:moveTo>
                  <a:pt x="9724" y="7552"/>
                </a:moveTo>
                <a:cubicBezTo>
                  <a:pt x="9724" y="8066"/>
                  <a:pt x="9818" y="8399"/>
                  <a:pt x="9987" y="8872"/>
                </a:cubicBezTo>
                <a:cubicBezTo>
                  <a:pt x="10287" y="8560"/>
                  <a:pt x="10440" y="8125"/>
                  <a:pt x="10440" y="7539"/>
                </a:cubicBezTo>
                <a:cubicBezTo>
                  <a:pt x="10440" y="7135"/>
                  <a:pt x="10340" y="6731"/>
                  <a:pt x="10109" y="6731"/>
                </a:cubicBezTo>
                <a:cubicBezTo>
                  <a:pt x="9862" y="6731"/>
                  <a:pt x="9724" y="7115"/>
                  <a:pt x="9724" y="7552"/>
                </a:cubicBezTo>
                <a:moveTo>
                  <a:pt x="10305" y="12507"/>
                </a:moveTo>
                <a:lnTo>
                  <a:pt x="9421" y="10163"/>
                </a:lnTo>
                <a:cubicBezTo>
                  <a:pt x="9162" y="10499"/>
                  <a:pt x="9004" y="11056"/>
                  <a:pt x="8998" y="11656"/>
                </a:cubicBezTo>
                <a:cubicBezTo>
                  <a:pt x="8998" y="12555"/>
                  <a:pt x="9267" y="13084"/>
                  <a:pt x="9698" y="13084"/>
                </a:cubicBezTo>
                <a:cubicBezTo>
                  <a:pt x="9967" y="13084"/>
                  <a:pt x="10132" y="12836"/>
                  <a:pt x="10305" y="12507"/>
                </a:cubicBezTo>
              </a:path>
            </a:pathLst>
          </a:custGeom>
          <a:solidFill>
            <a:srgbClr val="000000"/>
          </a:solidFill>
          <a:ln w="12700">
            <a:miter lim="400000"/>
          </a:ln>
        </p:spPr>
        <p:txBody>
          <a:bodyPr lIns="36368" rIns="36368" anchor="ctr"/>
          <a:lstStyle/>
          <a:p>
            <a:endParaRPr sz="1671"/>
          </a:p>
        </p:txBody>
      </p:sp>
      <p:sp>
        <p:nvSpPr>
          <p:cNvPr id="232" name="Folien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85904849"/>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9D4C81A-550A-4B72-B4F1-1B0947942912}"/>
              </a:ext>
            </a:extLst>
          </p:cNvPr>
          <p:cNvGraphicFramePr>
            <a:graphicFrameLocks noChangeAspect="1"/>
          </p:cNvGraphicFramePr>
          <p:nvPr userDrawn="1">
            <p:custDataLst>
              <p:tags r:id="rId1"/>
            </p:custDataLst>
          </p:nvPr>
        </p:nvGraphicFramePr>
        <p:xfrm>
          <a:off x="1589" y="1590"/>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79D4C81A-550A-4B72-B4F1-1B0947942912}"/>
                          </a:ext>
                        </a:extLst>
                      </p:cNvPr>
                      <p:cNvPicPr/>
                      <p:nvPr/>
                    </p:nvPicPr>
                    <p:blipFill>
                      <a:blip r:embed="rId4"/>
                      <a:stretch>
                        <a:fillRect/>
                      </a:stretch>
                    </p:blipFill>
                    <p:spPr>
                      <a:xfrm>
                        <a:off x="1589" y="1590"/>
                        <a:ext cx="1588" cy="1588"/>
                      </a:xfrm>
                      <a:prstGeom prst="rect">
                        <a:avLst/>
                      </a:prstGeom>
                    </p:spPr>
                  </p:pic>
                </p:oleObj>
              </mc:Fallback>
            </mc:AlternateContent>
          </a:graphicData>
        </a:graphic>
      </p:graphicFrame>
      <p:cxnSp>
        <p:nvCxnSpPr>
          <p:cNvPr id="20" name="Gerader Verbinder 19">
            <a:extLst>
              <a:ext uri="{FF2B5EF4-FFF2-40B4-BE49-F238E27FC236}">
                <a16:creationId xmlns:a16="http://schemas.microsoft.com/office/drawing/2014/main" id="{62C42893-E2D0-44B8-A569-6C087198145B}"/>
              </a:ext>
            </a:extLst>
          </p:cNvPr>
          <p:cNvCxnSpPr>
            <a:cxnSpLocks/>
          </p:cNvCxnSpPr>
          <p:nvPr userDrawn="1"/>
        </p:nvCxnSpPr>
        <p:spPr>
          <a:xfrm>
            <a:off x="640555" y="6617471"/>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505BE0C2-329C-49CC-8EB6-FA30DC640929}"/>
              </a:ext>
            </a:extLst>
          </p:cNvPr>
          <p:cNvSpPr>
            <a:spLocks noGrp="1"/>
          </p:cNvSpPr>
          <p:nvPr>
            <p:ph type="title" hasCustomPrompt="1"/>
          </p:nvPr>
        </p:nvSpPr>
        <p:spPr/>
        <p:txBody>
          <a:bodyPr vert="horz"/>
          <a:lstStyle>
            <a:lvl1pPr rtl="0">
              <a:defRPr/>
            </a:lvl1pPr>
          </a:lstStyle>
          <a:p>
            <a:r>
              <a:rPr lang="en-GB" noProof="0"/>
              <a:t>Slide Title</a:t>
            </a:r>
          </a:p>
        </p:txBody>
      </p:sp>
      <p:sp>
        <p:nvSpPr>
          <p:cNvPr id="4" name="Textplatzhalter 3">
            <a:extLst>
              <a:ext uri="{FF2B5EF4-FFF2-40B4-BE49-F238E27FC236}">
                <a16:creationId xmlns:a16="http://schemas.microsoft.com/office/drawing/2014/main" id="{813250F8-71C3-4163-9D0B-56F0923E940E}"/>
              </a:ext>
            </a:extLst>
          </p:cNvPr>
          <p:cNvSpPr>
            <a:spLocks noGrp="1"/>
          </p:cNvSpPr>
          <p:nvPr>
            <p:ph type="body" sz="quarter" idx="22" hasCustomPrompt="1"/>
          </p:nvPr>
        </p:nvSpPr>
        <p:spPr>
          <a:xfrm>
            <a:off x="929097" y="6547666"/>
            <a:ext cx="9966702" cy="195987"/>
          </a:xfrm>
        </p:spPr>
        <p:txBody>
          <a:bodyPr anchor="b"/>
          <a:lstStyle>
            <a:lvl1pPr rtl="0">
              <a:spcBef>
                <a:spcPts val="0"/>
              </a:spcBef>
              <a:defRPr sz="637"/>
            </a:lvl1pPr>
            <a:lvl2pPr>
              <a:defRPr sz="795"/>
            </a:lvl2pPr>
            <a:lvl3pPr>
              <a:defRPr sz="795"/>
            </a:lvl3pPr>
            <a:lvl4pPr>
              <a:defRPr sz="795"/>
            </a:lvl4pPr>
            <a:lvl5pPr>
              <a:defRPr sz="795"/>
            </a:lvl5pPr>
          </a:lstStyle>
          <a:p>
            <a:pPr lvl="0"/>
            <a:r>
              <a:rPr lang="en-GB" noProof="0"/>
              <a:t>1) Footnote</a:t>
            </a:r>
            <a:br>
              <a:rPr lang="en-GB" noProof="0"/>
            </a:br>
            <a:r>
              <a:rPr lang="en-GB" noProof="0"/>
              <a:t>Source: Reference</a:t>
            </a:r>
          </a:p>
        </p:txBody>
      </p:sp>
      <p:sp>
        <p:nvSpPr>
          <p:cNvPr id="3" name="Foliennummernplatzhalter 2">
            <a:extLst>
              <a:ext uri="{FF2B5EF4-FFF2-40B4-BE49-F238E27FC236}">
                <a16:creationId xmlns:a16="http://schemas.microsoft.com/office/drawing/2014/main" id="{640F915E-E3AF-4B2F-B67A-18849C24245D}"/>
              </a:ext>
            </a:extLst>
          </p:cNvPr>
          <p:cNvSpPr>
            <a:spLocks noGrp="1"/>
          </p:cNvSpPr>
          <p:nvPr>
            <p:ph type="sldNum" sz="quarter" idx="23"/>
          </p:nvPr>
        </p:nvSpPr>
        <p:spPr/>
        <p:txBody>
          <a:bodyPr/>
          <a:lstStyle/>
          <a:p>
            <a:pPr algn="l"/>
            <a:fld id="{2944A4A4-A603-45E4-AB3C-B4FEB2167694}" type="slidenum">
              <a:rPr lang="en-US" smtClean="0"/>
              <a:pPr algn="l"/>
              <a:t>‹#›</a:t>
            </a:fld>
            <a:endParaRPr lang="en-US"/>
          </a:p>
        </p:txBody>
      </p:sp>
    </p:spTree>
    <p:extLst>
      <p:ext uri="{BB962C8B-B14F-4D97-AF65-F5344CB8AC3E}">
        <p14:creationId xmlns:p14="http://schemas.microsoft.com/office/powerpoint/2010/main" val="96715344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E AGENDA OPTION 3">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E3177B9-1765-CC87-DAC7-824DEE9050E0}"/>
              </a:ext>
            </a:extLst>
          </p:cNvPr>
          <p:cNvSpPr>
            <a:spLocks noGrp="1"/>
          </p:cNvSpPr>
          <p:nvPr>
            <p:ph type="title" hasCustomPrompt="1"/>
          </p:nvPr>
        </p:nvSpPr>
        <p:spPr>
          <a:xfrm>
            <a:off x="1455738" y="1455911"/>
            <a:ext cx="3028492" cy="843340"/>
          </a:xfrm>
          <a:prstGeom prst="rect">
            <a:avLst/>
          </a:prstGeom>
        </p:spPr>
        <p:txBody>
          <a:bodyPr anchor="ctr">
            <a:normAutofit/>
          </a:bodyPr>
          <a:lstStyle>
            <a:lvl1pPr marL="0" algn="l" defTabSz="914400" rtl="0" eaLnBrk="1" latinLnBrk="0" hangingPunct="1">
              <a:lnSpc>
                <a:spcPct val="90000"/>
              </a:lnSpc>
              <a:spcBef>
                <a:spcPct val="0"/>
              </a:spcBef>
              <a:buNone/>
              <a:defRPr lang="en-BE" sz="3200" b="1" i="0" kern="1200" dirty="0">
                <a:solidFill>
                  <a:schemeClr val="tx1"/>
                </a:solidFill>
                <a:latin typeface="AvenirNext LT Pro Bold" panose="020B0504020202020204" pitchFamily="34" charset="77"/>
                <a:ea typeface="+mj-ea"/>
                <a:cs typeface="+mj-cs"/>
              </a:defRPr>
            </a:lvl1pPr>
          </a:lstStyle>
          <a:p>
            <a:r>
              <a:rPr lang="en-GB"/>
              <a:t>Chapter title</a:t>
            </a:r>
            <a:endParaRPr lang="en-BE"/>
          </a:p>
        </p:txBody>
      </p:sp>
      <p:cxnSp>
        <p:nvCxnSpPr>
          <p:cNvPr id="8" name="Straight Connector 7">
            <a:extLst>
              <a:ext uri="{FF2B5EF4-FFF2-40B4-BE49-F238E27FC236}">
                <a16:creationId xmlns:a16="http://schemas.microsoft.com/office/drawing/2014/main" id="{ECB754D3-B723-90D5-F927-AE5F3979136D}"/>
              </a:ext>
            </a:extLst>
          </p:cNvPr>
          <p:cNvCxnSpPr>
            <a:cxnSpLocks/>
          </p:cNvCxnSpPr>
          <p:nvPr userDrawn="1"/>
        </p:nvCxnSpPr>
        <p:spPr>
          <a:xfrm>
            <a:off x="437390" y="587639"/>
            <a:ext cx="1675546" cy="0"/>
          </a:xfrm>
          <a:prstGeom prst="line">
            <a:avLst/>
          </a:prstGeom>
          <a:noFill/>
          <a:ln w="12700" cap="flat" cmpd="sng" algn="ctr">
            <a:solidFill>
              <a:srgbClr val="DCCF7F"/>
            </a:solidFill>
            <a:prstDash val="solid"/>
            <a:miter lim="800000"/>
          </a:ln>
          <a:effectLst/>
        </p:spPr>
      </p:cxnSp>
      <p:sp>
        <p:nvSpPr>
          <p:cNvPr id="10" name="Text Placeholder 5">
            <a:extLst>
              <a:ext uri="{FF2B5EF4-FFF2-40B4-BE49-F238E27FC236}">
                <a16:creationId xmlns:a16="http://schemas.microsoft.com/office/drawing/2014/main" id="{8D4E74AE-BE2A-555B-2C3C-E2E4528A13C1}"/>
              </a:ext>
            </a:extLst>
          </p:cNvPr>
          <p:cNvSpPr>
            <a:spLocks noGrp="1"/>
          </p:cNvSpPr>
          <p:nvPr>
            <p:ph type="body" sz="quarter" idx="10" hasCustomPrompt="1"/>
          </p:nvPr>
        </p:nvSpPr>
        <p:spPr>
          <a:xfrm>
            <a:off x="437390" y="304079"/>
            <a:ext cx="5363564" cy="228026"/>
          </a:xfrm>
          <a:prstGeom prst="rect">
            <a:avLst/>
          </a:prstGeom>
        </p:spPr>
        <p:txBody>
          <a:bodyPr>
            <a:noAutofit/>
          </a:bodyPr>
          <a:lstStyle>
            <a:lvl1pPr marL="0" inden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a:defRPr/>
            </a:lvl2pPr>
            <a:lvl3pPr>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tabLst/>
              <a:defRPr/>
            </a:pPr>
            <a:r>
              <a:rPr lang="en-GB"/>
              <a:t>THE AGENDA</a:t>
            </a:r>
            <a:endParaRPr lang="en-BE"/>
          </a:p>
        </p:txBody>
      </p:sp>
      <p:sp>
        <p:nvSpPr>
          <p:cNvPr id="36" name="Text Placeholder 35">
            <a:extLst>
              <a:ext uri="{FF2B5EF4-FFF2-40B4-BE49-F238E27FC236}">
                <a16:creationId xmlns:a16="http://schemas.microsoft.com/office/drawing/2014/main" id="{E0D22FC1-1B82-D4A0-832C-BA9733F4D600}"/>
              </a:ext>
            </a:extLst>
          </p:cNvPr>
          <p:cNvSpPr>
            <a:spLocks noGrp="1"/>
          </p:cNvSpPr>
          <p:nvPr>
            <p:ph type="body" sz="quarter" idx="11" hasCustomPrompt="1"/>
          </p:nvPr>
        </p:nvSpPr>
        <p:spPr>
          <a:xfrm>
            <a:off x="438150" y="1455359"/>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6000" b="0" i="0" kern="1200" dirty="0">
                <a:solidFill>
                  <a:srgbClr val="CEB36E"/>
                </a:solidFill>
                <a:latin typeface="Bodoni MT" panose="02070603080606020203" pitchFamily="18" charset="77"/>
                <a:ea typeface="+mn-ea"/>
                <a:cs typeface="+mn-cs"/>
              </a:defRPr>
            </a:lvl1pPr>
          </a:lstStyle>
          <a:p>
            <a:pPr lvl="0"/>
            <a:r>
              <a:rPr lang="en-GB"/>
              <a:t>01</a:t>
            </a:r>
          </a:p>
        </p:txBody>
      </p:sp>
      <p:sp>
        <p:nvSpPr>
          <p:cNvPr id="44" name="Text Placeholder 43">
            <a:extLst>
              <a:ext uri="{FF2B5EF4-FFF2-40B4-BE49-F238E27FC236}">
                <a16:creationId xmlns:a16="http://schemas.microsoft.com/office/drawing/2014/main" id="{2C33B690-4024-B18C-5813-1F81676020B8}"/>
              </a:ext>
            </a:extLst>
          </p:cNvPr>
          <p:cNvSpPr>
            <a:spLocks noGrp="1"/>
          </p:cNvSpPr>
          <p:nvPr>
            <p:ph type="body" sz="quarter" idx="12" hasCustomPrompt="1"/>
          </p:nvPr>
        </p:nvSpPr>
        <p:spPr>
          <a:xfrm>
            <a:off x="1455738" y="2585660"/>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45" name="Text Placeholder 35">
            <a:extLst>
              <a:ext uri="{FF2B5EF4-FFF2-40B4-BE49-F238E27FC236}">
                <a16:creationId xmlns:a16="http://schemas.microsoft.com/office/drawing/2014/main" id="{FCD1DC4A-E6B6-EE80-1E1F-8881A27E359C}"/>
              </a:ext>
            </a:extLst>
          </p:cNvPr>
          <p:cNvSpPr>
            <a:spLocks noGrp="1"/>
          </p:cNvSpPr>
          <p:nvPr>
            <p:ph type="body" sz="quarter" idx="13" hasCustomPrompt="1"/>
          </p:nvPr>
        </p:nvSpPr>
        <p:spPr>
          <a:xfrm>
            <a:off x="438150" y="2585659"/>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6000" b="0" i="0" kern="1200" dirty="0">
                <a:solidFill>
                  <a:srgbClr val="CEB36E"/>
                </a:solidFill>
                <a:latin typeface="Bodoni MT" panose="02070603080606020203" pitchFamily="18" charset="77"/>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GB"/>
              <a:t>02</a:t>
            </a:r>
          </a:p>
        </p:txBody>
      </p:sp>
      <p:sp>
        <p:nvSpPr>
          <p:cNvPr id="46" name="Text Placeholder 43">
            <a:extLst>
              <a:ext uri="{FF2B5EF4-FFF2-40B4-BE49-F238E27FC236}">
                <a16:creationId xmlns:a16="http://schemas.microsoft.com/office/drawing/2014/main" id="{11452F8C-DC1D-3A28-0048-4A6A33B75C89}"/>
              </a:ext>
            </a:extLst>
          </p:cNvPr>
          <p:cNvSpPr>
            <a:spLocks noGrp="1"/>
          </p:cNvSpPr>
          <p:nvPr>
            <p:ph type="body" sz="quarter" idx="14" hasCustomPrompt="1"/>
          </p:nvPr>
        </p:nvSpPr>
        <p:spPr>
          <a:xfrm>
            <a:off x="1455738" y="3715408"/>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47" name="Text Placeholder 35">
            <a:extLst>
              <a:ext uri="{FF2B5EF4-FFF2-40B4-BE49-F238E27FC236}">
                <a16:creationId xmlns:a16="http://schemas.microsoft.com/office/drawing/2014/main" id="{11868247-DD7B-AC5F-B819-4D86A08CE95B}"/>
              </a:ext>
            </a:extLst>
          </p:cNvPr>
          <p:cNvSpPr>
            <a:spLocks noGrp="1"/>
          </p:cNvSpPr>
          <p:nvPr>
            <p:ph type="body" sz="quarter" idx="15" hasCustomPrompt="1"/>
          </p:nvPr>
        </p:nvSpPr>
        <p:spPr>
          <a:xfrm>
            <a:off x="438150" y="3715407"/>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6000" b="0" i="0" kern="1200" dirty="0">
                <a:solidFill>
                  <a:srgbClr val="CEB36E"/>
                </a:solidFill>
                <a:latin typeface="Bodoni MT" panose="02070603080606020203" pitchFamily="18" charset="77"/>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GB"/>
              <a:t>03</a:t>
            </a:r>
          </a:p>
        </p:txBody>
      </p:sp>
      <p:sp>
        <p:nvSpPr>
          <p:cNvPr id="48" name="Text Placeholder 43">
            <a:extLst>
              <a:ext uri="{FF2B5EF4-FFF2-40B4-BE49-F238E27FC236}">
                <a16:creationId xmlns:a16="http://schemas.microsoft.com/office/drawing/2014/main" id="{033A2828-93D6-AE38-4904-EEC48DE99288}"/>
              </a:ext>
            </a:extLst>
          </p:cNvPr>
          <p:cNvSpPr>
            <a:spLocks noGrp="1"/>
          </p:cNvSpPr>
          <p:nvPr>
            <p:ph type="body" sz="quarter" idx="16" hasCustomPrompt="1"/>
          </p:nvPr>
        </p:nvSpPr>
        <p:spPr>
          <a:xfrm>
            <a:off x="1455738" y="4845155"/>
            <a:ext cx="3028950" cy="843340"/>
          </a:xfrm>
          <a:prstGeom prst="rect">
            <a:avLst/>
          </a:prstGeom>
        </p:spPr>
        <p:txBody>
          <a:bodyPr anchor="ctr">
            <a:normAutofit/>
          </a:bodyPr>
          <a:lstStyle>
            <a:lvl1pPr marL="0" indent="0" algn="l" defTabSz="914400" rtl="0" eaLnBrk="1" latinLnBrk="0" hangingPunct="1">
              <a:lnSpc>
                <a:spcPct val="90000"/>
              </a:lnSpc>
              <a:spcBef>
                <a:spcPct val="0"/>
              </a:spcBef>
              <a:buNone/>
              <a:defRPr lang="en-GB" sz="3200" b="1" i="0" kern="1200" dirty="0">
                <a:solidFill>
                  <a:schemeClr val="tx1"/>
                </a:solidFill>
                <a:latin typeface="AvenirNext LT Pro Bold" panose="020B0504020202020204" pitchFamily="34" charset="77"/>
                <a:ea typeface="+mj-ea"/>
                <a:cs typeface="+mj-cs"/>
              </a:defRPr>
            </a:lvl1pPr>
          </a:lstStyle>
          <a:p>
            <a:pPr lvl="0"/>
            <a:r>
              <a:rPr lang="en-GB"/>
              <a:t>Chapter title</a:t>
            </a:r>
          </a:p>
        </p:txBody>
      </p:sp>
      <p:sp>
        <p:nvSpPr>
          <p:cNvPr id="49" name="Text Placeholder 35">
            <a:extLst>
              <a:ext uri="{FF2B5EF4-FFF2-40B4-BE49-F238E27FC236}">
                <a16:creationId xmlns:a16="http://schemas.microsoft.com/office/drawing/2014/main" id="{4015985F-C691-248F-BA47-AF3BC5D72F10}"/>
              </a:ext>
            </a:extLst>
          </p:cNvPr>
          <p:cNvSpPr>
            <a:spLocks noGrp="1"/>
          </p:cNvSpPr>
          <p:nvPr>
            <p:ph type="body" sz="quarter" idx="17" hasCustomPrompt="1"/>
          </p:nvPr>
        </p:nvSpPr>
        <p:spPr>
          <a:xfrm>
            <a:off x="438150" y="4845154"/>
            <a:ext cx="1017588" cy="843341"/>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6000" b="0" i="0" kern="1200" dirty="0">
                <a:solidFill>
                  <a:srgbClr val="CEB36E"/>
                </a:solidFill>
                <a:latin typeface="Bodoni MT" panose="02070603080606020203" pitchFamily="18" charset="77"/>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GB"/>
              <a:t>04</a:t>
            </a:r>
          </a:p>
        </p:txBody>
      </p:sp>
      <p:sp>
        <p:nvSpPr>
          <p:cNvPr id="3" name="Text Placeholder 2">
            <a:extLst>
              <a:ext uri="{FF2B5EF4-FFF2-40B4-BE49-F238E27FC236}">
                <a16:creationId xmlns:a16="http://schemas.microsoft.com/office/drawing/2014/main" id="{7DE35E40-F9C4-FA78-FEAB-4E72845A1A39}"/>
              </a:ext>
            </a:extLst>
          </p:cNvPr>
          <p:cNvSpPr>
            <a:spLocks noGrp="1"/>
          </p:cNvSpPr>
          <p:nvPr>
            <p:ph type="body" sz="quarter" idx="18" hasCustomPrompt="1"/>
          </p:nvPr>
        </p:nvSpPr>
        <p:spPr>
          <a:xfrm>
            <a:off x="5800954" y="1455360"/>
            <a:ext cx="5345113" cy="4232654"/>
          </a:xfrm>
          <a:prstGeom prst="rect">
            <a:avLst/>
          </a:prstGeom>
        </p:spPr>
        <p:txBody>
          <a:bodyPr anchor="ctr"/>
          <a:lstStyle>
            <a:lvl1pPr marL="0" indent="0">
              <a:buNone/>
              <a:defRPr sz="5000" b="1" i="0">
                <a:latin typeface="AvenirNext LT Pro Bold" panose="020B0504020202020204" pitchFamily="34" charset="77"/>
              </a:defRPr>
            </a:lvl1pPr>
            <a:lvl2pPr marL="457200" indent="0">
              <a:buNone/>
              <a:defRPr sz="8800" b="1" i="0">
                <a:latin typeface="AvenirNext LT Pro Bold" panose="020B0504020202020204" pitchFamily="34" charset="77"/>
              </a:defRPr>
            </a:lvl2pPr>
            <a:lvl3pPr marL="914400" indent="0">
              <a:buNone/>
              <a:defRPr sz="8800" b="1" i="0">
                <a:latin typeface="AvenirNext LT Pro Bold" panose="020B0504020202020204" pitchFamily="34" charset="77"/>
              </a:defRPr>
            </a:lvl3pPr>
            <a:lvl4pPr marL="1371600" indent="0">
              <a:buNone/>
              <a:defRPr sz="8800" b="1" i="0">
                <a:latin typeface="AvenirNext LT Pro Bold" panose="020B0504020202020204" pitchFamily="34" charset="77"/>
              </a:defRPr>
            </a:lvl4pPr>
            <a:lvl5pPr marL="1828800" indent="0">
              <a:buNone/>
              <a:defRPr sz="8800" b="1" i="0">
                <a:latin typeface="AvenirNext LT Pro Bold" panose="020B0504020202020204" pitchFamily="34" charset="77"/>
              </a:defRPr>
            </a:lvl5pPr>
          </a:lstStyle>
          <a:p>
            <a:pPr lvl="0"/>
            <a:r>
              <a:rPr lang="en-GB"/>
              <a:t>Write a funny copy here</a:t>
            </a:r>
          </a:p>
        </p:txBody>
      </p:sp>
      <p:pic>
        <p:nvPicPr>
          <p:cNvPr id="4" name="Picture 3">
            <a:extLst>
              <a:ext uri="{FF2B5EF4-FFF2-40B4-BE49-F238E27FC236}">
                <a16:creationId xmlns:a16="http://schemas.microsoft.com/office/drawing/2014/main" id="{46C92DEE-E93C-0F67-7AED-FB32028E0BF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33043" y="5494852"/>
            <a:ext cx="877957" cy="1083131"/>
          </a:xfrm>
          <a:prstGeom prst="rect">
            <a:avLst/>
          </a:prstGeom>
        </p:spPr>
      </p:pic>
    </p:spTree>
    <p:extLst>
      <p:ext uri="{BB962C8B-B14F-4D97-AF65-F5344CB8AC3E}">
        <p14:creationId xmlns:p14="http://schemas.microsoft.com/office/powerpoint/2010/main" val="33520619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Nur Titel">
    <p:spTree>
      <p:nvGrpSpPr>
        <p:cNvPr id="1" name=""/>
        <p:cNvGrpSpPr/>
        <p:nvPr/>
      </p:nvGrpSpPr>
      <p:grpSpPr>
        <a:xfrm>
          <a:off x="0" y="0"/>
          <a:ext cx="0" cy="0"/>
          <a:chOff x="0" y="0"/>
          <a:chExt cx="0" cy="0"/>
        </a:xfrm>
      </p:grpSpPr>
      <p:sp>
        <p:nvSpPr>
          <p:cNvPr id="239" name="Grafik 13"/>
          <p:cNvSpPr/>
          <p:nvPr/>
        </p:nvSpPr>
        <p:spPr>
          <a:xfrm>
            <a:off x="11264520" y="6449103"/>
            <a:ext cx="519498" cy="269992"/>
          </a:xfrm>
          <a:custGeom>
            <a:avLst/>
            <a:gdLst/>
            <a:ahLst/>
            <a:cxnLst>
              <a:cxn ang="0">
                <a:pos x="wd2" y="hd2"/>
              </a:cxn>
              <a:cxn ang="5400000">
                <a:pos x="wd2" y="hd2"/>
              </a:cxn>
              <a:cxn ang="10800000">
                <a:pos x="wd2" y="hd2"/>
              </a:cxn>
              <a:cxn ang="16200000">
                <a:pos x="wd2" y="hd2"/>
              </a:cxn>
            </a:cxnLst>
            <a:rect l="0" t="0" r="r" b="b"/>
            <a:pathLst>
              <a:path w="21595" h="21600" extrusionOk="0">
                <a:moveTo>
                  <a:pt x="8616" y="15722"/>
                </a:moveTo>
                <a:lnTo>
                  <a:pt x="8616" y="21119"/>
                </a:lnTo>
                <a:cubicBezTo>
                  <a:pt x="8623" y="21278"/>
                  <a:pt x="8561" y="21417"/>
                  <a:pt x="8479" y="21431"/>
                </a:cubicBezTo>
                <a:cubicBezTo>
                  <a:pt x="8471" y="21432"/>
                  <a:pt x="8463" y="21432"/>
                  <a:pt x="8455" y="21431"/>
                </a:cubicBezTo>
                <a:lnTo>
                  <a:pt x="7810" y="21431"/>
                </a:lnTo>
                <a:cubicBezTo>
                  <a:pt x="7742" y="21440"/>
                  <a:pt x="7679" y="21362"/>
                  <a:pt x="7656" y="21238"/>
                </a:cubicBezTo>
                <a:cubicBezTo>
                  <a:pt x="7619" y="21024"/>
                  <a:pt x="7515" y="20880"/>
                  <a:pt x="7398" y="20880"/>
                </a:cubicBezTo>
                <a:cubicBezTo>
                  <a:pt x="7040" y="20880"/>
                  <a:pt x="6404" y="21600"/>
                  <a:pt x="4979" y="21600"/>
                </a:cubicBezTo>
                <a:cubicBezTo>
                  <a:pt x="1756" y="21600"/>
                  <a:pt x="0" y="16465"/>
                  <a:pt x="0" y="10842"/>
                </a:cubicBezTo>
                <a:cubicBezTo>
                  <a:pt x="0" y="4183"/>
                  <a:pt x="2099" y="0"/>
                  <a:pt x="4963" y="0"/>
                </a:cubicBezTo>
                <a:cubicBezTo>
                  <a:pt x="5870" y="0"/>
                  <a:pt x="6377" y="352"/>
                  <a:pt x="6679" y="591"/>
                </a:cubicBezTo>
                <a:cubicBezTo>
                  <a:pt x="6921" y="808"/>
                  <a:pt x="7032" y="945"/>
                  <a:pt x="7191" y="945"/>
                </a:cubicBezTo>
                <a:cubicBezTo>
                  <a:pt x="7410" y="945"/>
                  <a:pt x="7477" y="708"/>
                  <a:pt x="7552" y="391"/>
                </a:cubicBezTo>
                <a:cubicBezTo>
                  <a:pt x="7598" y="206"/>
                  <a:pt x="7628" y="144"/>
                  <a:pt x="7709" y="144"/>
                </a:cubicBezTo>
                <a:lnTo>
                  <a:pt x="8353" y="144"/>
                </a:lnTo>
                <a:cubicBezTo>
                  <a:pt x="8436" y="133"/>
                  <a:pt x="8507" y="253"/>
                  <a:pt x="8513" y="412"/>
                </a:cubicBezTo>
                <a:cubicBezTo>
                  <a:pt x="8514" y="427"/>
                  <a:pt x="8514" y="443"/>
                  <a:pt x="8513" y="458"/>
                </a:cubicBezTo>
                <a:lnTo>
                  <a:pt x="8513" y="5865"/>
                </a:lnTo>
                <a:cubicBezTo>
                  <a:pt x="8520" y="6021"/>
                  <a:pt x="8461" y="6160"/>
                  <a:pt x="8379" y="6174"/>
                </a:cubicBezTo>
                <a:cubicBezTo>
                  <a:pt x="8370" y="6176"/>
                  <a:pt x="8362" y="6176"/>
                  <a:pt x="8353" y="6174"/>
                </a:cubicBezTo>
                <a:lnTo>
                  <a:pt x="7722" y="6174"/>
                </a:lnTo>
                <a:cubicBezTo>
                  <a:pt x="7635" y="6174"/>
                  <a:pt x="7584" y="6109"/>
                  <a:pt x="7560" y="5892"/>
                </a:cubicBezTo>
                <a:cubicBezTo>
                  <a:pt x="7320" y="3352"/>
                  <a:pt x="6849" y="1818"/>
                  <a:pt x="5370" y="1818"/>
                </a:cubicBezTo>
                <a:cubicBezTo>
                  <a:pt x="3505" y="1818"/>
                  <a:pt x="3056" y="7356"/>
                  <a:pt x="3056" y="10092"/>
                </a:cubicBezTo>
                <a:cubicBezTo>
                  <a:pt x="3056" y="14250"/>
                  <a:pt x="3299" y="19807"/>
                  <a:pt x="5448" y="19807"/>
                </a:cubicBezTo>
                <a:cubicBezTo>
                  <a:pt x="7002" y="19807"/>
                  <a:pt x="7464" y="18110"/>
                  <a:pt x="7663" y="15689"/>
                </a:cubicBezTo>
                <a:cubicBezTo>
                  <a:pt x="7668" y="15530"/>
                  <a:pt x="7738" y="15408"/>
                  <a:pt x="7821" y="15416"/>
                </a:cubicBezTo>
                <a:lnTo>
                  <a:pt x="8455" y="15416"/>
                </a:lnTo>
                <a:cubicBezTo>
                  <a:pt x="8539" y="15406"/>
                  <a:pt x="8611" y="15529"/>
                  <a:pt x="8616" y="15690"/>
                </a:cubicBezTo>
                <a:cubicBezTo>
                  <a:pt x="8616" y="15702"/>
                  <a:pt x="8616" y="15715"/>
                  <a:pt x="8616" y="15728"/>
                </a:cubicBezTo>
                <a:moveTo>
                  <a:pt x="21595" y="19936"/>
                </a:moveTo>
                <a:lnTo>
                  <a:pt x="21595" y="21117"/>
                </a:lnTo>
                <a:cubicBezTo>
                  <a:pt x="21600" y="21280"/>
                  <a:pt x="21535" y="21421"/>
                  <a:pt x="21451" y="21431"/>
                </a:cubicBezTo>
                <a:cubicBezTo>
                  <a:pt x="21444" y="21432"/>
                  <a:pt x="21437" y="21432"/>
                  <a:pt x="21431" y="21431"/>
                </a:cubicBezTo>
                <a:lnTo>
                  <a:pt x="16868" y="21431"/>
                </a:lnTo>
                <a:cubicBezTo>
                  <a:pt x="16784" y="21443"/>
                  <a:pt x="16711" y="21322"/>
                  <a:pt x="16705" y="21161"/>
                </a:cubicBezTo>
                <a:cubicBezTo>
                  <a:pt x="16705" y="21148"/>
                  <a:pt x="16705" y="21135"/>
                  <a:pt x="16705" y="21123"/>
                </a:cubicBezTo>
                <a:lnTo>
                  <a:pt x="16705" y="19936"/>
                </a:lnTo>
                <a:cubicBezTo>
                  <a:pt x="16700" y="19773"/>
                  <a:pt x="16765" y="19635"/>
                  <a:pt x="16849" y="19626"/>
                </a:cubicBezTo>
                <a:cubicBezTo>
                  <a:pt x="16856" y="19625"/>
                  <a:pt x="16862" y="19625"/>
                  <a:pt x="16868" y="19626"/>
                </a:cubicBezTo>
                <a:lnTo>
                  <a:pt x="17245" y="19609"/>
                </a:lnTo>
                <a:cubicBezTo>
                  <a:pt x="17540" y="19609"/>
                  <a:pt x="17614" y="19324"/>
                  <a:pt x="17618" y="19064"/>
                </a:cubicBezTo>
                <a:cubicBezTo>
                  <a:pt x="17618" y="18958"/>
                  <a:pt x="17611" y="18851"/>
                  <a:pt x="17597" y="18748"/>
                </a:cubicBezTo>
                <a:cubicBezTo>
                  <a:pt x="17566" y="18516"/>
                  <a:pt x="17472" y="17956"/>
                  <a:pt x="17472" y="17956"/>
                </a:cubicBezTo>
                <a:cubicBezTo>
                  <a:pt x="17472" y="17956"/>
                  <a:pt x="17205" y="16309"/>
                  <a:pt x="17038" y="15410"/>
                </a:cubicBezTo>
                <a:lnTo>
                  <a:pt x="13423" y="15410"/>
                </a:lnTo>
                <a:lnTo>
                  <a:pt x="12823" y="18269"/>
                </a:lnTo>
                <a:cubicBezTo>
                  <a:pt x="12770" y="18494"/>
                  <a:pt x="12739" y="18735"/>
                  <a:pt x="12732" y="18981"/>
                </a:cubicBezTo>
                <a:cubicBezTo>
                  <a:pt x="12732" y="19582"/>
                  <a:pt x="13032" y="19612"/>
                  <a:pt x="13313" y="19622"/>
                </a:cubicBezTo>
                <a:lnTo>
                  <a:pt x="13656" y="19622"/>
                </a:lnTo>
                <a:cubicBezTo>
                  <a:pt x="13739" y="19610"/>
                  <a:pt x="13811" y="19730"/>
                  <a:pt x="13818" y="19890"/>
                </a:cubicBezTo>
                <a:cubicBezTo>
                  <a:pt x="13818" y="19903"/>
                  <a:pt x="13818" y="19917"/>
                  <a:pt x="13818" y="19930"/>
                </a:cubicBezTo>
                <a:lnTo>
                  <a:pt x="13818" y="21113"/>
                </a:lnTo>
                <a:cubicBezTo>
                  <a:pt x="13825" y="21273"/>
                  <a:pt x="13763" y="21413"/>
                  <a:pt x="13680" y="21427"/>
                </a:cubicBezTo>
                <a:cubicBezTo>
                  <a:pt x="13672" y="21428"/>
                  <a:pt x="13664" y="21428"/>
                  <a:pt x="13656" y="21427"/>
                </a:cubicBezTo>
                <a:lnTo>
                  <a:pt x="10563" y="21427"/>
                </a:lnTo>
                <a:cubicBezTo>
                  <a:pt x="10480" y="21439"/>
                  <a:pt x="10408" y="21319"/>
                  <a:pt x="10402" y="21159"/>
                </a:cubicBezTo>
                <a:cubicBezTo>
                  <a:pt x="10401" y="21144"/>
                  <a:pt x="10401" y="21130"/>
                  <a:pt x="10402" y="21115"/>
                </a:cubicBezTo>
                <a:lnTo>
                  <a:pt x="10402" y="19932"/>
                </a:lnTo>
                <a:cubicBezTo>
                  <a:pt x="10395" y="19773"/>
                  <a:pt x="10457" y="19634"/>
                  <a:pt x="10540" y="19622"/>
                </a:cubicBezTo>
                <a:cubicBezTo>
                  <a:pt x="10547" y="19621"/>
                  <a:pt x="10556" y="19621"/>
                  <a:pt x="10563" y="19622"/>
                </a:cubicBezTo>
                <a:lnTo>
                  <a:pt x="10663" y="19622"/>
                </a:lnTo>
                <a:cubicBezTo>
                  <a:pt x="10840" y="19637"/>
                  <a:pt x="11016" y="19584"/>
                  <a:pt x="11181" y="19466"/>
                </a:cubicBezTo>
                <a:cubicBezTo>
                  <a:pt x="11370" y="19274"/>
                  <a:pt x="11442" y="19060"/>
                  <a:pt x="11525" y="18685"/>
                </a:cubicBezTo>
                <a:lnTo>
                  <a:pt x="15496" y="416"/>
                </a:lnTo>
                <a:cubicBezTo>
                  <a:pt x="15527" y="243"/>
                  <a:pt x="15614" y="131"/>
                  <a:pt x="15708" y="144"/>
                </a:cubicBezTo>
                <a:lnTo>
                  <a:pt x="16975" y="144"/>
                </a:lnTo>
                <a:cubicBezTo>
                  <a:pt x="17066" y="137"/>
                  <a:pt x="17148" y="248"/>
                  <a:pt x="17175" y="416"/>
                </a:cubicBezTo>
                <a:cubicBezTo>
                  <a:pt x="17534" y="2397"/>
                  <a:pt x="20485" y="18596"/>
                  <a:pt x="20487" y="18602"/>
                </a:cubicBezTo>
                <a:cubicBezTo>
                  <a:pt x="20629" y="19372"/>
                  <a:pt x="20769" y="19622"/>
                  <a:pt x="21234" y="19624"/>
                </a:cubicBezTo>
                <a:lnTo>
                  <a:pt x="21428" y="19624"/>
                </a:lnTo>
                <a:cubicBezTo>
                  <a:pt x="21512" y="19612"/>
                  <a:pt x="21584" y="19733"/>
                  <a:pt x="21591" y="19894"/>
                </a:cubicBezTo>
                <a:cubicBezTo>
                  <a:pt x="21591" y="19907"/>
                  <a:pt x="21591" y="19920"/>
                  <a:pt x="21591" y="19934"/>
                </a:cubicBezTo>
                <a:moveTo>
                  <a:pt x="16796" y="13779"/>
                </a:moveTo>
                <a:lnTo>
                  <a:pt x="15496" y="5505"/>
                </a:lnTo>
                <a:lnTo>
                  <a:pt x="13768" y="13779"/>
                </a:lnTo>
                <a:close/>
                <a:moveTo>
                  <a:pt x="10668" y="13276"/>
                </a:moveTo>
                <a:cubicBezTo>
                  <a:pt x="10352" y="13724"/>
                  <a:pt x="9967" y="13956"/>
                  <a:pt x="9574" y="13934"/>
                </a:cubicBezTo>
                <a:cubicBezTo>
                  <a:pt x="8774" y="13934"/>
                  <a:pt x="8136" y="13117"/>
                  <a:pt x="8122" y="11731"/>
                </a:cubicBezTo>
                <a:cubicBezTo>
                  <a:pt x="8110" y="10531"/>
                  <a:pt x="8698" y="9688"/>
                  <a:pt x="9178" y="9407"/>
                </a:cubicBezTo>
                <a:cubicBezTo>
                  <a:pt x="9005" y="9017"/>
                  <a:pt x="8906" y="8526"/>
                  <a:pt x="8898" y="8014"/>
                </a:cubicBezTo>
                <a:cubicBezTo>
                  <a:pt x="8898" y="6667"/>
                  <a:pt x="9498" y="6021"/>
                  <a:pt x="10124" y="6021"/>
                </a:cubicBezTo>
                <a:cubicBezTo>
                  <a:pt x="10749" y="6021"/>
                  <a:pt x="11197" y="6682"/>
                  <a:pt x="11197" y="7733"/>
                </a:cubicBezTo>
                <a:cubicBezTo>
                  <a:pt x="11197" y="8649"/>
                  <a:pt x="10720" y="9220"/>
                  <a:pt x="10287" y="9584"/>
                </a:cubicBezTo>
                <a:lnTo>
                  <a:pt x="10886" y="11296"/>
                </a:lnTo>
                <a:cubicBezTo>
                  <a:pt x="11089" y="10766"/>
                  <a:pt x="11238" y="10168"/>
                  <a:pt x="11326" y="9532"/>
                </a:cubicBezTo>
                <a:cubicBezTo>
                  <a:pt x="11332" y="9484"/>
                  <a:pt x="11353" y="9405"/>
                  <a:pt x="11435" y="9405"/>
                </a:cubicBezTo>
                <a:lnTo>
                  <a:pt x="12393" y="9405"/>
                </a:lnTo>
                <a:cubicBezTo>
                  <a:pt x="12447" y="9405"/>
                  <a:pt x="12514" y="9390"/>
                  <a:pt x="12467" y="9611"/>
                </a:cubicBezTo>
                <a:lnTo>
                  <a:pt x="12354" y="10109"/>
                </a:lnTo>
                <a:cubicBezTo>
                  <a:pt x="12336" y="10200"/>
                  <a:pt x="12291" y="10260"/>
                  <a:pt x="12240" y="10257"/>
                </a:cubicBezTo>
                <a:lnTo>
                  <a:pt x="12107" y="10257"/>
                </a:lnTo>
                <a:cubicBezTo>
                  <a:pt x="12007" y="10257"/>
                  <a:pt x="11962" y="10377"/>
                  <a:pt x="11901" y="10559"/>
                </a:cubicBezTo>
                <a:cubicBezTo>
                  <a:pt x="11901" y="10559"/>
                  <a:pt x="11763" y="10994"/>
                  <a:pt x="11666" y="11260"/>
                </a:cubicBezTo>
                <a:cubicBezTo>
                  <a:pt x="11540" y="11634"/>
                  <a:pt x="11393" y="11980"/>
                  <a:pt x="11227" y="12291"/>
                </a:cubicBezTo>
                <a:cubicBezTo>
                  <a:pt x="11357" y="12669"/>
                  <a:pt x="11575" y="12899"/>
                  <a:pt x="11810" y="12905"/>
                </a:cubicBezTo>
                <a:lnTo>
                  <a:pt x="11982" y="12905"/>
                </a:lnTo>
                <a:cubicBezTo>
                  <a:pt x="12011" y="12905"/>
                  <a:pt x="12104" y="12884"/>
                  <a:pt x="12061" y="13097"/>
                </a:cubicBezTo>
                <a:lnTo>
                  <a:pt x="11945" y="13638"/>
                </a:lnTo>
                <a:cubicBezTo>
                  <a:pt x="11931" y="13737"/>
                  <a:pt x="11882" y="13800"/>
                  <a:pt x="11829" y="13786"/>
                </a:cubicBezTo>
                <a:lnTo>
                  <a:pt x="11442" y="13786"/>
                </a:lnTo>
                <a:cubicBezTo>
                  <a:pt x="11442" y="13786"/>
                  <a:pt x="10957" y="13854"/>
                  <a:pt x="10668" y="13276"/>
                </a:cubicBezTo>
                <a:moveTo>
                  <a:pt x="9724" y="7552"/>
                </a:moveTo>
                <a:cubicBezTo>
                  <a:pt x="9724" y="8066"/>
                  <a:pt x="9818" y="8399"/>
                  <a:pt x="9987" y="8872"/>
                </a:cubicBezTo>
                <a:cubicBezTo>
                  <a:pt x="10287" y="8560"/>
                  <a:pt x="10440" y="8125"/>
                  <a:pt x="10440" y="7539"/>
                </a:cubicBezTo>
                <a:cubicBezTo>
                  <a:pt x="10440" y="7135"/>
                  <a:pt x="10340" y="6731"/>
                  <a:pt x="10109" y="6731"/>
                </a:cubicBezTo>
                <a:cubicBezTo>
                  <a:pt x="9862" y="6731"/>
                  <a:pt x="9724" y="7115"/>
                  <a:pt x="9724" y="7552"/>
                </a:cubicBezTo>
                <a:moveTo>
                  <a:pt x="10305" y="12507"/>
                </a:moveTo>
                <a:lnTo>
                  <a:pt x="9421" y="10163"/>
                </a:lnTo>
                <a:cubicBezTo>
                  <a:pt x="9162" y="10499"/>
                  <a:pt x="9004" y="11056"/>
                  <a:pt x="8998" y="11656"/>
                </a:cubicBezTo>
                <a:cubicBezTo>
                  <a:pt x="8998" y="12555"/>
                  <a:pt x="9267" y="13084"/>
                  <a:pt x="9698" y="13084"/>
                </a:cubicBezTo>
                <a:cubicBezTo>
                  <a:pt x="9967" y="13084"/>
                  <a:pt x="10132" y="12836"/>
                  <a:pt x="10305" y="12507"/>
                </a:cubicBezTo>
              </a:path>
            </a:pathLst>
          </a:custGeom>
          <a:solidFill>
            <a:srgbClr val="000000"/>
          </a:solidFill>
          <a:ln w="12700">
            <a:miter lim="400000"/>
          </a:ln>
        </p:spPr>
        <p:txBody>
          <a:bodyPr lIns="36368" rIns="36368" anchor="ctr"/>
          <a:lstStyle/>
          <a:p>
            <a:endParaRPr sz="1671"/>
          </a:p>
        </p:txBody>
      </p:sp>
      <p:sp>
        <p:nvSpPr>
          <p:cNvPr id="240" name="Gerader Verbinder 19"/>
          <p:cNvSpPr/>
          <p:nvPr/>
        </p:nvSpPr>
        <p:spPr>
          <a:xfrm>
            <a:off x="640556" y="6617469"/>
            <a:ext cx="1" cy="108001"/>
          </a:xfrm>
          <a:prstGeom prst="line">
            <a:avLst/>
          </a:prstGeom>
          <a:ln w="6350">
            <a:solidFill>
              <a:srgbClr val="000000"/>
            </a:solidFill>
            <a:miter/>
          </a:ln>
        </p:spPr>
        <p:txBody>
          <a:bodyPr lIns="36368" rIns="36368"/>
          <a:lstStyle/>
          <a:p>
            <a:endParaRPr sz="1671"/>
          </a:p>
        </p:txBody>
      </p:sp>
      <p:sp>
        <p:nvSpPr>
          <p:cNvPr id="241" name="Slide Title"/>
          <p:cNvSpPr txBox="1">
            <a:spLocks noGrp="1"/>
          </p:cNvSpPr>
          <p:nvPr>
            <p:ph type="title" hasCustomPrompt="1"/>
          </p:nvPr>
        </p:nvSpPr>
        <p:spPr>
          <a:xfrm>
            <a:off x="407989" y="300502"/>
            <a:ext cx="11376026" cy="400112"/>
          </a:xfrm>
          <a:prstGeom prst="rect">
            <a:avLst/>
          </a:prstGeom>
        </p:spPr>
        <p:txBody>
          <a:bodyPr>
            <a:normAutofit/>
          </a:bodyPr>
          <a:lstStyle/>
          <a:p>
            <a:r>
              <a:t>Slide Title</a:t>
            </a:r>
          </a:p>
        </p:txBody>
      </p:sp>
      <p:sp>
        <p:nvSpPr>
          <p:cNvPr id="242" name="Textebene 1…"/>
          <p:cNvSpPr txBox="1">
            <a:spLocks noGrp="1"/>
          </p:cNvSpPr>
          <p:nvPr>
            <p:ph type="body" sz="quarter" idx="1" hasCustomPrompt="1"/>
          </p:nvPr>
        </p:nvSpPr>
        <p:spPr>
          <a:xfrm>
            <a:off x="929097" y="6497432"/>
            <a:ext cx="9966702" cy="246222"/>
          </a:xfrm>
          <a:prstGeom prst="rect">
            <a:avLst/>
          </a:prstGeom>
        </p:spPr>
        <p:txBody>
          <a:bodyPr anchor="b">
            <a:normAutofit/>
          </a:bodyPr>
          <a:lstStyle>
            <a:lvl1pPr>
              <a:spcBef>
                <a:spcPts val="0"/>
              </a:spcBef>
              <a:defRPr sz="637"/>
            </a:lvl1pPr>
            <a:lvl2pPr marL="112134" indent="-112134">
              <a:spcBef>
                <a:spcPts val="0"/>
              </a:spcBef>
              <a:defRPr sz="637"/>
            </a:lvl2pPr>
            <a:lvl3pPr marL="253816" indent="-111123">
              <a:spcBef>
                <a:spcPts val="0"/>
              </a:spcBef>
              <a:defRPr sz="637"/>
            </a:lvl3pPr>
            <a:lvl4pPr marL="400801" indent="-119204">
              <a:spcBef>
                <a:spcPts val="0"/>
              </a:spcBef>
              <a:defRPr sz="637"/>
            </a:lvl4pPr>
            <a:lvl5pPr marL="542483" indent="-113144">
              <a:spcBef>
                <a:spcPts val="0"/>
              </a:spcBef>
              <a:defRPr sz="637"/>
            </a:lvl5pPr>
          </a:lstStyle>
          <a:p>
            <a:r>
              <a:t>1) FootnoteSource: Reference</a:t>
            </a:r>
          </a:p>
          <a:p>
            <a:pPr lvl="1"/>
            <a:endParaRPr/>
          </a:p>
          <a:p>
            <a:pPr lvl="2"/>
            <a:endParaRPr/>
          </a:p>
          <a:p>
            <a:pPr lvl="3"/>
            <a:endParaRPr/>
          </a:p>
          <a:p>
            <a:pPr lvl="4"/>
            <a:endParaRPr/>
          </a:p>
        </p:txBody>
      </p:sp>
      <p:sp>
        <p:nvSpPr>
          <p:cNvPr id="243" name="Foliennummer"/>
          <p:cNvSpPr txBox="1">
            <a:spLocks noGrp="1"/>
          </p:cNvSpPr>
          <p:nvPr>
            <p:ph type="sldNum" sz="quarter" idx="2"/>
          </p:nvPr>
        </p:nvSpPr>
        <p:spPr>
          <a:xfrm>
            <a:off x="407987" y="6604055"/>
            <a:ext cx="204030" cy="13959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69211008"/>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mp;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9D4C81A-550A-4B72-B4F1-1B0947942912}"/>
              </a:ext>
            </a:extLst>
          </p:cNvPr>
          <p:cNvGraphicFramePr>
            <a:graphicFrameLocks noChangeAspect="1"/>
          </p:cNvGraphicFramePr>
          <p:nvPr>
            <p:custDataLst>
              <p:tags r:id="rId1"/>
            </p:custDataLst>
          </p:nvPr>
        </p:nvGraphicFramePr>
        <p:xfrm>
          <a:off x="1589" y="1590"/>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79D4C81A-550A-4B72-B4F1-1B0947942912}"/>
                          </a:ext>
                        </a:extLst>
                      </p:cNvPr>
                      <p:cNvPicPr/>
                      <p:nvPr/>
                    </p:nvPicPr>
                    <p:blipFill>
                      <a:blip r:embed="rId4"/>
                      <a:stretch>
                        <a:fillRect/>
                      </a:stretch>
                    </p:blipFill>
                    <p:spPr>
                      <a:xfrm>
                        <a:off x="1589" y="1590"/>
                        <a:ext cx="1588" cy="1588"/>
                      </a:xfrm>
                      <a:prstGeom prst="rect">
                        <a:avLst/>
                      </a:prstGeom>
                    </p:spPr>
                  </p:pic>
                </p:oleObj>
              </mc:Fallback>
            </mc:AlternateContent>
          </a:graphicData>
        </a:graphic>
      </p:graphicFrame>
      <p:sp>
        <p:nvSpPr>
          <p:cNvPr id="14" name="Textplatzhalter 13">
            <a:extLst>
              <a:ext uri="{FF2B5EF4-FFF2-40B4-BE49-F238E27FC236}">
                <a16:creationId xmlns:a16="http://schemas.microsoft.com/office/drawing/2014/main" id="{223BC1F0-BA30-441C-BFDB-E9656A60DF15}"/>
              </a:ext>
            </a:extLst>
          </p:cNvPr>
          <p:cNvSpPr>
            <a:spLocks noGrp="1"/>
          </p:cNvSpPr>
          <p:nvPr>
            <p:ph type="body" sz="quarter" idx="17"/>
          </p:nvPr>
        </p:nvSpPr>
        <p:spPr>
          <a:xfrm>
            <a:off x="407988" y="1449391"/>
            <a:ext cx="11376025" cy="1512273"/>
          </a:xfrm>
        </p:spPr>
        <p:txBody>
          <a:bodyPr/>
          <a:lstStyle>
            <a:lvl1pPr rtl="0">
              <a:defRPr/>
            </a:lvl1pPr>
            <a:lvl2pPr rtl="0">
              <a:buClr>
                <a:schemeClr val="tx2"/>
              </a:buClr>
              <a:defRPr/>
            </a:lvl2pPr>
            <a:lvl3pPr rtl="0">
              <a:buClr>
                <a:schemeClr val="tx2"/>
              </a:buClr>
              <a:defRPr/>
            </a:lvl3pPr>
            <a:lvl4pPr rtl="0">
              <a:buClr>
                <a:schemeClr val="tx2"/>
              </a:buClr>
              <a:buFont typeface="CA Sans" panose="00000500000000000000" pitchFamily="2" charset="0"/>
              <a:buChar char="–"/>
              <a:defRPr/>
            </a:lvl4pPr>
            <a:lvl5pPr rtl="0">
              <a:buClr>
                <a:schemeClr val="tx2"/>
              </a:buClr>
              <a:buFont typeface="CA Sans" panose="00000500000000000000" pitchFamily="2"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20" name="Gerader Verbinder 19">
            <a:extLst>
              <a:ext uri="{FF2B5EF4-FFF2-40B4-BE49-F238E27FC236}">
                <a16:creationId xmlns:a16="http://schemas.microsoft.com/office/drawing/2014/main" id="{62C42893-E2D0-44B8-A569-6C087198145B}"/>
              </a:ext>
            </a:extLst>
          </p:cNvPr>
          <p:cNvCxnSpPr>
            <a:cxnSpLocks/>
          </p:cNvCxnSpPr>
          <p:nvPr/>
        </p:nvCxnSpPr>
        <p:spPr>
          <a:xfrm>
            <a:off x="640555" y="6617471"/>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505BE0C2-329C-49CC-8EB6-FA30DC640929}"/>
              </a:ext>
            </a:extLst>
          </p:cNvPr>
          <p:cNvSpPr>
            <a:spLocks noGrp="1"/>
          </p:cNvSpPr>
          <p:nvPr>
            <p:ph type="title" hasCustomPrompt="1"/>
          </p:nvPr>
        </p:nvSpPr>
        <p:spPr/>
        <p:txBody>
          <a:bodyPr vert="horz"/>
          <a:lstStyle>
            <a:lvl1pPr rtl="0">
              <a:defRPr/>
            </a:lvl1pPr>
          </a:lstStyle>
          <a:p>
            <a:r>
              <a:rPr lang="en-GB" noProof="0"/>
              <a:t>Slide Title</a:t>
            </a:r>
          </a:p>
        </p:txBody>
      </p:sp>
      <p:sp>
        <p:nvSpPr>
          <p:cNvPr id="4" name="Textplatzhalter 3">
            <a:extLst>
              <a:ext uri="{FF2B5EF4-FFF2-40B4-BE49-F238E27FC236}">
                <a16:creationId xmlns:a16="http://schemas.microsoft.com/office/drawing/2014/main" id="{813250F8-71C3-4163-9D0B-56F0923E940E}"/>
              </a:ext>
            </a:extLst>
          </p:cNvPr>
          <p:cNvSpPr>
            <a:spLocks noGrp="1"/>
          </p:cNvSpPr>
          <p:nvPr>
            <p:ph type="body" sz="quarter" idx="22" hasCustomPrompt="1"/>
          </p:nvPr>
        </p:nvSpPr>
        <p:spPr>
          <a:xfrm>
            <a:off x="929097" y="6547666"/>
            <a:ext cx="9966702" cy="195987"/>
          </a:xfrm>
        </p:spPr>
        <p:txBody>
          <a:bodyPr anchor="b"/>
          <a:lstStyle>
            <a:lvl1pPr rtl="0">
              <a:spcBef>
                <a:spcPts val="0"/>
              </a:spcBef>
              <a:defRPr sz="637"/>
            </a:lvl1pPr>
            <a:lvl2pPr>
              <a:defRPr sz="795"/>
            </a:lvl2pPr>
            <a:lvl3pPr>
              <a:defRPr sz="795"/>
            </a:lvl3pPr>
            <a:lvl4pPr>
              <a:defRPr sz="795"/>
            </a:lvl4pPr>
            <a:lvl5pPr>
              <a:defRPr sz="795"/>
            </a:lvl5pPr>
          </a:lstStyle>
          <a:p>
            <a:pPr lvl="0"/>
            <a:r>
              <a:rPr lang="en-GB" noProof="0"/>
              <a:t>1) Footnote</a:t>
            </a:r>
            <a:br>
              <a:rPr lang="en-GB" noProof="0"/>
            </a:br>
            <a:r>
              <a:rPr lang="en-GB" noProof="0"/>
              <a:t>Source: Reference</a:t>
            </a:r>
          </a:p>
        </p:txBody>
      </p:sp>
      <p:sp>
        <p:nvSpPr>
          <p:cNvPr id="3" name="Foliennummernplatzhalter 2">
            <a:extLst>
              <a:ext uri="{FF2B5EF4-FFF2-40B4-BE49-F238E27FC236}">
                <a16:creationId xmlns:a16="http://schemas.microsoft.com/office/drawing/2014/main" id="{A34A93E1-4CEA-4A85-AF7B-F5EE054FAA8E}"/>
              </a:ext>
            </a:extLst>
          </p:cNvPr>
          <p:cNvSpPr>
            <a:spLocks noGrp="1"/>
          </p:cNvSpPr>
          <p:nvPr>
            <p:ph type="sldNum" sz="quarter" idx="23"/>
          </p:nvPr>
        </p:nvSpPr>
        <p:spPr/>
        <p:txBody>
          <a:bodyPr/>
          <a:lstStyle/>
          <a:p>
            <a:pPr algn="l"/>
            <a:fld id="{2944A4A4-A603-45E4-AB3C-B4FEB2167694}" type="slidenum">
              <a:rPr lang="en-US" smtClean="0"/>
              <a:pPr algn="l"/>
              <a:t>‹#›</a:t>
            </a:fld>
            <a:endParaRPr lang="en-US"/>
          </a:p>
        </p:txBody>
      </p:sp>
    </p:spTree>
    <p:extLst>
      <p:ext uri="{BB962C8B-B14F-4D97-AF65-F5344CB8AC3E}">
        <p14:creationId xmlns:p14="http://schemas.microsoft.com/office/powerpoint/2010/main" val="2216648992"/>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Nur Tite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9D4C81A-550A-4B72-B4F1-1B0947942912}"/>
              </a:ext>
            </a:extLst>
          </p:cNvPr>
          <p:cNvGraphicFramePr>
            <a:graphicFrameLocks noChangeAspect="1"/>
          </p:cNvGraphicFramePr>
          <p:nvPr userDrawn="1">
            <p:custDataLst>
              <p:tags r:id="rId1"/>
            </p:custDataLst>
          </p:nvPr>
        </p:nvGraphicFramePr>
        <p:xfrm>
          <a:off x="1589" y="1590"/>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79D4C81A-550A-4B72-B4F1-1B0947942912}"/>
                          </a:ext>
                        </a:extLst>
                      </p:cNvPr>
                      <p:cNvPicPr/>
                      <p:nvPr/>
                    </p:nvPicPr>
                    <p:blipFill>
                      <a:blip r:embed="rId4"/>
                      <a:stretch>
                        <a:fillRect/>
                      </a:stretch>
                    </p:blipFill>
                    <p:spPr>
                      <a:xfrm>
                        <a:off x="1589" y="1590"/>
                        <a:ext cx="1588" cy="1588"/>
                      </a:xfrm>
                      <a:prstGeom prst="rect">
                        <a:avLst/>
                      </a:prstGeom>
                    </p:spPr>
                  </p:pic>
                </p:oleObj>
              </mc:Fallback>
            </mc:AlternateContent>
          </a:graphicData>
        </a:graphic>
      </p:graphicFrame>
      <p:cxnSp>
        <p:nvCxnSpPr>
          <p:cNvPr id="20" name="Gerader Verbinder 19">
            <a:extLst>
              <a:ext uri="{FF2B5EF4-FFF2-40B4-BE49-F238E27FC236}">
                <a16:creationId xmlns:a16="http://schemas.microsoft.com/office/drawing/2014/main" id="{62C42893-E2D0-44B8-A569-6C087198145B}"/>
              </a:ext>
            </a:extLst>
          </p:cNvPr>
          <p:cNvCxnSpPr>
            <a:cxnSpLocks/>
          </p:cNvCxnSpPr>
          <p:nvPr userDrawn="1"/>
        </p:nvCxnSpPr>
        <p:spPr>
          <a:xfrm>
            <a:off x="640555" y="6617471"/>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505BE0C2-329C-49CC-8EB6-FA30DC640929}"/>
              </a:ext>
            </a:extLst>
          </p:cNvPr>
          <p:cNvSpPr>
            <a:spLocks noGrp="1"/>
          </p:cNvSpPr>
          <p:nvPr>
            <p:ph type="title" hasCustomPrompt="1"/>
          </p:nvPr>
        </p:nvSpPr>
        <p:spPr/>
        <p:txBody>
          <a:bodyPr vert="horz"/>
          <a:lstStyle>
            <a:lvl1pPr rtl="0">
              <a:defRPr/>
            </a:lvl1pPr>
          </a:lstStyle>
          <a:p>
            <a:r>
              <a:rPr lang="en-GB" noProof="0"/>
              <a:t>Slide Title</a:t>
            </a:r>
          </a:p>
        </p:txBody>
      </p:sp>
      <p:sp>
        <p:nvSpPr>
          <p:cNvPr id="4" name="Textplatzhalter 3">
            <a:extLst>
              <a:ext uri="{FF2B5EF4-FFF2-40B4-BE49-F238E27FC236}">
                <a16:creationId xmlns:a16="http://schemas.microsoft.com/office/drawing/2014/main" id="{813250F8-71C3-4163-9D0B-56F0923E940E}"/>
              </a:ext>
            </a:extLst>
          </p:cNvPr>
          <p:cNvSpPr>
            <a:spLocks noGrp="1"/>
          </p:cNvSpPr>
          <p:nvPr>
            <p:ph type="body" sz="quarter" idx="22" hasCustomPrompt="1"/>
          </p:nvPr>
        </p:nvSpPr>
        <p:spPr>
          <a:xfrm>
            <a:off x="929097" y="6547666"/>
            <a:ext cx="9966702" cy="195987"/>
          </a:xfrm>
        </p:spPr>
        <p:txBody>
          <a:bodyPr anchor="b"/>
          <a:lstStyle>
            <a:lvl1pPr rtl="0">
              <a:spcBef>
                <a:spcPts val="0"/>
              </a:spcBef>
              <a:defRPr sz="637"/>
            </a:lvl1pPr>
            <a:lvl2pPr>
              <a:defRPr sz="795"/>
            </a:lvl2pPr>
            <a:lvl3pPr>
              <a:defRPr sz="795"/>
            </a:lvl3pPr>
            <a:lvl4pPr>
              <a:defRPr sz="795"/>
            </a:lvl4pPr>
            <a:lvl5pPr>
              <a:defRPr sz="795"/>
            </a:lvl5pPr>
          </a:lstStyle>
          <a:p>
            <a:pPr lvl="0"/>
            <a:r>
              <a:rPr lang="en-GB" noProof="0"/>
              <a:t>1) Footnote</a:t>
            </a:r>
            <a:br>
              <a:rPr lang="en-GB" noProof="0"/>
            </a:br>
            <a:r>
              <a:rPr lang="en-GB" noProof="0"/>
              <a:t>Source: Reference</a:t>
            </a:r>
          </a:p>
        </p:txBody>
      </p:sp>
      <p:sp>
        <p:nvSpPr>
          <p:cNvPr id="3" name="Foliennummernplatzhalter 2">
            <a:extLst>
              <a:ext uri="{FF2B5EF4-FFF2-40B4-BE49-F238E27FC236}">
                <a16:creationId xmlns:a16="http://schemas.microsoft.com/office/drawing/2014/main" id="{640F915E-E3AF-4B2F-B67A-18849C24245D}"/>
              </a:ext>
            </a:extLst>
          </p:cNvPr>
          <p:cNvSpPr>
            <a:spLocks noGrp="1"/>
          </p:cNvSpPr>
          <p:nvPr>
            <p:ph type="sldNum" sz="quarter" idx="23"/>
          </p:nvPr>
        </p:nvSpPr>
        <p:spPr/>
        <p:txBody>
          <a:bodyPr/>
          <a:lstStyle/>
          <a:p>
            <a:pPr algn="l"/>
            <a:fld id="{2944A4A4-A603-45E4-AB3C-B4FEB2167694}" type="slidenum">
              <a:rPr lang="en-US" smtClean="0"/>
              <a:pPr algn="l"/>
              <a:t>‹#›</a:t>
            </a:fld>
            <a:endParaRPr lang="en-US"/>
          </a:p>
        </p:txBody>
      </p:sp>
    </p:spTree>
    <p:extLst>
      <p:ext uri="{BB962C8B-B14F-4D97-AF65-F5344CB8AC3E}">
        <p14:creationId xmlns:p14="http://schemas.microsoft.com/office/powerpoint/2010/main" val="244539576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9D4C81A-550A-4B72-B4F1-1B0947942912}"/>
              </a:ext>
            </a:extLst>
          </p:cNvPr>
          <p:cNvGraphicFramePr>
            <a:graphicFrameLocks noChangeAspect="1"/>
          </p:cNvGraphicFramePr>
          <p:nvPr userDrawn="1">
            <p:custDataLst>
              <p:tags r:id="rId1"/>
            </p:custDataLst>
            <p:extLst>
              <p:ext uri="{D42A27DB-BD31-4B8C-83A1-F6EECF244321}">
                <p14:modId xmlns:p14="http://schemas.microsoft.com/office/powerpoint/2010/main" val="3890724031"/>
              </p:ext>
            </p:extLst>
          </p:nvPr>
        </p:nvGraphicFramePr>
        <p:xfrm>
          <a:off x="1589" y="1590"/>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79D4C81A-550A-4B72-B4F1-1B0947942912}"/>
                          </a:ext>
                        </a:extLst>
                      </p:cNvPr>
                      <p:cNvPicPr/>
                      <p:nvPr/>
                    </p:nvPicPr>
                    <p:blipFill>
                      <a:blip r:embed="rId4"/>
                      <a:stretch>
                        <a:fillRect/>
                      </a:stretch>
                    </p:blipFill>
                    <p:spPr>
                      <a:xfrm>
                        <a:off x="1589" y="1590"/>
                        <a:ext cx="1588" cy="1588"/>
                      </a:xfrm>
                      <a:prstGeom prst="rect">
                        <a:avLst/>
                      </a:prstGeom>
                    </p:spPr>
                  </p:pic>
                </p:oleObj>
              </mc:Fallback>
            </mc:AlternateContent>
          </a:graphicData>
        </a:graphic>
      </p:graphicFrame>
      <p:cxnSp>
        <p:nvCxnSpPr>
          <p:cNvPr id="20" name="Gerader Verbinder 19">
            <a:extLst>
              <a:ext uri="{FF2B5EF4-FFF2-40B4-BE49-F238E27FC236}">
                <a16:creationId xmlns:a16="http://schemas.microsoft.com/office/drawing/2014/main" id="{62C42893-E2D0-44B8-A569-6C087198145B}"/>
              </a:ext>
            </a:extLst>
          </p:cNvPr>
          <p:cNvCxnSpPr>
            <a:cxnSpLocks/>
          </p:cNvCxnSpPr>
          <p:nvPr userDrawn="1"/>
        </p:nvCxnSpPr>
        <p:spPr>
          <a:xfrm>
            <a:off x="640555" y="6617471"/>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505BE0C2-329C-49CC-8EB6-FA30DC640929}"/>
              </a:ext>
            </a:extLst>
          </p:cNvPr>
          <p:cNvSpPr>
            <a:spLocks noGrp="1"/>
          </p:cNvSpPr>
          <p:nvPr>
            <p:ph type="title" hasCustomPrompt="1"/>
          </p:nvPr>
        </p:nvSpPr>
        <p:spPr/>
        <p:txBody>
          <a:bodyPr vert="horz"/>
          <a:lstStyle>
            <a:lvl1pPr rtl="0">
              <a:defRPr/>
            </a:lvl1pPr>
          </a:lstStyle>
          <a:p>
            <a:r>
              <a:rPr lang="en-GB" noProof="0"/>
              <a:t>Slide Title</a:t>
            </a:r>
          </a:p>
        </p:txBody>
      </p:sp>
      <p:sp>
        <p:nvSpPr>
          <p:cNvPr id="4" name="Textplatzhalter 3">
            <a:extLst>
              <a:ext uri="{FF2B5EF4-FFF2-40B4-BE49-F238E27FC236}">
                <a16:creationId xmlns:a16="http://schemas.microsoft.com/office/drawing/2014/main" id="{813250F8-71C3-4163-9D0B-56F0923E940E}"/>
              </a:ext>
            </a:extLst>
          </p:cNvPr>
          <p:cNvSpPr>
            <a:spLocks noGrp="1"/>
          </p:cNvSpPr>
          <p:nvPr>
            <p:ph type="body" sz="quarter" idx="22" hasCustomPrompt="1"/>
          </p:nvPr>
        </p:nvSpPr>
        <p:spPr>
          <a:xfrm>
            <a:off x="929097" y="6547666"/>
            <a:ext cx="9966702" cy="195987"/>
          </a:xfrm>
        </p:spPr>
        <p:txBody>
          <a:bodyPr anchor="b"/>
          <a:lstStyle>
            <a:lvl1pPr rtl="0">
              <a:spcBef>
                <a:spcPts val="0"/>
              </a:spcBef>
              <a:defRPr sz="637"/>
            </a:lvl1pPr>
            <a:lvl2pPr>
              <a:defRPr sz="795"/>
            </a:lvl2pPr>
            <a:lvl3pPr>
              <a:defRPr sz="795"/>
            </a:lvl3pPr>
            <a:lvl4pPr>
              <a:defRPr sz="795"/>
            </a:lvl4pPr>
            <a:lvl5pPr>
              <a:defRPr sz="795"/>
            </a:lvl5pPr>
          </a:lstStyle>
          <a:p>
            <a:pPr lvl="0"/>
            <a:r>
              <a:rPr lang="en-GB" noProof="0"/>
              <a:t>1) Footnote</a:t>
            </a:r>
            <a:br>
              <a:rPr lang="en-GB" noProof="0"/>
            </a:br>
            <a:r>
              <a:rPr lang="en-GB" noProof="0"/>
              <a:t>Source: Reference</a:t>
            </a:r>
          </a:p>
        </p:txBody>
      </p:sp>
      <p:sp>
        <p:nvSpPr>
          <p:cNvPr id="3" name="Foliennummernplatzhalter 2">
            <a:extLst>
              <a:ext uri="{FF2B5EF4-FFF2-40B4-BE49-F238E27FC236}">
                <a16:creationId xmlns:a16="http://schemas.microsoft.com/office/drawing/2014/main" id="{640F915E-E3AF-4B2F-B67A-18849C24245D}"/>
              </a:ext>
            </a:extLst>
          </p:cNvPr>
          <p:cNvSpPr>
            <a:spLocks noGrp="1"/>
          </p:cNvSpPr>
          <p:nvPr>
            <p:ph type="sldNum" sz="quarter" idx="23"/>
          </p:nvPr>
        </p:nvSpPr>
        <p:spPr/>
        <p:txBody>
          <a:bodyPr/>
          <a:lstStyle/>
          <a:p>
            <a:pPr algn="l"/>
            <a:fld id="{2944A4A4-A603-45E4-AB3C-B4FEB2167694}" type="slidenum">
              <a:rPr lang="en-US" smtClean="0"/>
              <a:pPr algn="l"/>
              <a:t>‹#›</a:t>
            </a:fld>
            <a:endParaRPr lang="en-US"/>
          </a:p>
        </p:txBody>
      </p:sp>
    </p:spTree>
    <p:extLst>
      <p:ext uri="{BB962C8B-B14F-4D97-AF65-F5344CB8AC3E}">
        <p14:creationId xmlns:p14="http://schemas.microsoft.com/office/powerpoint/2010/main" val="350572720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1A696D-75EE-4B2C-BF6E-678344D311A1}"/>
              </a:ext>
            </a:extLst>
          </p:cNvPr>
          <p:cNvSpPr>
            <a:spLocks noGrp="1"/>
          </p:cNvSpPr>
          <p:nvPr>
            <p:ph type="ctrTitle"/>
          </p:nvPr>
        </p:nvSpPr>
        <p:spPr>
          <a:xfrm>
            <a:off x="1524001" y="2775389"/>
            <a:ext cx="9144000" cy="734574"/>
          </a:xfrm>
        </p:spPr>
        <p:txBody>
          <a:bodyPr anchor="b"/>
          <a:lstStyle>
            <a:lvl1pPr algn="ctr">
              <a:defRPr sz="4773"/>
            </a:lvl1pPr>
          </a:lstStyle>
          <a:p>
            <a:r>
              <a:rPr lang="en-US"/>
              <a:t>Click to edit Master title style</a:t>
            </a:r>
            <a:endParaRPr lang="nl-BE"/>
          </a:p>
        </p:txBody>
      </p:sp>
      <p:sp>
        <p:nvSpPr>
          <p:cNvPr id="3" name="Subtitle 2">
            <a:extLst>
              <a:ext uri="{FF2B5EF4-FFF2-40B4-BE49-F238E27FC236}">
                <a16:creationId xmlns:a16="http://schemas.microsoft.com/office/drawing/2014/main" id="{9CB0AADA-8EE5-48B7-99ED-EF43BEA673DF}"/>
              </a:ext>
            </a:extLst>
          </p:cNvPr>
          <p:cNvSpPr>
            <a:spLocks noGrp="1"/>
          </p:cNvSpPr>
          <p:nvPr>
            <p:ph type="subTitle" idx="1"/>
          </p:nvPr>
        </p:nvSpPr>
        <p:spPr>
          <a:xfrm>
            <a:off x="1524001" y="3602039"/>
            <a:ext cx="9144000" cy="293806"/>
          </a:xfrm>
        </p:spPr>
        <p:txBody>
          <a:bodyPr/>
          <a:lstStyle>
            <a:lvl1pPr marL="0" indent="0" algn="ctr">
              <a:buNone/>
              <a:defRPr sz="1909"/>
            </a:lvl1pPr>
            <a:lvl2pPr marL="363676" indent="0" algn="ctr">
              <a:buNone/>
              <a:defRPr sz="1591"/>
            </a:lvl2pPr>
            <a:lvl3pPr marL="727352" indent="0" algn="ctr">
              <a:buNone/>
              <a:defRPr sz="1432"/>
            </a:lvl3pPr>
            <a:lvl4pPr marL="1091028" indent="0" algn="ctr">
              <a:buNone/>
              <a:defRPr sz="1272"/>
            </a:lvl4pPr>
            <a:lvl5pPr marL="1454704" indent="0" algn="ctr">
              <a:buNone/>
              <a:defRPr sz="1272"/>
            </a:lvl5pPr>
            <a:lvl6pPr marL="1818381" indent="0" algn="ctr">
              <a:buNone/>
              <a:defRPr sz="1272"/>
            </a:lvl6pPr>
            <a:lvl7pPr marL="2182057" indent="0" algn="ctr">
              <a:buNone/>
              <a:defRPr sz="1272"/>
            </a:lvl7pPr>
            <a:lvl8pPr marL="2545733" indent="0" algn="ctr">
              <a:buNone/>
              <a:defRPr sz="1272"/>
            </a:lvl8pPr>
            <a:lvl9pPr marL="2909409" indent="0" algn="ctr">
              <a:buNone/>
              <a:defRPr sz="1272"/>
            </a:lvl9pPr>
          </a:lstStyle>
          <a:p>
            <a:r>
              <a:rPr lang="en-US"/>
              <a:t>Click to edit Master subtitle style</a:t>
            </a:r>
            <a:endParaRPr lang="nl-BE"/>
          </a:p>
        </p:txBody>
      </p:sp>
      <p:sp>
        <p:nvSpPr>
          <p:cNvPr id="4" name="Date Placeholder 3">
            <a:extLst>
              <a:ext uri="{FF2B5EF4-FFF2-40B4-BE49-F238E27FC236}">
                <a16:creationId xmlns:a16="http://schemas.microsoft.com/office/drawing/2014/main" id="{70DE3CE2-0702-4DD1-B832-0F03BF3350D5}"/>
              </a:ext>
            </a:extLst>
          </p:cNvPr>
          <p:cNvSpPr>
            <a:spLocks noGrp="1"/>
          </p:cNvSpPr>
          <p:nvPr>
            <p:ph type="dt" sz="half" idx="10"/>
          </p:nvPr>
        </p:nvSpPr>
        <p:spPr>
          <a:xfrm>
            <a:off x="747184" y="6597536"/>
            <a:ext cx="703462" cy="139590"/>
          </a:xfrm>
        </p:spPr>
        <p:txBody>
          <a:bodyPr/>
          <a:lstStyle/>
          <a:p>
            <a:fld id="{A613069F-8FA6-497C-AAC7-A8C03661DD28}" type="datetimeFigureOut">
              <a:rPr lang="nl-BE" smtClean="0"/>
              <a:t>15/02/2024</a:t>
            </a:fld>
            <a:endParaRPr lang="nl-BE"/>
          </a:p>
        </p:txBody>
      </p:sp>
      <p:sp>
        <p:nvSpPr>
          <p:cNvPr id="5" name="Footer Placeholder 4">
            <a:extLst>
              <a:ext uri="{FF2B5EF4-FFF2-40B4-BE49-F238E27FC236}">
                <a16:creationId xmlns:a16="http://schemas.microsoft.com/office/drawing/2014/main" id="{5193E001-CC20-42F1-83E3-41E59436B0A3}"/>
              </a:ext>
            </a:extLst>
          </p:cNvPr>
          <p:cNvSpPr>
            <a:spLocks noGrp="1"/>
          </p:cNvSpPr>
          <p:nvPr>
            <p:ph type="ftr" sz="quarter" idx="11"/>
          </p:nvPr>
        </p:nvSpPr>
        <p:spPr/>
        <p:txBody>
          <a:bodyPr/>
          <a:lstStyle/>
          <a:p>
            <a:endParaRPr lang="nl-BE"/>
          </a:p>
        </p:txBody>
      </p:sp>
      <p:sp>
        <p:nvSpPr>
          <p:cNvPr id="6" name="Slide Number Placeholder 5">
            <a:extLst>
              <a:ext uri="{FF2B5EF4-FFF2-40B4-BE49-F238E27FC236}">
                <a16:creationId xmlns:a16="http://schemas.microsoft.com/office/drawing/2014/main" id="{655A1E73-884C-4D21-B344-FDB3336CCF7C}"/>
              </a:ext>
            </a:extLst>
          </p:cNvPr>
          <p:cNvSpPr>
            <a:spLocks noGrp="1"/>
          </p:cNvSpPr>
          <p:nvPr>
            <p:ph type="sldNum" sz="quarter" idx="12"/>
          </p:nvPr>
        </p:nvSpPr>
        <p:spPr/>
        <p:txBody>
          <a:bodyPr/>
          <a:lstStyle/>
          <a:p>
            <a:fld id="{99823F99-189D-4E56-9BC3-59EE13F45150}" type="slidenum">
              <a:rPr lang="nl-BE" smtClean="0"/>
              <a:t>‹#›</a:t>
            </a:fld>
            <a:endParaRPr lang="nl-BE"/>
          </a:p>
        </p:txBody>
      </p:sp>
    </p:spTree>
    <p:extLst>
      <p:ext uri="{BB962C8B-B14F-4D97-AF65-F5344CB8AC3E}">
        <p14:creationId xmlns:p14="http://schemas.microsoft.com/office/powerpoint/2010/main" val="18072997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E AGENDA OPTION 4">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AD126517-0A2A-0809-18B1-80B827D26D00}"/>
              </a:ext>
            </a:extLst>
          </p:cNvPr>
          <p:cNvSpPr>
            <a:spLocks noGrp="1"/>
          </p:cNvSpPr>
          <p:nvPr>
            <p:ph type="body" sz="quarter" idx="11" hasCustomPrompt="1"/>
          </p:nvPr>
        </p:nvSpPr>
        <p:spPr>
          <a:xfrm>
            <a:off x="1888711" y="779537"/>
            <a:ext cx="2676525" cy="581025"/>
          </a:xfrm>
          <a:prstGeom prst="rect">
            <a:avLst/>
          </a:prstGeom>
        </p:spPr>
        <p:txBody>
          <a:bodyPr/>
          <a:lstStyle>
            <a:lvl1pPr marL="0" indent="0">
              <a:buNone/>
              <a:defRPr lang="en-BE" sz="41300" kern="1200" dirty="0">
                <a:solidFill>
                  <a:schemeClr val="bg1">
                    <a:lumMod val="95000"/>
                  </a:schemeClr>
                </a:solidFill>
                <a:latin typeface="Bodoni MT" panose="02070603080606020203" pitchFamily="18" charset="77"/>
                <a:ea typeface="+mj-ea"/>
                <a:cs typeface="Iskoola Pota" panose="020B0502040204020203" pitchFamily="34" charset="77"/>
              </a:defRPr>
            </a:lvl1pPr>
          </a:lstStyle>
          <a:p>
            <a:pPr lvl="0"/>
            <a:r>
              <a:rPr lang="en-BE"/>
              <a:t>A</a:t>
            </a:r>
          </a:p>
        </p:txBody>
      </p:sp>
      <p:cxnSp>
        <p:nvCxnSpPr>
          <p:cNvPr id="8" name="Straight Connector 7">
            <a:extLst>
              <a:ext uri="{FF2B5EF4-FFF2-40B4-BE49-F238E27FC236}">
                <a16:creationId xmlns:a16="http://schemas.microsoft.com/office/drawing/2014/main" id="{ECB754D3-B723-90D5-F927-AE5F3979136D}"/>
              </a:ext>
            </a:extLst>
          </p:cNvPr>
          <p:cNvCxnSpPr>
            <a:cxnSpLocks/>
          </p:cNvCxnSpPr>
          <p:nvPr userDrawn="1"/>
        </p:nvCxnSpPr>
        <p:spPr>
          <a:xfrm>
            <a:off x="437390" y="587639"/>
            <a:ext cx="1675546" cy="0"/>
          </a:xfrm>
          <a:prstGeom prst="line">
            <a:avLst/>
          </a:prstGeom>
          <a:noFill/>
          <a:ln w="12700" cap="flat" cmpd="sng" algn="ctr">
            <a:solidFill>
              <a:srgbClr val="DCCF7F"/>
            </a:solidFill>
            <a:prstDash val="solid"/>
            <a:miter lim="800000"/>
          </a:ln>
          <a:effectLst/>
        </p:spPr>
      </p:cxnSp>
      <p:sp>
        <p:nvSpPr>
          <p:cNvPr id="10" name="Text Placeholder 5">
            <a:extLst>
              <a:ext uri="{FF2B5EF4-FFF2-40B4-BE49-F238E27FC236}">
                <a16:creationId xmlns:a16="http://schemas.microsoft.com/office/drawing/2014/main" id="{8D4E74AE-BE2A-555B-2C3C-E2E4528A13C1}"/>
              </a:ext>
            </a:extLst>
          </p:cNvPr>
          <p:cNvSpPr>
            <a:spLocks noGrp="1"/>
          </p:cNvSpPr>
          <p:nvPr>
            <p:ph type="body" sz="quarter" idx="10" hasCustomPrompt="1"/>
          </p:nvPr>
        </p:nvSpPr>
        <p:spPr>
          <a:xfrm>
            <a:off x="437390" y="304079"/>
            <a:ext cx="5363564" cy="228026"/>
          </a:xfrm>
          <a:prstGeom prst="rect">
            <a:avLst/>
          </a:prstGeom>
        </p:spPr>
        <p:txBody>
          <a:bodyPr>
            <a:noAutofit/>
          </a:bodyPr>
          <a:lstStyle>
            <a:lvl1pPr marL="0" inden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a:defRPr/>
            </a:lvl2pPr>
            <a:lvl3pPr>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tabLst/>
              <a:defRPr/>
            </a:pPr>
            <a:r>
              <a:rPr lang="en-GB"/>
              <a:t>THE AGENDA</a:t>
            </a:r>
            <a:endParaRPr lang="en-BE"/>
          </a:p>
        </p:txBody>
      </p:sp>
      <p:cxnSp>
        <p:nvCxnSpPr>
          <p:cNvPr id="17" name="Straight Connector 16">
            <a:extLst>
              <a:ext uri="{FF2B5EF4-FFF2-40B4-BE49-F238E27FC236}">
                <a16:creationId xmlns:a16="http://schemas.microsoft.com/office/drawing/2014/main" id="{E7AF3284-0136-6B77-9167-B046275AB5B1}"/>
              </a:ext>
            </a:extLst>
          </p:cNvPr>
          <p:cNvCxnSpPr>
            <a:cxnSpLocks/>
          </p:cNvCxnSpPr>
          <p:nvPr userDrawn="1"/>
        </p:nvCxnSpPr>
        <p:spPr>
          <a:xfrm>
            <a:off x="6571785" y="2324079"/>
            <a:ext cx="0" cy="2208787"/>
          </a:xfrm>
          <a:prstGeom prst="line">
            <a:avLst/>
          </a:prstGeom>
          <a:ln w="12700">
            <a:solidFill>
              <a:srgbClr val="C7AB68"/>
            </a:solidFill>
          </a:ln>
        </p:spPr>
        <p:style>
          <a:lnRef idx="1">
            <a:schemeClr val="dk1"/>
          </a:lnRef>
          <a:fillRef idx="0">
            <a:schemeClr val="dk1"/>
          </a:fillRef>
          <a:effectRef idx="0">
            <a:schemeClr val="dk1"/>
          </a:effectRef>
          <a:fontRef idx="minor">
            <a:schemeClr val="tx1"/>
          </a:fontRef>
        </p:style>
      </p:cxnSp>
      <p:sp>
        <p:nvSpPr>
          <p:cNvPr id="4" name="Text Placeholder 2">
            <a:extLst>
              <a:ext uri="{FF2B5EF4-FFF2-40B4-BE49-F238E27FC236}">
                <a16:creationId xmlns:a16="http://schemas.microsoft.com/office/drawing/2014/main" id="{C9A54C02-2288-CBAC-8193-5C8FFD6C022B}"/>
              </a:ext>
            </a:extLst>
          </p:cNvPr>
          <p:cNvSpPr>
            <a:spLocks noGrp="1"/>
          </p:cNvSpPr>
          <p:nvPr>
            <p:ph type="body" sz="quarter" idx="13" hasCustomPrompt="1"/>
          </p:nvPr>
        </p:nvSpPr>
        <p:spPr>
          <a:xfrm>
            <a:off x="1547527" y="2983077"/>
            <a:ext cx="4332137" cy="804862"/>
          </a:xfrm>
          <a:prstGeom prst="rect">
            <a:avLst/>
          </a:prstGeom>
        </p:spPr>
        <p:txBody>
          <a:bodyPr/>
          <a:lstStyle>
            <a:lvl1pPr marL="0" indent="0" algn="l" defTabSz="914400" rtl="0" eaLnBrk="1" latinLnBrk="0" hangingPunct="1">
              <a:lnSpc>
                <a:spcPct val="90000"/>
              </a:lnSpc>
              <a:spcBef>
                <a:spcPct val="0"/>
              </a:spcBef>
              <a:buNone/>
              <a:defRPr lang="en-BE" sz="6600" b="1" kern="1200" dirty="0">
                <a:solidFill>
                  <a:schemeClr val="tx1"/>
                </a:solidFill>
                <a:latin typeface="AvenirNext LT Pro Bold" panose="020B0504020202020204" pitchFamily="34" charset="77"/>
                <a:ea typeface="+mj-ea"/>
                <a:cs typeface="+mj-cs"/>
              </a:defRPr>
            </a:lvl1pPr>
          </a:lstStyle>
          <a:p>
            <a:pPr lvl="0"/>
            <a:r>
              <a:rPr lang="en-GB"/>
              <a:t>Agenda</a:t>
            </a:r>
            <a:endParaRPr lang="en-BE"/>
          </a:p>
        </p:txBody>
      </p:sp>
      <p:sp>
        <p:nvSpPr>
          <p:cNvPr id="7" name="Text Placeholder 6">
            <a:extLst>
              <a:ext uri="{FF2B5EF4-FFF2-40B4-BE49-F238E27FC236}">
                <a16:creationId xmlns:a16="http://schemas.microsoft.com/office/drawing/2014/main" id="{26A55B5E-73B4-A2D9-FF5F-1653AA970FB4}"/>
              </a:ext>
            </a:extLst>
          </p:cNvPr>
          <p:cNvSpPr>
            <a:spLocks noGrp="1"/>
          </p:cNvSpPr>
          <p:nvPr>
            <p:ph type="body" sz="quarter" idx="15" hasCustomPrompt="1"/>
          </p:nvPr>
        </p:nvSpPr>
        <p:spPr>
          <a:xfrm>
            <a:off x="7339013" y="2638000"/>
            <a:ext cx="4557712" cy="1580943"/>
          </a:xfrm>
          <a:prstGeom prst="rect">
            <a:avLst/>
          </a:prstGeom>
        </p:spPr>
        <p:txBody>
          <a:bodyPr/>
          <a:lstStyle>
            <a:lvl1pPr marL="342900" indent="-342900" algn="l" defTabSz="914400" rtl="0" eaLnBrk="1" latinLnBrk="0" hangingPunct="1">
              <a:lnSpc>
                <a:spcPct val="100000"/>
              </a:lnSpc>
              <a:spcBef>
                <a:spcPts val="1000"/>
              </a:spcBef>
              <a:buFont typeface="Arial" panose="020B0604020202020204" pitchFamily="34" charset="0"/>
              <a:buAutoNum type="arabicPeriod"/>
              <a:defRPr lang="en-BE" sz="1800" kern="1200" dirty="0">
                <a:solidFill>
                  <a:schemeClr val="tx1"/>
                </a:solidFill>
                <a:latin typeface="AvenirNext LT Pro Bold" panose="020B0504020202020204" pitchFamily="34" charset="77"/>
                <a:ea typeface="+mn-ea"/>
                <a:cs typeface="+mn-cs"/>
              </a:defRPr>
            </a:lvl1pPr>
          </a:lstStyle>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lang="en-BE">
                <a:latin typeface="AvenirNext LT Pro Bold" panose="020B0504020202020204" pitchFamily="34" charset="77"/>
              </a:rPr>
              <a:t>Chapter Title</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lang="en-BE">
                <a:latin typeface="AvenirNext LT Pro Bold" panose="020B0504020202020204" pitchFamily="34" charset="77"/>
              </a:rPr>
              <a:t>Chapter Title</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lang="en-BE">
                <a:latin typeface="AvenirNext LT Pro Bold" panose="020B0504020202020204" pitchFamily="34" charset="77"/>
              </a:rPr>
              <a:t>Chapter Title</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lang="en-BE">
                <a:latin typeface="AvenirNext LT Pro Bold" panose="020B0504020202020204" pitchFamily="34" charset="77"/>
              </a:rPr>
              <a:t>Chapter Title</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endParaRPr lang="en-BE">
              <a:latin typeface="AvenirNext LT Pro Bold" panose="020B0504020202020204" pitchFamily="34" charset="77"/>
            </a:endParaRPr>
          </a:p>
          <a:p>
            <a:pPr marL="342900" indent="-342900">
              <a:buAutoNum type="arabicPeriod"/>
            </a:pPr>
            <a:endParaRPr lang="en-BE">
              <a:latin typeface="AvenirNext LT Pro Bold" panose="020B0504020202020204" pitchFamily="34" charset="77"/>
            </a:endParaRPr>
          </a:p>
          <a:p>
            <a:pPr marL="342900" indent="-342900">
              <a:buAutoNum type="arabicPeriod"/>
            </a:pPr>
            <a:endParaRPr lang="en-BE">
              <a:latin typeface="AvenirNext LT Pro Bold" panose="020B0504020202020204" pitchFamily="34" charset="77"/>
            </a:endParaRPr>
          </a:p>
          <a:p>
            <a:pPr marL="342900" indent="-342900">
              <a:buAutoNum type="arabicPeriod"/>
            </a:pPr>
            <a:endParaRPr lang="en-BE">
              <a:latin typeface="AvenirNext LT Pro Bold" panose="020B0504020202020204" pitchFamily="34" charset="77"/>
            </a:endParaRPr>
          </a:p>
        </p:txBody>
      </p:sp>
      <p:pic>
        <p:nvPicPr>
          <p:cNvPr id="2" name="Picture 1">
            <a:extLst>
              <a:ext uri="{FF2B5EF4-FFF2-40B4-BE49-F238E27FC236}">
                <a16:creationId xmlns:a16="http://schemas.microsoft.com/office/drawing/2014/main" id="{54B96D25-9933-6A04-102C-EC22DF4789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33043" y="5469694"/>
            <a:ext cx="877957" cy="1133447"/>
          </a:xfrm>
          <a:prstGeom prst="rect">
            <a:avLst/>
          </a:prstGeom>
        </p:spPr>
      </p:pic>
    </p:spTree>
    <p:extLst>
      <p:ext uri="{BB962C8B-B14F-4D97-AF65-F5344CB8AC3E}">
        <p14:creationId xmlns:p14="http://schemas.microsoft.com/office/powerpoint/2010/main" val="31570392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E AGENDA OPTION 5">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12757AB-25B7-64DF-BFD5-9C33EA632626}"/>
              </a:ext>
            </a:extLst>
          </p:cNvPr>
          <p:cNvPicPr>
            <a:picLocks noChangeAspect="1"/>
          </p:cNvPicPr>
          <p:nvPr userDrawn="1"/>
        </p:nvPicPr>
        <p:blipFill rotWithShape="1">
          <a:blip r:embed="rId2" cstate="screen">
            <a:alphaModFix amt="5000"/>
            <a:extLst>
              <a:ext uri="{28A0092B-C50C-407E-A947-70E740481C1C}">
                <a14:useLocalDpi xmlns:a14="http://schemas.microsoft.com/office/drawing/2010/main"/>
              </a:ext>
            </a:extLst>
          </a:blip>
          <a:srcRect b="13637"/>
          <a:stretch/>
        </p:blipFill>
        <p:spPr>
          <a:xfrm>
            <a:off x="418502" y="351505"/>
            <a:ext cx="5840234" cy="6506496"/>
          </a:xfrm>
          <a:prstGeom prst="rect">
            <a:avLst/>
          </a:prstGeom>
        </p:spPr>
      </p:pic>
      <p:cxnSp>
        <p:nvCxnSpPr>
          <p:cNvPr id="8" name="Straight Connector 7">
            <a:extLst>
              <a:ext uri="{FF2B5EF4-FFF2-40B4-BE49-F238E27FC236}">
                <a16:creationId xmlns:a16="http://schemas.microsoft.com/office/drawing/2014/main" id="{ECB754D3-B723-90D5-F927-AE5F3979136D}"/>
              </a:ext>
            </a:extLst>
          </p:cNvPr>
          <p:cNvCxnSpPr>
            <a:cxnSpLocks/>
          </p:cNvCxnSpPr>
          <p:nvPr userDrawn="1"/>
        </p:nvCxnSpPr>
        <p:spPr>
          <a:xfrm>
            <a:off x="437390" y="587639"/>
            <a:ext cx="1675546" cy="0"/>
          </a:xfrm>
          <a:prstGeom prst="line">
            <a:avLst/>
          </a:prstGeom>
          <a:noFill/>
          <a:ln w="12700" cap="flat" cmpd="sng" algn="ctr">
            <a:solidFill>
              <a:srgbClr val="DCCF7F"/>
            </a:solidFill>
            <a:prstDash val="solid"/>
            <a:miter lim="800000"/>
          </a:ln>
          <a:effectLst/>
        </p:spPr>
      </p:cxnSp>
      <p:sp>
        <p:nvSpPr>
          <p:cNvPr id="10" name="Text Placeholder 5">
            <a:extLst>
              <a:ext uri="{FF2B5EF4-FFF2-40B4-BE49-F238E27FC236}">
                <a16:creationId xmlns:a16="http://schemas.microsoft.com/office/drawing/2014/main" id="{8D4E74AE-BE2A-555B-2C3C-E2E4528A13C1}"/>
              </a:ext>
            </a:extLst>
          </p:cNvPr>
          <p:cNvSpPr>
            <a:spLocks noGrp="1"/>
          </p:cNvSpPr>
          <p:nvPr>
            <p:ph type="body" sz="quarter" idx="10" hasCustomPrompt="1"/>
          </p:nvPr>
        </p:nvSpPr>
        <p:spPr>
          <a:xfrm>
            <a:off x="437390" y="304079"/>
            <a:ext cx="5363564" cy="228026"/>
          </a:xfrm>
          <a:prstGeom prst="rect">
            <a:avLst/>
          </a:prstGeom>
        </p:spPr>
        <p:txBody>
          <a:bodyPr>
            <a:noAutofit/>
          </a:bodyPr>
          <a:lstStyle>
            <a:lvl1pPr marL="0" inden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a:defRPr/>
            </a:lvl2pPr>
            <a:lvl3pPr>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tabLst/>
              <a:defRPr/>
            </a:pPr>
            <a:r>
              <a:rPr lang="en-GB"/>
              <a:t>THE AGENDA</a:t>
            </a:r>
            <a:endParaRPr lang="en-BE"/>
          </a:p>
        </p:txBody>
      </p:sp>
      <p:cxnSp>
        <p:nvCxnSpPr>
          <p:cNvPr id="17" name="Straight Connector 16">
            <a:extLst>
              <a:ext uri="{FF2B5EF4-FFF2-40B4-BE49-F238E27FC236}">
                <a16:creationId xmlns:a16="http://schemas.microsoft.com/office/drawing/2014/main" id="{E7AF3284-0136-6B77-9167-B046275AB5B1}"/>
              </a:ext>
            </a:extLst>
          </p:cNvPr>
          <p:cNvCxnSpPr>
            <a:cxnSpLocks/>
          </p:cNvCxnSpPr>
          <p:nvPr userDrawn="1"/>
        </p:nvCxnSpPr>
        <p:spPr>
          <a:xfrm>
            <a:off x="6571785" y="2324079"/>
            <a:ext cx="0" cy="2208787"/>
          </a:xfrm>
          <a:prstGeom prst="line">
            <a:avLst/>
          </a:prstGeom>
          <a:ln w="12700">
            <a:solidFill>
              <a:srgbClr val="C7AB68"/>
            </a:solidFill>
          </a:ln>
        </p:spPr>
        <p:style>
          <a:lnRef idx="1">
            <a:schemeClr val="dk1"/>
          </a:lnRef>
          <a:fillRef idx="0">
            <a:schemeClr val="dk1"/>
          </a:fillRef>
          <a:effectRef idx="0">
            <a:schemeClr val="dk1"/>
          </a:effectRef>
          <a:fontRef idx="minor">
            <a:schemeClr val="tx1"/>
          </a:fontRef>
        </p:style>
      </p:cxnSp>
      <p:sp>
        <p:nvSpPr>
          <p:cNvPr id="2" name="Text Placeholder 2">
            <a:extLst>
              <a:ext uri="{FF2B5EF4-FFF2-40B4-BE49-F238E27FC236}">
                <a16:creationId xmlns:a16="http://schemas.microsoft.com/office/drawing/2014/main" id="{D878AD8C-CF40-6EC2-45FB-07445F8C2C45}"/>
              </a:ext>
            </a:extLst>
          </p:cNvPr>
          <p:cNvSpPr>
            <a:spLocks noGrp="1"/>
          </p:cNvSpPr>
          <p:nvPr>
            <p:ph type="body" sz="quarter" idx="13" hasCustomPrompt="1"/>
          </p:nvPr>
        </p:nvSpPr>
        <p:spPr>
          <a:xfrm>
            <a:off x="1547527" y="2983077"/>
            <a:ext cx="4332137" cy="804862"/>
          </a:xfrm>
          <a:prstGeom prst="rect">
            <a:avLst/>
          </a:prstGeom>
        </p:spPr>
        <p:txBody>
          <a:bodyPr/>
          <a:lstStyle>
            <a:lvl1pPr marL="0" indent="0" algn="l" defTabSz="914400" rtl="0" eaLnBrk="1" latinLnBrk="0" hangingPunct="1">
              <a:lnSpc>
                <a:spcPct val="90000"/>
              </a:lnSpc>
              <a:spcBef>
                <a:spcPct val="0"/>
              </a:spcBef>
              <a:buNone/>
              <a:defRPr lang="en-BE" sz="6600" b="1" kern="1200" dirty="0">
                <a:solidFill>
                  <a:schemeClr val="tx1"/>
                </a:solidFill>
                <a:latin typeface="AvenirNext LT Pro Bold" panose="020B0504020202020204" pitchFamily="34" charset="77"/>
                <a:ea typeface="+mj-ea"/>
                <a:cs typeface="+mj-cs"/>
              </a:defRPr>
            </a:lvl1pPr>
          </a:lstStyle>
          <a:p>
            <a:pPr lvl="0"/>
            <a:r>
              <a:rPr lang="en-GB"/>
              <a:t>Agenda</a:t>
            </a:r>
            <a:endParaRPr lang="en-BE"/>
          </a:p>
        </p:txBody>
      </p:sp>
      <p:sp>
        <p:nvSpPr>
          <p:cNvPr id="3" name="Text Placeholder 6">
            <a:extLst>
              <a:ext uri="{FF2B5EF4-FFF2-40B4-BE49-F238E27FC236}">
                <a16:creationId xmlns:a16="http://schemas.microsoft.com/office/drawing/2014/main" id="{28C10BB9-F49F-9C61-7DB5-53081542AD65}"/>
              </a:ext>
            </a:extLst>
          </p:cNvPr>
          <p:cNvSpPr>
            <a:spLocks noGrp="1"/>
          </p:cNvSpPr>
          <p:nvPr>
            <p:ph type="body" sz="quarter" idx="15" hasCustomPrompt="1"/>
          </p:nvPr>
        </p:nvSpPr>
        <p:spPr>
          <a:xfrm>
            <a:off x="7339013" y="2638000"/>
            <a:ext cx="4557712" cy="1580943"/>
          </a:xfrm>
          <a:prstGeom prst="rect">
            <a:avLst/>
          </a:prstGeom>
        </p:spPr>
        <p:txBody>
          <a:bodyPr/>
          <a:lstStyle>
            <a:lvl1pPr marL="342900" indent="-342900" algn="l" defTabSz="914400" rtl="0" eaLnBrk="1" latinLnBrk="0" hangingPunct="1">
              <a:lnSpc>
                <a:spcPct val="100000"/>
              </a:lnSpc>
              <a:spcBef>
                <a:spcPts val="1000"/>
              </a:spcBef>
              <a:buFont typeface="Arial" panose="020B0604020202020204" pitchFamily="34" charset="0"/>
              <a:buAutoNum type="arabicPeriod"/>
              <a:defRPr lang="en-BE" sz="1800" kern="1200" dirty="0">
                <a:solidFill>
                  <a:schemeClr val="tx1"/>
                </a:solidFill>
                <a:latin typeface="AvenirNext LT Pro Bold" panose="020B0504020202020204" pitchFamily="34" charset="77"/>
                <a:ea typeface="+mn-ea"/>
                <a:cs typeface="+mn-cs"/>
              </a:defRPr>
            </a:lvl1pPr>
          </a:lstStyle>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lang="en-BE">
                <a:latin typeface="AvenirNext LT Pro Bold" panose="020B0504020202020204" pitchFamily="34" charset="77"/>
              </a:rPr>
              <a:t>Chapter Title</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lang="en-BE">
                <a:latin typeface="AvenirNext LT Pro Bold" panose="020B0504020202020204" pitchFamily="34" charset="77"/>
              </a:rPr>
              <a:t>Chapter Title</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lang="en-BE">
                <a:latin typeface="AvenirNext LT Pro Bold" panose="020B0504020202020204" pitchFamily="34" charset="77"/>
              </a:rPr>
              <a:t>Chapter Title</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lang="en-BE">
                <a:latin typeface="AvenirNext LT Pro Bold" panose="020B0504020202020204" pitchFamily="34" charset="77"/>
              </a:rPr>
              <a:t>Chapter Title</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endParaRPr lang="en-BE">
              <a:latin typeface="AvenirNext LT Pro Bold" panose="020B0504020202020204" pitchFamily="34" charset="77"/>
            </a:endParaRPr>
          </a:p>
          <a:p>
            <a:pPr marL="342900" indent="-342900">
              <a:buAutoNum type="arabicPeriod"/>
            </a:pPr>
            <a:endParaRPr lang="en-BE">
              <a:latin typeface="AvenirNext LT Pro Bold" panose="020B0504020202020204" pitchFamily="34" charset="77"/>
            </a:endParaRPr>
          </a:p>
          <a:p>
            <a:pPr marL="342900" indent="-342900">
              <a:buAutoNum type="arabicPeriod"/>
            </a:pPr>
            <a:endParaRPr lang="en-BE">
              <a:latin typeface="AvenirNext LT Pro Bold" panose="020B0504020202020204" pitchFamily="34" charset="77"/>
            </a:endParaRPr>
          </a:p>
          <a:p>
            <a:pPr marL="342900" indent="-342900">
              <a:buAutoNum type="arabicPeriod"/>
            </a:pPr>
            <a:endParaRPr lang="en-BE">
              <a:latin typeface="AvenirNext LT Pro Bold" panose="020B0504020202020204" pitchFamily="34" charset="77"/>
            </a:endParaRPr>
          </a:p>
        </p:txBody>
      </p:sp>
      <p:pic>
        <p:nvPicPr>
          <p:cNvPr id="5" name="Picture 4">
            <a:extLst>
              <a:ext uri="{FF2B5EF4-FFF2-40B4-BE49-F238E27FC236}">
                <a16:creationId xmlns:a16="http://schemas.microsoft.com/office/drawing/2014/main" id="{3FE925CB-C79D-12E7-7E5F-74483AC7E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33043" y="5469694"/>
            <a:ext cx="877957" cy="1133447"/>
          </a:xfrm>
          <a:prstGeom prst="rect">
            <a:avLst/>
          </a:prstGeom>
        </p:spPr>
      </p:pic>
    </p:spTree>
    <p:extLst>
      <p:ext uri="{BB962C8B-B14F-4D97-AF65-F5344CB8AC3E}">
        <p14:creationId xmlns:p14="http://schemas.microsoft.com/office/powerpoint/2010/main" val="38724442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HE AGENDA OPTION 5">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12757AB-25B7-64DF-BFD5-9C33EA632626}"/>
              </a:ext>
            </a:extLst>
          </p:cNvPr>
          <p:cNvPicPr>
            <a:picLocks noChangeAspect="1"/>
          </p:cNvPicPr>
          <p:nvPr userDrawn="1"/>
        </p:nvPicPr>
        <p:blipFill rotWithShape="1">
          <a:blip r:embed="rId2" cstate="screen">
            <a:alphaModFix amt="5000"/>
            <a:extLst>
              <a:ext uri="{28A0092B-C50C-407E-A947-70E740481C1C}">
                <a14:useLocalDpi xmlns:a14="http://schemas.microsoft.com/office/drawing/2010/main"/>
              </a:ext>
            </a:extLst>
          </a:blip>
          <a:srcRect b="13637"/>
          <a:stretch/>
        </p:blipFill>
        <p:spPr>
          <a:xfrm>
            <a:off x="82071" y="1009291"/>
            <a:ext cx="5249805" cy="5848710"/>
          </a:xfrm>
          <a:prstGeom prst="rect">
            <a:avLst/>
          </a:prstGeom>
        </p:spPr>
      </p:pic>
      <p:sp>
        <p:nvSpPr>
          <p:cNvPr id="10" name="Text Placeholder 5">
            <a:extLst>
              <a:ext uri="{FF2B5EF4-FFF2-40B4-BE49-F238E27FC236}">
                <a16:creationId xmlns:a16="http://schemas.microsoft.com/office/drawing/2014/main" id="{8D4E74AE-BE2A-555B-2C3C-E2E4528A13C1}"/>
              </a:ext>
            </a:extLst>
          </p:cNvPr>
          <p:cNvSpPr>
            <a:spLocks noGrp="1"/>
          </p:cNvSpPr>
          <p:nvPr>
            <p:ph type="body" sz="quarter" idx="10" hasCustomPrompt="1"/>
          </p:nvPr>
        </p:nvSpPr>
        <p:spPr>
          <a:xfrm>
            <a:off x="437390" y="304079"/>
            <a:ext cx="5363564" cy="228026"/>
          </a:xfrm>
          <a:prstGeom prst="rect">
            <a:avLst/>
          </a:prstGeom>
        </p:spPr>
        <p:txBody>
          <a:bodyPr>
            <a:noAutofit/>
          </a:bodyPr>
          <a:lstStyle>
            <a:lvl1pPr marL="0" inden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a:defRPr/>
            </a:lvl2pPr>
            <a:lvl3pPr>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tabLst/>
              <a:defRPr/>
            </a:pPr>
            <a:r>
              <a:rPr lang="en-GB"/>
              <a:t>THE AGENDA</a:t>
            </a:r>
            <a:endParaRPr lang="en-BE"/>
          </a:p>
        </p:txBody>
      </p:sp>
      <p:sp>
        <p:nvSpPr>
          <p:cNvPr id="2" name="Text Placeholder 2">
            <a:extLst>
              <a:ext uri="{FF2B5EF4-FFF2-40B4-BE49-F238E27FC236}">
                <a16:creationId xmlns:a16="http://schemas.microsoft.com/office/drawing/2014/main" id="{D878AD8C-CF40-6EC2-45FB-07445F8C2C45}"/>
              </a:ext>
            </a:extLst>
          </p:cNvPr>
          <p:cNvSpPr>
            <a:spLocks noGrp="1"/>
          </p:cNvSpPr>
          <p:nvPr>
            <p:ph type="body" sz="quarter" idx="13" hasCustomPrompt="1"/>
          </p:nvPr>
        </p:nvSpPr>
        <p:spPr>
          <a:xfrm>
            <a:off x="1547527" y="2983077"/>
            <a:ext cx="4332137" cy="804862"/>
          </a:xfrm>
          <a:prstGeom prst="rect">
            <a:avLst/>
          </a:prstGeom>
        </p:spPr>
        <p:txBody>
          <a:bodyPr/>
          <a:lstStyle>
            <a:lvl1pPr marL="0" indent="0" algn="l" defTabSz="914400" rtl="0" eaLnBrk="1" latinLnBrk="0" hangingPunct="1">
              <a:lnSpc>
                <a:spcPct val="90000"/>
              </a:lnSpc>
              <a:spcBef>
                <a:spcPct val="0"/>
              </a:spcBef>
              <a:buNone/>
              <a:defRPr lang="en-BE" sz="6600" b="1" kern="1200" dirty="0">
                <a:solidFill>
                  <a:schemeClr val="tx1"/>
                </a:solidFill>
                <a:latin typeface="AvenirNext LT Pro Bold" panose="020B0504020202020204" pitchFamily="34" charset="77"/>
                <a:ea typeface="+mj-ea"/>
                <a:cs typeface="+mj-cs"/>
              </a:defRPr>
            </a:lvl1pPr>
          </a:lstStyle>
          <a:p>
            <a:pPr lvl="0"/>
            <a:r>
              <a:rPr lang="en-GB"/>
              <a:t>Agenda</a:t>
            </a:r>
            <a:endParaRPr lang="en-BE"/>
          </a:p>
        </p:txBody>
      </p:sp>
      <p:sp>
        <p:nvSpPr>
          <p:cNvPr id="5" name="Text Placeholder 2">
            <a:extLst>
              <a:ext uri="{FF2B5EF4-FFF2-40B4-BE49-F238E27FC236}">
                <a16:creationId xmlns:a16="http://schemas.microsoft.com/office/drawing/2014/main" id="{AD58B086-5871-A890-23AF-8B1EF2E5CB56}"/>
              </a:ext>
            </a:extLst>
          </p:cNvPr>
          <p:cNvSpPr>
            <a:spLocks noGrp="1"/>
          </p:cNvSpPr>
          <p:nvPr>
            <p:ph type="body" sz="quarter" idx="19" hasCustomPrompt="1"/>
          </p:nvPr>
        </p:nvSpPr>
        <p:spPr>
          <a:xfrm>
            <a:off x="6640286" y="1312673"/>
            <a:ext cx="4107409" cy="4232654"/>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i="0">
                <a:latin typeface="AvenirNext LT Pro Bold" panose="020B0504020202020204" pitchFamily="34" charset="77"/>
              </a:defRPr>
            </a:lvl1pPr>
            <a:lvl2pPr marL="457200" indent="0">
              <a:buNone/>
              <a:defRPr sz="1600" b="0" i="0">
                <a:latin typeface="AvenirNext LT Pro Bold" panose="020B0504020202020204" pitchFamily="34" charset="77"/>
              </a:defRPr>
            </a:lvl2pPr>
            <a:lvl3pPr marL="914400" indent="0">
              <a:buNone/>
              <a:defRPr sz="1600" b="0" i="0">
                <a:latin typeface="AvenirNext LT Pro Bold" panose="020B0504020202020204" pitchFamily="34" charset="77"/>
              </a:defRPr>
            </a:lvl3pPr>
            <a:lvl4pPr marL="1371600" indent="0">
              <a:buNone/>
              <a:defRPr sz="1600" b="0" i="0">
                <a:latin typeface="AvenirNext LT Pro Bold" panose="020B0504020202020204" pitchFamily="34" charset="77"/>
              </a:defRPr>
            </a:lvl4pPr>
            <a:lvl5pPr marL="1828800" indent="0">
              <a:buNone/>
              <a:defRPr sz="1600" b="0" i="0">
                <a:latin typeface="AvenirNext LT Pro Bold" panose="020B0504020202020204" pitchFamily="34" charset="77"/>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uspendisse</a:t>
            </a:r>
            <a:r>
              <a:rPr lang="en-GB"/>
              <a:t> et </a:t>
            </a:r>
            <a:r>
              <a:rPr lang="en-GB" err="1"/>
              <a:t>imperdiet</a:t>
            </a:r>
            <a:r>
              <a:rPr lang="en-GB"/>
              <a:t> nisi. Proin a </a:t>
            </a:r>
            <a:r>
              <a:rPr lang="en-GB" err="1"/>
              <a:t>metus</a:t>
            </a:r>
            <a:r>
              <a:rPr lang="en-GB"/>
              <a:t> </a:t>
            </a:r>
            <a:r>
              <a:rPr lang="en-GB" err="1"/>
              <a:t>volutpat</a:t>
            </a:r>
            <a:r>
              <a:rPr lang="en-GB"/>
              <a:t> </a:t>
            </a:r>
            <a:r>
              <a:rPr lang="en-GB" err="1"/>
              <a:t>odio</a:t>
            </a:r>
            <a:r>
              <a:rPr lang="en-GB"/>
              <a:t> convallis fermentum. Nunc </a:t>
            </a:r>
            <a:r>
              <a:rPr lang="en-GB" err="1"/>
              <a:t>massa</a:t>
            </a:r>
            <a:r>
              <a:rPr lang="en-GB"/>
              <a:t> </a:t>
            </a:r>
            <a:r>
              <a:rPr lang="en-GB" err="1"/>
              <a:t>augue</a:t>
            </a:r>
            <a:r>
              <a:rPr lang="en-GB"/>
              <a:t>, dictum vitae lorem </a:t>
            </a:r>
            <a:r>
              <a:rPr lang="en-GB" err="1"/>
              <a:t>eget</a:t>
            </a:r>
            <a:r>
              <a:rPr lang="en-GB"/>
              <a:t>, </a:t>
            </a:r>
            <a:r>
              <a:rPr lang="en-GB" err="1"/>
              <a:t>feugiat</a:t>
            </a:r>
            <a:r>
              <a:rPr lang="en-GB"/>
              <a:t> </a:t>
            </a:r>
            <a:r>
              <a:rPr lang="en-GB" err="1"/>
              <a:t>scelerisque</a:t>
            </a:r>
            <a:r>
              <a:rPr lang="en-GB"/>
              <a:t> dui. Ut mi </a:t>
            </a:r>
            <a:r>
              <a:rPr lang="en-GB" err="1"/>
              <a:t>lacus</a:t>
            </a:r>
            <a:r>
              <a:rPr lang="en-GB"/>
              <a:t>, </a:t>
            </a:r>
            <a:r>
              <a:rPr lang="en-GB" err="1"/>
              <a:t>ornare</a:t>
            </a:r>
            <a:r>
              <a:rPr lang="en-GB"/>
              <a:t> sit </a:t>
            </a:r>
            <a:r>
              <a:rPr lang="en-GB" err="1"/>
              <a:t>amet</a:t>
            </a:r>
            <a:r>
              <a:rPr lang="en-GB"/>
              <a:t> </a:t>
            </a:r>
            <a:r>
              <a:rPr lang="en-GB" err="1"/>
              <a:t>suscipit</a:t>
            </a:r>
            <a:r>
              <a:rPr lang="en-GB"/>
              <a:t> et, </a:t>
            </a:r>
            <a:r>
              <a:rPr lang="en-GB" err="1"/>
              <a:t>laoreet</a:t>
            </a:r>
            <a:r>
              <a:rPr lang="en-GB"/>
              <a:t> in </a:t>
            </a:r>
            <a:r>
              <a:rPr lang="en-GB" err="1"/>
              <a:t>massa</a:t>
            </a:r>
            <a:r>
              <a:rPr lang="en-GB"/>
              <a:t>. Vestibulum sit </a:t>
            </a:r>
            <a:r>
              <a:rPr lang="en-GB" err="1"/>
              <a:t>amet</a:t>
            </a:r>
            <a:r>
              <a:rPr lang="en-GB"/>
              <a:t> </a:t>
            </a:r>
            <a:r>
              <a:rPr lang="en-GB" err="1"/>
              <a:t>velit</a:t>
            </a:r>
            <a:r>
              <a:rPr lang="en-GB"/>
              <a:t> a </a:t>
            </a:r>
            <a:r>
              <a:rPr lang="en-GB" err="1"/>
              <a:t>augue</a:t>
            </a:r>
            <a:r>
              <a:rPr lang="en-GB"/>
              <a:t> </a:t>
            </a:r>
            <a:r>
              <a:rPr lang="en-GB" err="1"/>
              <a:t>egestas</a:t>
            </a:r>
            <a:r>
              <a:rPr lang="en-GB"/>
              <a:t> </a:t>
            </a:r>
            <a:r>
              <a:rPr lang="en-GB" err="1"/>
              <a:t>luctus</a:t>
            </a:r>
            <a:r>
              <a:rPr lang="en-GB"/>
              <a:t> et a nisi. Click to edit Master text</a:t>
            </a:r>
            <a:endParaRPr lang="en-BE"/>
          </a:p>
        </p:txBody>
      </p:sp>
      <p:cxnSp>
        <p:nvCxnSpPr>
          <p:cNvPr id="6" name="Straight Connector 5">
            <a:extLst>
              <a:ext uri="{FF2B5EF4-FFF2-40B4-BE49-F238E27FC236}">
                <a16:creationId xmlns:a16="http://schemas.microsoft.com/office/drawing/2014/main" id="{D88B76C6-ED49-FD77-1D89-14312F1F08AA}"/>
              </a:ext>
            </a:extLst>
          </p:cNvPr>
          <p:cNvCxnSpPr>
            <a:cxnSpLocks/>
          </p:cNvCxnSpPr>
          <p:nvPr userDrawn="1"/>
        </p:nvCxnSpPr>
        <p:spPr>
          <a:xfrm flipV="1">
            <a:off x="6096000" y="1312673"/>
            <a:ext cx="0" cy="4409433"/>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41170AE-AF36-0787-7DAC-AEACEA4A27D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33043" y="5469694"/>
            <a:ext cx="877957" cy="1133447"/>
          </a:xfrm>
          <a:prstGeom prst="rect">
            <a:avLst/>
          </a:prstGeom>
        </p:spPr>
      </p:pic>
    </p:spTree>
    <p:extLst>
      <p:ext uri="{BB962C8B-B14F-4D97-AF65-F5344CB8AC3E}">
        <p14:creationId xmlns:p14="http://schemas.microsoft.com/office/powerpoint/2010/main" val="25362058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sp>
        <p:nvSpPr>
          <p:cNvPr id="12" name="Text Placeholder 35">
            <a:extLst>
              <a:ext uri="{FF2B5EF4-FFF2-40B4-BE49-F238E27FC236}">
                <a16:creationId xmlns:a16="http://schemas.microsoft.com/office/drawing/2014/main" id="{D4F7719C-958A-582B-053B-5A0E127E69D8}"/>
              </a:ext>
            </a:extLst>
          </p:cNvPr>
          <p:cNvSpPr>
            <a:spLocks noGrp="1"/>
          </p:cNvSpPr>
          <p:nvPr>
            <p:ph type="body" sz="quarter" idx="11" hasCustomPrompt="1"/>
          </p:nvPr>
        </p:nvSpPr>
        <p:spPr>
          <a:xfrm>
            <a:off x="2652032" y="1135894"/>
            <a:ext cx="6887936" cy="4586212"/>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40000" b="0" i="0" kern="1200" dirty="0">
                <a:solidFill>
                  <a:srgbClr val="CEB36E"/>
                </a:solidFill>
                <a:latin typeface="Bodoni MT" panose="02070603080606020203" pitchFamily="18" charset="77"/>
                <a:ea typeface="+mn-ea"/>
                <a:cs typeface="+mn-cs"/>
              </a:defRPr>
            </a:lvl1pPr>
          </a:lstStyle>
          <a:p>
            <a:pPr lvl="0"/>
            <a:r>
              <a:rPr lang="en-GB"/>
              <a:t>1</a:t>
            </a:r>
          </a:p>
        </p:txBody>
      </p:sp>
      <p:sp>
        <p:nvSpPr>
          <p:cNvPr id="11" name="Text Placeholder 2">
            <a:extLst>
              <a:ext uri="{FF2B5EF4-FFF2-40B4-BE49-F238E27FC236}">
                <a16:creationId xmlns:a16="http://schemas.microsoft.com/office/drawing/2014/main" id="{FDBBAD0F-B4DA-2C28-98DC-23FBE34C086C}"/>
              </a:ext>
            </a:extLst>
          </p:cNvPr>
          <p:cNvSpPr>
            <a:spLocks noGrp="1"/>
          </p:cNvSpPr>
          <p:nvPr>
            <p:ph type="body" sz="quarter" idx="18" hasCustomPrompt="1"/>
          </p:nvPr>
        </p:nvSpPr>
        <p:spPr>
          <a:xfrm>
            <a:off x="914852" y="1312673"/>
            <a:ext cx="10362296" cy="4232654"/>
          </a:xfrm>
          <a:prstGeom prst="rect">
            <a:avLst/>
          </a:prstGeom>
        </p:spPr>
        <p:txBody>
          <a:bodyPr anchor="ctr"/>
          <a:lstStyle>
            <a:lvl1pPr marL="0" indent="0" algn="ctr">
              <a:buNone/>
              <a:defRPr sz="5000" b="1" i="0">
                <a:latin typeface="AvenirNext LT Pro Bold" panose="020B0504020202020204" pitchFamily="34" charset="77"/>
              </a:defRPr>
            </a:lvl1pPr>
            <a:lvl2pPr marL="457200" indent="0">
              <a:buNone/>
              <a:defRPr sz="8800" b="1" i="0">
                <a:latin typeface="AvenirNext LT Pro Bold" panose="020B0504020202020204" pitchFamily="34" charset="77"/>
              </a:defRPr>
            </a:lvl2pPr>
            <a:lvl3pPr marL="914400" indent="0">
              <a:buNone/>
              <a:defRPr sz="8800" b="1" i="0">
                <a:latin typeface="AvenirNext LT Pro Bold" panose="020B0504020202020204" pitchFamily="34" charset="77"/>
              </a:defRPr>
            </a:lvl3pPr>
            <a:lvl4pPr marL="1371600" indent="0">
              <a:buNone/>
              <a:defRPr sz="8800" b="1" i="0">
                <a:latin typeface="AvenirNext LT Pro Bold" panose="020B0504020202020204" pitchFamily="34" charset="77"/>
              </a:defRPr>
            </a:lvl4pPr>
            <a:lvl5pPr marL="1828800" indent="0">
              <a:buNone/>
              <a:defRPr sz="8800" b="1" i="0">
                <a:latin typeface="AvenirNext LT Pro Bold" panose="020B0504020202020204" pitchFamily="34" charset="77"/>
              </a:defRPr>
            </a:lvl5pPr>
          </a:lstStyle>
          <a:p>
            <a:pPr lvl="0"/>
            <a:r>
              <a:rPr lang="en-GB"/>
              <a:t>Your chapter title</a:t>
            </a:r>
          </a:p>
        </p:txBody>
      </p:sp>
      <p:pic>
        <p:nvPicPr>
          <p:cNvPr id="3" name="Picture 2">
            <a:extLst>
              <a:ext uri="{FF2B5EF4-FFF2-40B4-BE49-F238E27FC236}">
                <a16:creationId xmlns:a16="http://schemas.microsoft.com/office/drawing/2014/main" id="{7D527C1E-5A88-E15D-8B32-B874017696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33043" y="5494852"/>
            <a:ext cx="877957" cy="1083131"/>
          </a:xfrm>
          <a:prstGeom prst="rect">
            <a:avLst/>
          </a:prstGeom>
        </p:spPr>
      </p:pic>
    </p:spTree>
    <p:extLst>
      <p:ext uri="{BB962C8B-B14F-4D97-AF65-F5344CB8AC3E}">
        <p14:creationId xmlns:p14="http://schemas.microsoft.com/office/powerpoint/2010/main" val="505183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TITLE OPTION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6CB96D5-B4E1-D85A-7AE6-5F75E67ADC35}"/>
              </a:ext>
            </a:extLst>
          </p:cNvPr>
          <p:cNvSpPr>
            <a:spLocks noGrp="1"/>
          </p:cNvSpPr>
          <p:nvPr>
            <p:ph type="pic" sz="quarter" idx="19"/>
          </p:nvPr>
        </p:nvSpPr>
        <p:spPr>
          <a:xfrm>
            <a:off x="0" y="0"/>
            <a:ext cx="12192000" cy="6858000"/>
          </a:xfrm>
          <a:prstGeom prst="rect">
            <a:avLst/>
          </a:prstGeom>
        </p:spPr>
        <p:txBody>
          <a:bodyPr/>
          <a:lstStyle/>
          <a:p>
            <a:endParaRPr lang="en-GB"/>
          </a:p>
        </p:txBody>
      </p:sp>
      <p:sp>
        <p:nvSpPr>
          <p:cNvPr id="12" name="Text Placeholder 35">
            <a:extLst>
              <a:ext uri="{FF2B5EF4-FFF2-40B4-BE49-F238E27FC236}">
                <a16:creationId xmlns:a16="http://schemas.microsoft.com/office/drawing/2014/main" id="{D4F7719C-958A-582B-053B-5A0E127E69D8}"/>
              </a:ext>
            </a:extLst>
          </p:cNvPr>
          <p:cNvSpPr>
            <a:spLocks noGrp="1"/>
          </p:cNvSpPr>
          <p:nvPr>
            <p:ph type="body" sz="quarter" idx="11" hasCustomPrompt="1"/>
          </p:nvPr>
        </p:nvSpPr>
        <p:spPr>
          <a:xfrm>
            <a:off x="2652032" y="1135894"/>
            <a:ext cx="6887936" cy="4586212"/>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40000" b="0" i="0" kern="1200" dirty="0">
                <a:solidFill>
                  <a:srgbClr val="CEB36E"/>
                </a:solidFill>
                <a:latin typeface="Bodoni MT" panose="02070603080606020203" pitchFamily="18" charset="77"/>
                <a:ea typeface="+mn-ea"/>
                <a:cs typeface="+mn-cs"/>
              </a:defRPr>
            </a:lvl1pPr>
          </a:lstStyle>
          <a:p>
            <a:pPr lvl="0"/>
            <a:r>
              <a:rPr lang="en-GB"/>
              <a:t>1</a:t>
            </a:r>
          </a:p>
        </p:txBody>
      </p:sp>
      <p:sp>
        <p:nvSpPr>
          <p:cNvPr id="11" name="Text Placeholder 2">
            <a:extLst>
              <a:ext uri="{FF2B5EF4-FFF2-40B4-BE49-F238E27FC236}">
                <a16:creationId xmlns:a16="http://schemas.microsoft.com/office/drawing/2014/main" id="{FDBBAD0F-B4DA-2C28-98DC-23FBE34C086C}"/>
              </a:ext>
            </a:extLst>
          </p:cNvPr>
          <p:cNvSpPr>
            <a:spLocks noGrp="1"/>
          </p:cNvSpPr>
          <p:nvPr>
            <p:ph type="body" sz="quarter" idx="18" hasCustomPrompt="1"/>
          </p:nvPr>
        </p:nvSpPr>
        <p:spPr>
          <a:xfrm>
            <a:off x="914852" y="1312673"/>
            <a:ext cx="10362296" cy="4232654"/>
          </a:xfrm>
          <a:prstGeom prst="rect">
            <a:avLst/>
          </a:prstGeom>
        </p:spPr>
        <p:txBody>
          <a:bodyPr anchor="ctr"/>
          <a:lstStyle>
            <a:lvl1pPr marL="0" indent="0" algn="ctr">
              <a:buNone/>
              <a:defRPr sz="5000" b="1" i="0">
                <a:solidFill>
                  <a:schemeClr val="bg1"/>
                </a:solidFill>
                <a:latin typeface="AvenirNext LT Pro Bold" panose="020B0504020202020204" pitchFamily="34" charset="77"/>
              </a:defRPr>
            </a:lvl1pPr>
            <a:lvl2pPr marL="457200" indent="0">
              <a:buNone/>
              <a:defRPr sz="8800" b="1" i="0">
                <a:latin typeface="AvenirNext LT Pro Bold" panose="020B0504020202020204" pitchFamily="34" charset="77"/>
              </a:defRPr>
            </a:lvl2pPr>
            <a:lvl3pPr marL="914400" indent="0">
              <a:buNone/>
              <a:defRPr sz="8800" b="1" i="0">
                <a:latin typeface="AvenirNext LT Pro Bold" panose="020B0504020202020204" pitchFamily="34" charset="77"/>
              </a:defRPr>
            </a:lvl3pPr>
            <a:lvl4pPr marL="1371600" indent="0">
              <a:buNone/>
              <a:defRPr sz="8800" b="1" i="0">
                <a:latin typeface="AvenirNext LT Pro Bold" panose="020B0504020202020204" pitchFamily="34" charset="77"/>
              </a:defRPr>
            </a:lvl4pPr>
            <a:lvl5pPr marL="1828800" indent="0">
              <a:buNone/>
              <a:defRPr sz="8800" b="1" i="0">
                <a:latin typeface="AvenirNext LT Pro Bold" panose="020B0504020202020204" pitchFamily="34" charset="77"/>
              </a:defRPr>
            </a:lvl5pPr>
          </a:lstStyle>
          <a:p>
            <a:pPr lvl="0"/>
            <a:r>
              <a:rPr lang="en-GB"/>
              <a:t>Your chapter title</a:t>
            </a:r>
          </a:p>
        </p:txBody>
      </p:sp>
    </p:spTree>
    <p:extLst>
      <p:ext uri="{BB962C8B-B14F-4D97-AF65-F5344CB8AC3E}">
        <p14:creationId xmlns:p14="http://schemas.microsoft.com/office/powerpoint/2010/main" val="39996279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oleObject" Target="../embeddings/oleObject1.bin"/><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tags" Target="../tags/tag1.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image" Target="../media/image1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915611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704" r:id="rId19"/>
    <p:sldLayoutId id="2147483705" r:id="rId20"/>
    <p:sldLayoutId id="2147483685" r:id="rId21"/>
    <p:sldLayoutId id="2147483706" r:id="rId22"/>
    <p:sldLayoutId id="2147483707" r:id="rId23"/>
    <p:sldLayoutId id="2147483709" r:id="rId24"/>
    <p:sldLayoutId id="2147483711" r:id="rId25"/>
    <p:sldLayoutId id="2147483712"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0"/>
            </p:custDataLst>
            <p:extLst>
              <p:ext uri="{D42A27DB-BD31-4B8C-83A1-F6EECF244321}">
                <p14:modId xmlns:p14="http://schemas.microsoft.com/office/powerpoint/2010/main" val="122861679"/>
              </p:ext>
            </p:extLst>
          </p:nvPr>
        </p:nvGraphicFramePr>
        <p:xfrm>
          <a:off x="1812" y="1443"/>
          <a:ext cx="1809" cy="1439"/>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7" name="Objekt 6" hidden="1"/>
                      <p:cNvPicPr/>
                      <p:nvPr/>
                    </p:nvPicPr>
                    <p:blipFill>
                      <a:blip r:embed="rId22"/>
                      <a:stretch>
                        <a:fillRect/>
                      </a:stretch>
                    </p:blipFill>
                    <p:spPr>
                      <a:xfrm>
                        <a:off x="1812" y="1443"/>
                        <a:ext cx="1809" cy="1439"/>
                      </a:xfrm>
                      <a:prstGeom prst="rect">
                        <a:avLst/>
                      </a:prstGeom>
                    </p:spPr>
                  </p:pic>
                </p:oleObj>
              </mc:Fallback>
            </mc:AlternateContent>
          </a:graphicData>
        </a:graphic>
      </p:graphicFrame>
      <p:sp>
        <p:nvSpPr>
          <p:cNvPr id="2" name="Titelplatzhalter 1"/>
          <p:cNvSpPr>
            <a:spLocks noGrp="1"/>
          </p:cNvSpPr>
          <p:nvPr>
            <p:ph type="title"/>
          </p:nvPr>
        </p:nvSpPr>
        <p:spPr>
          <a:xfrm>
            <a:off x="259913" y="143890"/>
            <a:ext cx="11666021" cy="418726"/>
          </a:xfrm>
          <a:prstGeom prst="rect">
            <a:avLst/>
          </a:prstGeom>
        </p:spPr>
        <p:txBody>
          <a:bodyPr vert="horz" wrap="square" lIns="0" tIns="0" rIns="0" bIns="0" rtlCol="0" anchor="t" anchorCtr="0">
            <a:spAutoFit/>
          </a:bodyPr>
          <a:lstStyle/>
          <a:p>
            <a:r>
              <a:rPr lang="en-GB" noProof="0"/>
              <a:t>Page title</a:t>
            </a:r>
          </a:p>
        </p:txBody>
      </p:sp>
      <p:sp>
        <p:nvSpPr>
          <p:cNvPr id="3" name="Textplatzhalter 2"/>
          <p:cNvSpPr>
            <a:spLocks noGrp="1"/>
          </p:cNvSpPr>
          <p:nvPr>
            <p:ph type="body" idx="1"/>
          </p:nvPr>
        </p:nvSpPr>
        <p:spPr>
          <a:xfrm>
            <a:off x="259913" y="1429055"/>
            <a:ext cx="11666021" cy="1512273"/>
          </a:xfrm>
          <a:prstGeom prst="rect">
            <a:avLst/>
          </a:prstGeom>
        </p:spPr>
        <p:txBody>
          <a:bodyPr vert="horz" wrap="square" lIns="0" tIns="0" rIns="0" bIns="0" rtlCol="0" anchor="t" anchorCtr="0">
            <a:spAutoFit/>
          </a:bodyPr>
          <a:lstStyle/>
          <a:p>
            <a:pPr lvl="0"/>
            <a:r>
              <a:rPr lang="en-GB" noProof="0" err="1"/>
              <a:t>Bodytext</a:t>
            </a:r>
            <a:r>
              <a:rPr lang="en-GB" noProof="0"/>
              <a:t> heading</a:t>
            </a:r>
          </a:p>
          <a:p>
            <a:pPr lvl="1"/>
            <a:r>
              <a:rPr lang="en-GB" noProof="0" err="1"/>
              <a:t>Bodytext</a:t>
            </a:r>
            <a:r>
              <a:rPr lang="en-GB" noProof="0"/>
              <a:t> 2</a:t>
            </a:r>
          </a:p>
          <a:p>
            <a:pPr lvl="2"/>
            <a:r>
              <a:rPr lang="en-GB" noProof="0" err="1"/>
              <a:t>Bodytext</a:t>
            </a:r>
            <a:r>
              <a:rPr lang="en-GB" noProof="0"/>
              <a:t> 3</a:t>
            </a:r>
          </a:p>
          <a:p>
            <a:pPr lvl="3"/>
            <a:r>
              <a:rPr lang="en-GB" noProof="0" err="1"/>
              <a:t>Bodytext</a:t>
            </a:r>
            <a:r>
              <a:rPr lang="en-GB" noProof="0"/>
              <a:t> 4</a:t>
            </a:r>
          </a:p>
          <a:p>
            <a:pPr lvl="4"/>
            <a:r>
              <a:rPr lang="en-GB" noProof="0" err="1"/>
              <a:t>Bodytext</a:t>
            </a:r>
            <a:r>
              <a:rPr lang="en-GB" noProof="0"/>
              <a:t> 5</a:t>
            </a:r>
          </a:p>
        </p:txBody>
      </p:sp>
      <p:sp>
        <p:nvSpPr>
          <p:cNvPr id="4" name="Datumsplatzhalter 3"/>
          <p:cNvSpPr>
            <a:spLocks noGrp="1"/>
          </p:cNvSpPr>
          <p:nvPr>
            <p:ph type="dt" sz="half" idx="2"/>
          </p:nvPr>
        </p:nvSpPr>
        <p:spPr>
          <a:xfrm>
            <a:off x="747184" y="6597536"/>
            <a:ext cx="1057790" cy="139590"/>
          </a:xfrm>
          <a:prstGeom prst="rect">
            <a:avLst/>
          </a:prstGeom>
        </p:spPr>
        <p:txBody>
          <a:bodyPr vert="horz" wrap="none" lIns="0" tIns="0" rIns="0" bIns="0" rtlCol="0" anchor="ctr" anchorCtr="0">
            <a:spAutoFit/>
          </a:bodyPr>
          <a:lstStyle>
            <a:lvl1pPr algn="l">
              <a:defRPr sz="907" b="0" cap="all" spc="172" baseline="0">
                <a:solidFill>
                  <a:schemeClr val="tx1"/>
                </a:solidFill>
                <a:latin typeface="CA Sans" pitchFamily="50" charset="0"/>
              </a:defRPr>
            </a:lvl1pPr>
          </a:lstStyle>
          <a:p>
            <a:fld id="{C247D1E9-FE88-46B0-BB55-C4CD1C83FDE8}" type="datetime4">
              <a:rPr lang="en-GB" noProof="0" smtClean="0"/>
              <a:t>15 February 2024</a:t>
            </a:fld>
            <a:endParaRPr lang="en-GB" noProof="0"/>
          </a:p>
        </p:txBody>
      </p:sp>
      <p:sp>
        <p:nvSpPr>
          <p:cNvPr id="5" name="Foliennummernplatzhalter 4"/>
          <p:cNvSpPr>
            <a:spLocks noGrp="1"/>
          </p:cNvSpPr>
          <p:nvPr>
            <p:ph type="sldNum" sz="quarter" idx="4"/>
          </p:nvPr>
        </p:nvSpPr>
        <p:spPr>
          <a:xfrm>
            <a:off x="338526" y="6597536"/>
            <a:ext cx="204030" cy="139590"/>
          </a:xfrm>
          <a:prstGeom prst="rect">
            <a:avLst/>
          </a:prstGeom>
        </p:spPr>
        <p:txBody>
          <a:bodyPr vert="horz" wrap="none" lIns="0" tIns="0" rIns="0" bIns="0" rtlCol="0" anchor="ctr" anchorCtr="0">
            <a:spAutoFit/>
          </a:bodyPr>
          <a:lstStyle>
            <a:lvl1pPr>
              <a:defRPr lang="de-AT" sz="907" b="0" spc="172" baseline="0" smtClean="0">
                <a:latin typeface="CA Sans" pitchFamily="50" charset="0"/>
              </a:defRPr>
            </a:lvl1pPr>
          </a:lstStyle>
          <a:p>
            <a:pPr algn="r"/>
            <a:fld id="{30272582-AA89-4A5B-9BA7-B311A460C225}" type="slidenum">
              <a:rPr lang="en-GB" noProof="0" smtClean="0"/>
              <a:pPr algn="r"/>
              <a:t>‹#›</a:t>
            </a:fld>
            <a:endParaRPr lang="en-GB" noProof="0"/>
          </a:p>
        </p:txBody>
      </p:sp>
    </p:spTree>
    <p:extLst>
      <p:ext uri="{BB962C8B-B14F-4D97-AF65-F5344CB8AC3E}">
        <p14:creationId xmlns:p14="http://schemas.microsoft.com/office/powerpoint/2010/main" val="1818998651"/>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51" r:id="rId3"/>
    <p:sldLayoutId id="2147483652" r:id="rId4"/>
    <p:sldLayoutId id="2147483650" r:id="rId5"/>
    <p:sldLayoutId id="2147483658" r:id="rId6"/>
    <p:sldLayoutId id="2147483657" r:id="rId7"/>
    <p:sldLayoutId id="2147483654" r:id="rId8"/>
    <p:sldLayoutId id="2147483653" r:id="rId9"/>
    <p:sldLayoutId id="2147483656" r:id="rId10"/>
    <p:sldLayoutId id="2147483683" r:id="rId11"/>
    <p:sldLayoutId id="2147483686" r:id="rId12"/>
    <p:sldLayoutId id="2147483687" r:id="rId13"/>
    <p:sldLayoutId id="2147483688" r:id="rId14"/>
    <p:sldLayoutId id="2147483689" r:id="rId15"/>
    <p:sldLayoutId id="2147483690" r:id="rId16"/>
    <p:sldLayoutId id="2147483691" r:id="rId17"/>
    <p:sldLayoutId id="2147483692" r:id="rId18"/>
  </p:sldLayoutIdLst>
  <p:hf hdr="0" ftr="0"/>
  <p:txStyles>
    <p:titleStyle>
      <a:lvl1pPr algn="l" defTabSz="945947" rtl="0" eaLnBrk="1" latinLnBrk="0" hangingPunct="1">
        <a:spcBef>
          <a:spcPct val="0"/>
        </a:spcBef>
        <a:buNone/>
        <a:defRPr sz="2721" b="0" kern="1200">
          <a:solidFill>
            <a:schemeClr val="tx2"/>
          </a:solidFill>
          <a:latin typeface="CA Sans" pitchFamily="50" charset="0"/>
          <a:ea typeface="+mj-ea"/>
          <a:cs typeface="+mj-cs"/>
        </a:defRPr>
      </a:lvl1pPr>
    </p:titleStyle>
    <p:bodyStyle>
      <a:lvl1pPr marL="164126" indent="-164126" algn="l" defTabSz="945947" rtl="0" eaLnBrk="1" latinLnBrk="0" hangingPunct="1">
        <a:lnSpc>
          <a:spcPct val="100000"/>
        </a:lnSpc>
        <a:spcBef>
          <a:spcPts val="453"/>
        </a:spcBef>
        <a:buClr>
          <a:schemeClr val="tx2"/>
        </a:buClr>
        <a:buSzPct val="85000"/>
        <a:buFont typeface="CA Sans ExtraLight" pitchFamily="50" charset="0"/>
        <a:buChar char="•"/>
        <a:defRPr sz="1632" b="0" kern="1200" baseline="0">
          <a:solidFill>
            <a:schemeClr val="tx1"/>
          </a:solidFill>
          <a:latin typeface="+mn-lt"/>
          <a:ea typeface="+mn-ea"/>
          <a:cs typeface="+mn-cs"/>
        </a:defRPr>
      </a:lvl1pPr>
      <a:lvl2pPr marL="322494" indent="-162687" algn="l" defTabSz="945947" rtl="0" eaLnBrk="1" latinLnBrk="0" hangingPunct="1">
        <a:lnSpc>
          <a:spcPct val="100000"/>
        </a:lnSpc>
        <a:spcBef>
          <a:spcPts val="453"/>
        </a:spcBef>
        <a:buClr>
          <a:schemeClr val="tx2"/>
        </a:buClr>
        <a:buSzPct val="100000"/>
        <a:buFont typeface="CA Sans" pitchFamily="50" charset="0"/>
        <a:buChar char="−"/>
        <a:defRPr sz="1632" b="0" kern="1200">
          <a:solidFill>
            <a:schemeClr val="tx1"/>
          </a:solidFill>
          <a:latin typeface="+mn-lt"/>
          <a:ea typeface="+mn-ea"/>
          <a:cs typeface="+mn-cs"/>
        </a:defRPr>
      </a:lvl2pPr>
      <a:lvl3pPr marL="489499" indent="-159808" algn="l" defTabSz="945947" rtl="0" eaLnBrk="1" latinLnBrk="0" hangingPunct="1">
        <a:lnSpc>
          <a:spcPct val="100000"/>
        </a:lnSpc>
        <a:spcBef>
          <a:spcPts val="453"/>
        </a:spcBef>
        <a:buClr>
          <a:schemeClr val="tx2"/>
        </a:buClr>
        <a:buFont typeface="CA Sans" pitchFamily="50" charset="0"/>
        <a:buChar char="-"/>
        <a:defRPr sz="1632" b="0" kern="1200">
          <a:solidFill>
            <a:schemeClr val="tx1"/>
          </a:solidFill>
          <a:latin typeface="CA Sans Light" pitchFamily="50" charset="0"/>
          <a:ea typeface="+mn-ea"/>
          <a:cs typeface="+mn-cs"/>
        </a:defRPr>
      </a:lvl3pPr>
      <a:lvl4pPr marL="652186" indent="-164126" algn="l" defTabSz="945947" rtl="0" eaLnBrk="1" latinLnBrk="0" hangingPunct="1">
        <a:lnSpc>
          <a:spcPct val="100000"/>
        </a:lnSpc>
        <a:spcBef>
          <a:spcPts val="453"/>
        </a:spcBef>
        <a:buClrTx/>
        <a:buSzPct val="100000"/>
        <a:buFont typeface="CA Sans" pitchFamily="50" charset="0"/>
        <a:buChar char="-"/>
        <a:defRPr sz="1632" b="0" kern="1200" baseline="0">
          <a:solidFill>
            <a:schemeClr val="tx1"/>
          </a:solidFill>
          <a:latin typeface="CA Sans Light" pitchFamily="50" charset="0"/>
          <a:ea typeface="+mn-ea"/>
          <a:cs typeface="+mn-cs"/>
        </a:defRPr>
      </a:lvl4pPr>
      <a:lvl5pPr marL="811993" indent="-164126" algn="l" defTabSz="945947" rtl="0" eaLnBrk="1" latinLnBrk="0" hangingPunct="1">
        <a:lnSpc>
          <a:spcPct val="100000"/>
        </a:lnSpc>
        <a:spcBef>
          <a:spcPts val="453"/>
        </a:spcBef>
        <a:buSzPct val="100000"/>
        <a:buFont typeface="CA Sans" pitchFamily="50" charset="0"/>
        <a:buChar char="-"/>
        <a:defRPr sz="1632" b="0" kern="1200">
          <a:solidFill>
            <a:schemeClr val="tx1"/>
          </a:solidFill>
          <a:latin typeface="CA Sans Light" pitchFamily="50" charset="0"/>
          <a:ea typeface="+mn-ea"/>
          <a:cs typeface="+mn-cs"/>
        </a:defRPr>
      </a:lvl5pPr>
      <a:lvl6pPr marL="2601356" indent="-236487" algn="l" defTabSz="945947" rtl="0" eaLnBrk="1" latinLnBrk="0" hangingPunct="1">
        <a:spcBef>
          <a:spcPct val="20000"/>
        </a:spcBef>
        <a:buFont typeface="Arial" panose="020B0604020202020204" pitchFamily="34" charset="0"/>
        <a:buChar char="•"/>
        <a:defRPr sz="2086" kern="1200">
          <a:solidFill>
            <a:schemeClr val="tx1"/>
          </a:solidFill>
          <a:latin typeface="+mn-lt"/>
          <a:ea typeface="+mn-ea"/>
          <a:cs typeface="+mn-cs"/>
        </a:defRPr>
      </a:lvl6pPr>
      <a:lvl7pPr marL="3074329" indent="-236487" algn="l" defTabSz="945947" rtl="0" eaLnBrk="1" latinLnBrk="0" hangingPunct="1">
        <a:spcBef>
          <a:spcPct val="20000"/>
        </a:spcBef>
        <a:buFont typeface="Arial" panose="020B0604020202020204" pitchFamily="34" charset="0"/>
        <a:buChar char="•"/>
        <a:defRPr sz="2086" kern="1200">
          <a:solidFill>
            <a:schemeClr val="tx1"/>
          </a:solidFill>
          <a:latin typeface="+mn-lt"/>
          <a:ea typeface="+mn-ea"/>
          <a:cs typeface="+mn-cs"/>
        </a:defRPr>
      </a:lvl7pPr>
      <a:lvl8pPr marL="3547303" indent="-236487" algn="l" defTabSz="945947" rtl="0" eaLnBrk="1" latinLnBrk="0" hangingPunct="1">
        <a:spcBef>
          <a:spcPct val="20000"/>
        </a:spcBef>
        <a:buFont typeface="Arial" panose="020B0604020202020204" pitchFamily="34" charset="0"/>
        <a:buChar char="•"/>
        <a:defRPr sz="2086" kern="1200">
          <a:solidFill>
            <a:schemeClr val="tx1"/>
          </a:solidFill>
          <a:latin typeface="+mn-lt"/>
          <a:ea typeface="+mn-ea"/>
          <a:cs typeface="+mn-cs"/>
        </a:defRPr>
      </a:lvl8pPr>
      <a:lvl9pPr marL="4020277" indent="-236487" algn="l" defTabSz="945947" rtl="0" eaLnBrk="1" latinLnBrk="0" hangingPunct="1">
        <a:spcBef>
          <a:spcPct val="20000"/>
        </a:spcBef>
        <a:buFont typeface="Arial" panose="020B0604020202020204" pitchFamily="34" charset="0"/>
        <a:buChar char="•"/>
        <a:defRPr sz="2086" kern="1200">
          <a:solidFill>
            <a:schemeClr val="tx1"/>
          </a:solidFill>
          <a:latin typeface="+mn-lt"/>
          <a:ea typeface="+mn-ea"/>
          <a:cs typeface="+mn-cs"/>
        </a:defRPr>
      </a:lvl9pPr>
    </p:bodyStyle>
    <p:otherStyle>
      <a:defPPr>
        <a:defRPr lang="de-DE"/>
      </a:defPPr>
      <a:lvl1pPr marL="0" algn="l" defTabSz="945947" rtl="0" eaLnBrk="1" latinLnBrk="0" hangingPunct="1">
        <a:defRPr sz="1904" kern="1200">
          <a:solidFill>
            <a:schemeClr val="tx1"/>
          </a:solidFill>
          <a:latin typeface="+mn-lt"/>
          <a:ea typeface="+mn-ea"/>
          <a:cs typeface="+mn-cs"/>
        </a:defRPr>
      </a:lvl1pPr>
      <a:lvl2pPr marL="472974" algn="l" defTabSz="945947" rtl="0" eaLnBrk="1" latinLnBrk="0" hangingPunct="1">
        <a:defRPr sz="1904" kern="1200">
          <a:solidFill>
            <a:schemeClr val="tx1"/>
          </a:solidFill>
          <a:latin typeface="+mn-lt"/>
          <a:ea typeface="+mn-ea"/>
          <a:cs typeface="+mn-cs"/>
        </a:defRPr>
      </a:lvl2pPr>
      <a:lvl3pPr marL="945947" algn="l" defTabSz="945947" rtl="0" eaLnBrk="1" latinLnBrk="0" hangingPunct="1">
        <a:defRPr sz="1904" kern="1200">
          <a:solidFill>
            <a:schemeClr val="tx1"/>
          </a:solidFill>
          <a:latin typeface="+mn-lt"/>
          <a:ea typeface="+mn-ea"/>
          <a:cs typeface="+mn-cs"/>
        </a:defRPr>
      </a:lvl3pPr>
      <a:lvl4pPr marL="1418921" algn="l" defTabSz="945947" rtl="0" eaLnBrk="1" latinLnBrk="0" hangingPunct="1">
        <a:defRPr sz="1904" kern="1200">
          <a:solidFill>
            <a:schemeClr val="tx1"/>
          </a:solidFill>
          <a:latin typeface="+mn-lt"/>
          <a:ea typeface="+mn-ea"/>
          <a:cs typeface="+mn-cs"/>
        </a:defRPr>
      </a:lvl4pPr>
      <a:lvl5pPr marL="1891895" algn="l" defTabSz="945947" rtl="0" eaLnBrk="1" latinLnBrk="0" hangingPunct="1">
        <a:defRPr sz="1904" kern="1200">
          <a:solidFill>
            <a:schemeClr val="tx1"/>
          </a:solidFill>
          <a:latin typeface="+mn-lt"/>
          <a:ea typeface="+mn-ea"/>
          <a:cs typeface="+mn-cs"/>
        </a:defRPr>
      </a:lvl5pPr>
      <a:lvl6pPr marL="2364869" algn="l" defTabSz="945947" rtl="0" eaLnBrk="1" latinLnBrk="0" hangingPunct="1">
        <a:defRPr sz="1904" kern="1200">
          <a:solidFill>
            <a:schemeClr val="tx1"/>
          </a:solidFill>
          <a:latin typeface="+mn-lt"/>
          <a:ea typeface="+mn-ea"/>
          <a:cs typeface="+mn-cs"/>
        </a:defRPr>
      </a:lvl6pPr>
      <a:lvl7pPr marL="2837842" algn="l" defTabSz="945947" rtl="0" eaLnBrk="1" latinLnBrk="0" hangingPunct="1">
        <a:defRPr sz="1904" kern="1200">
          <a:solidFill>
            <a:schemeClr val="tx1"/>
          </a:solidFill>
          <a:latin typeface="+mn-lt"/>
          <a:ea typeface="+mn-ea"/>
          <a:cs typeface="+mn-cs"/>
        </a:defRPr>
      </a:lvl7pPr>
      <a:lvl8pPr marL="3310816" algn="l" defTabSz="945947" rtl="0" eaLnBrk="1" latinLnBrk="0" hangingPunct="1">
        <a:defRPr sz="1904" kern="1200">
          <a:solidFill>
            <a:schemeClr val="tx1"/>
          </a:solidFill>
          <a:latin typeface="+mn-lt"/>
          <a:ea typeface="+mn-ea"/>
          <a:cs typeface="+mn-cs"/>
        </a:defRPr>
      </a:lvl8pPr>
      <a:lvl9pPr marL="3783790" algn="l" defTabSz="945947" rtl="0" eaLnBrk="1" latinLnBrk="0" hangingPunct="1">
        <a:defRPr sz="190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8" Type="http://schemas.openxmlformats.org/officeDocument/2006/relationships/customXml" Target="../ink/ink19.xml"/><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customXml" Target="../ink/ink16.xml"/><Relationship Id="rId1" Type="http://schemas.openxmlformats.org/officeDocument/2006/relationships/slideLayout" Target="../slideLayouts/slideLayout11.xml"/><Relationship Id="rId6" Type="http://schemas.openxmlformats.org/officeDocument/2006/relationships/customXml" Target="../ink/ink18.xml"/><Relationship Id="rId11"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customXml" Target="../ink/ink20.xml"/><Relationship Id="rId4" Type="http://schemas.openxmlformats.org/officeDocument/2006/relationships/customXml" Target="../ink/ink17.xml"/><Relationship Id="rId9" Type="http://schemas.openxmlformats.org/officeDocument/2006/relationships/image" Target="../media/image22.png"/></Relationships>
</file>

<file path=ppt/slides/_rels/slide15.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slideLayout" Target="../slideLayouts/slideLayout21.xml"/><Relationship Id="rId4" Type="http://schemas.openxmlformats.org/officeDocument/2006/relationships/image" Target="../media/image43.png"/></Relationships>
</file>

<file path=ppt/slides/_rels/slide19.xml.rels><?xml version="1.0" encoding="UTF-8" standalone="yes"?>
<Relationships xmlns="http://schemas.openxmlformats.org/package/2006/relationships"><Relationship Id="rId8" Type="http://schemas.openxmlformats.org/officeDocument/2006/relationships/customXml" Target="../ink/ink22.xml"/><Relationship Id="rId13" Type="http://schemas.openxmlformats.org/officeDocument/2006/relationships/image" Target="../media/image46.png"/><Relationship Id="rId3" Type="http://schemas.openxmlformats.org/officeDocument/2006/relationships/image" Target="../media/image44.png"/><Relationship Id="rId7" Type="http://schemas.openxmlformats.org/officeDocument/2006/relationships/image" Target="../media/image23.png"/><Relationship Id="rId12" Type="http://schemas.openxmlformats.org/officeDocument/2006/relationships/customXml" Target="../ink/ink24.xml"/><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customXml" Target="../ink/ink21.xml"/><Relationship Id="rId11" Type="http://schemas.openxmlformats.org/officeDocument/2006/relationships/image" Target="../media/image45.png"/><Relationship Id="rId5" Type="http://schemas.openxmlformats.org/officeDocument/2006/relationships/image" Target="../media/image42.emf"/><Relationship Id="rId10" Type="http://schemas.openxmlformats.org/officeDocument/2006/relationships/customXml" Target="../ink/ink23.xml"/><Relationship Id="rId4" Type="http://schemas.openxmlformats.org/officeDocument/2006/relationships/image" Target="../media/image41.emf"/><Relationship Id="rId9" Type="http://schemas.openxmlformats.org/officeDocument/2006/relationships/image" Target="../media/image20.png"/><Relationship Id="rId14" Type="http://schemas.openxmlformats.org/officeDocument/2006/relationships/customXml" Target="../ink/ink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1.emf"/><Relationship Id="rId7" Type="http://schemas.openxmlformats.org/officeDocument/2006/relationships/image" Target="../media/image50.emf"/><Relationship Id="rId2" Type="http://schemas.openxmlformats.org/officeDocument/2006/relationships/image" Target="../media/image47.jpeg"/><Relationship Id="rId1" Type="http://schemas.openxmlformats.org/officeDocument/2006/relationships/slideLayout" Target="../slideLayouts/slideLayout21.xml"/><Relationship Id="rId6" Type="http://schemas.openxmlformats.org/officeDocument/2006/relationships/image" Target="../media/image49.emf"/><Relationship Id="rId5" Type="http://schemas.openxmlformats.org/officeDocument/2006/relationships/image" Target="../media/image42.emf"/><Relationship Id="rId4" Type="http://schemas.openxmlformats.org/officeDocument/2006/relationships/image" Target="../media/image48.emf"/></Relationships>
</file>

<file path=ppt/slides/_rels/slide21.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slideLayout" Target="../slideLayouts/slideLayout21.xml"/><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slideLayout" Target="../slideLayouts/slideLayout21.xml"/><Relationship Id="rId4" Type="http://schemas.openxmlformats.org/officeDocument/2006/relationships/image" Target="../media/image53.png"/></Relationships>
</file>

<file path=ppt/slides/_rels/slide2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50.emf"/><Relationship Id="rId7" Type="http://schemas.openxmlformats.org/officeDocument/2006/relationships/image" Target="../media/image54.jpeg"/><Relationship Id="rId2" Type="http://schemas.openxmlformats.org/officeDocument/2006/relationships/image" Target="../media/image41.emf"/><Relationship Id="rId1" Type="http://schemas.openxmlformats.org/officeDocument/2006/relationships/slideLayout" Target="../slideLayouts/slideLayout21.xml"/><Relationship Id="rId6" Type="http://schemas.openxmlformats.org/officeDocument/2006/relationships/image" Target="../media/image49.emf"/><Relationship Id="rId5" Type="http://schemas.openxmlformats.org/officeDocument/2006/relationships/image" Target="../media/image42.emf"/><Relationship Id="rId4" Type="http://schemas.openxmlformats.org/officeDocument/2006/relationships/image" Target="../media/image48.emf"/></Relationships>
</file>

<file path=ppt/slides/_rels/slide24.xml.rels><?xml version="1.0" encoding="UTF-8" standalone="yes"?>
<Relationships xmlns="http://schemas.openxmlformats.org/package/2006/relationships"><Relationship Id="rId3" Type="http://schemas.openxmlformats.org/officeDocument/2006/relationships/image" Target="../media/image50.emf"/><Relationship Id="rId7" Type="http://schemas.openxmlformats.org/officeDocument/2006/relationships/image" Target="../media/image51.png"/><Relationship Id="rId2" Type="http://schemas.openxmlformats.org/officeDocument/2006/relationships/image" Target="../media/image41.emf"/><Relationship Id="rId1" Type="http://schemas.openxmlformats.org/officeDocument/2006/relationships/slideLayout" Target="../slideLayouts/slideLayout21.xml"/><Relationship Id="rId6" Type="http://schemas.openxmlformats.org/officeDocument/2006/relationships/image" Target="../media/image55.jpeg"/><Relationship Id="rId5" Type="http://schemas.openxmlformats.org/officeDocument/2006/relationships/image" Target="../media/image42.emf"/><Relationship Id="rId4" Type="http://schemas.openxmlformats.org/officeDocument/2006/relationships/image" Target="../media/image48.emf"/></Relationships>
</file>

<file path=ppt/slides/_rels/slide25.xml.rels><?xml version="1.0" encoding="UTF-8" standalone="yes"?>
<Relationships xmlns="http://schemas.openxmlformats.org/package/2006/relationships"><Relationship Id="rId3" Type="http://schemas.openxmlformats.org/officeDocument/2006/relationships/image" Target="../media/image50.emf"/><Relationship Id="rId7" Type="http://schemas.openxmlformats.org/officeDocument/2006/relationships/image" Target="../media/image49.emf"/><Relationship Id="rId2" Type="http://schemas.openxmlformats.org/officeDocument/2006/relationships/image" Target="../media/image41.emf"/><Relationship Id="rId1" Type="http://schemas.openxmlformats.org/officeDocument/2006/relationships/slideLayout" Target="../slideLayouts/slideLayout21.xml"/><Relationship Id="rId6" Type="http://schemas.openxmlformats.org/officeDocument/2006/relationships/image" Target="../media/image48.emf"/><Relationship Id="rId5" Type="http://schemas.openxmlformats.org/officeDocument/2006/relationships/image" Target="../media/image42.emf"/><Relationship Id="rId4" Type="http://schemas.openxmlformats.org/officeDocument/2006/relationships/image" Target="../media/image56.jpeg"/></Relationships>
</file>

<file path=ppt/slides/_rels/slide2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1.emf"/><Relationship Id="rId7" Type="http://schemas.openxmlformats.org/officeDocument/2006/relationships/image" Target="../media/image48.emf"/><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42.emf"/><Relationship Id="rId5" Type="http://schemas.openxmlformats.org/officeDocument/2006/relationships/image" Target="../media/image57.jpeg"/><Relationship Id="rId4" Type="http://schemas.openxmlformats.org/officeDocument/2006/relationships/image" Target="../media/image50.emf"/></Relationships>
</file>

<file path=ppt/slides/_rels/slide3.xml.rels><?xml version="1.0" encoding="UTF-8" standalone="yes"?>
<Relationships xmlns="http://schemas.openxmlformats.org/package/2006/relationships"><Relationship Id="rId8" Type="http://schemas.openxmlformats.org/officeDocument/2006/relationships/customXml" Target="../ink/ink4.xml"/><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customXml" Target="../ink/ink1.xml"/><Relationship Id="rId1" Type="http://schemas.openxmlformats.org/officeDocument/2006/relationships/slideLayout" Target="../slideLayouts/slideLayout11.xml"/><Relationship Id="rId6" Type="http://schemas.openxmlformats.org/officeDocument/2006/relationships/customXml" Target="../ink/ink3.xml"/><Relationship Id="rId11"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customXml" Target="../ink/ink5.xml"/><Relationship Id="rId4" Type="http://schemas.openxmlformats.org/officeDocument/2006/relationships/customXml" Target="../ink/ink2.xml"/><Relationship Id="rId9"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customXml" Target="../ink/ink9.xml"/><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customXml" Target="../ink/ink6.xml"/><Relationship Id="rId1" Type="http://schemas.openxmlformats.org/officeDocument/2006/relationships/slideLayout" Target="../slideLayouts/slideLayout11.xml"/><Relationship Id="rId6" Type="http://schemas.openxmlformats.org/officeDocument/2006/relationships/customXml" Target="../ink/ink8.xml"/><Relationship Id="rId11"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customXml" Target="../ink/ink10.xml"/><Relationship Id="rId4" Type="http://schemas.openxmlformats.org/officeDocument/2006/relationships/customXml" Target="../ink/ink7.xml"/><Relationship Id="rId9" Type="http://schemas.openxmlformats.org/officeDocument/2006/relationships/image" Target="../media/image22.png"/></Relationships>
</file>

<file path=ppt/slides/_rels/slide5.xml.rels><?xml version="1.0" encoding="UTF-8" standalone="yes"?>
<Relationships xmlns="http://schemas.openxmlformats.org/package/2006/relationships"><Relationship Id="rId8" Type="http://schemas.openxmlformats.org/officeDocument/2006/relationships/customXml" Target="../ink/ink14.xml"/><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customXml" Target="../ink/ink11.xml"/><Relationship Id="rId1" Type="http://schemas.openxmlformats.org/officeDocument/2006/relationships/slideLayout" Target="../slideLayouts/slideLayout11.xml"/><Relationship Id="rId6" Type="http://schemas.openxmlformats.org/officeDocument/2006/relationships/customXml" Target="../ink/ink13.xml"/><Relationship Id="rId11"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customXml" Target="../ink/ink15.xml"/><Relationship Id="rId4" Type="http://schemas.openxmlformats.org/officeDocument/2006/relationships/customXml" Target="../ink/ink12.xml"/><Relationship Id="rId9" Type="http://schemas.openxmlformats.org/officeDocument/2006/relationships/image" Target="../media/image2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6.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jpeg"/><Relationship Id="rId12" Type="http://schemas.openxmlformats.org/officeDocument/2006/relationships/image" Target="../media/image38.jpe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32.png"/><Relationship Id="rId11" Type="http://schemas.openxmlformats.org/officeDocument/2006/relationships/image" Target="../media/image37.jpeg"/><Relationship Id="rId5" Type="http://schemas.openxmlformats.org/officeDocument/2006/relationships/image" Target="../media/image31.png"/><Relationship Id="rId10" Type="http://schemas.openxmlformats.org/officeDocument/2006/relationships/image" Target="../media/image36.jpeg"/><Relationship Id="rId4" Type="http://schemas.openxmlformats.org/officeDocument/2006/relationships/image" Target="../media/image30.png"/><Relationship Id="rId9" Type="http://schemas.openxmlformats.org/officeDocument/2006/relationships/image" Target="../media/image3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31999C-F891-AAF6-7F99-DCDAB495012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948963" y="411481"/>
            <a:ext cx="4294074" cy="5297580"/>
          </a:xfrm>
          <a:prstGeom prst="rect">
            <a:avLst/>
          </a:prstGeom>
        </p:spPr>
      </p:pic>
      <p:sp>
        <p:nvSpPr>
          <p:cNvPr id="3" name="Happiness in Amsterdam 31 01 2023">
            <a:extLst>
              <a:ext uri="{FF2B5EF4-FFF2-40B4-BE49-F238E27FC236}">
                <a16:creationId xmlns:a16="http://schemas.microsoft.com/office/drawing/2014/main" id="{CB2FDBE1-11C5-698D-FB8A-03C0272B8D2D}"/>
              </a:ext>
            </a:extLst>
          </p:cNvPr>
          <p:cNvSpPr txBox="1"/>
          <p:nvPr/>
        </p:nvSpPr>
        <p:spPr>
          <a:xfrm>
            <a:off x="2045492" y="5921985"/>
            <a:ext cx="8101013" cy="57882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nchor="t">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sz="2000">
                <a:solidFill>
                  <a:srgbClr val="FFFFFF"/>
                </a:solidFill>
                <a:latin typeface="Avenir Next Regular"/>
                <a:ea typeface="Avenir Next Regular"/>
                <a:cs typeface="Avenir Next Regular"/>
                <a:sym typeface="Avenir Next Regular"/>
              </a:defRPr>
            </a:pPr>
            <a:r>
              <a:rPr kumimoji="0" lang="nl-NL" sz="1200" b="1" i="0" u="none" strike="noStrike" kern="1200" cap="none" spc="300" normalizeH="0" baseline="0" noProof="0">
                <a:ln>
                  <a:noFill/>
                </a:ln>
                <a:gradFill>
                  <a:gsLst>
                    <a:gs pos="0">
                      <a:srgbClr val="B89B57"/>
                    </a:gs>
                    <a:gs pos="50000">
                      <a:srgbClr val="DCD081"/>
                    </a:gs>
                    <a:gs pos="100000">
                      <a:srgbClr val="B89B57"/>
                    </a:gs>
                  </a:gsLst>
                  <a:lin ang="2700000" scaled="0"/>
                </a:gradFill>
                <a:effectLst/>
                <a:uLnTx/>
                <a:uFillTx/>
                <a:latin typeface="AvenirNext LT Pro Bold"/>
                <a:sym typeface="Avenir Next Regular"/>
              </a:rPr>
              <a:t>HAPPINESS ANYWHERE </a:t>
            </a:r>
            <a:r>
              <a:rPr lang="nl-NL" sz="1200" b="1" spc="300">
                <a:gradFill>
                  <a:gsLst>
                    <a:gs pos="0">
                      <a:srgbClr val="B89B57"/>
                    </a:gs>
                    <a:gs pos="50000">
                      <a:srgbClr val="DCD081"/>
                    </a:gs>
                    <a:gs pos="100000">
                      <a:srgbClr val="B89B57"/>
                    </a:gs>
                  </a:gsLst>
                  <a:lin ang="2700000" scaled="0"/>
                </a:gradFill>
                <a:latin typeface="AvenirNext LT Pro Bold"/>
                <a:sym typeface="Avenir Next Regular"/>
              </a:rPr>
              <a:t>VOOR </a:t>
            </a:r>
            <a:r>
              <a:rPr kumimoji="0" lang="nl-NL" sz="1200" b="1" i="0" u="none" strike="noStrike" kern="1200" cap="none" spc="300" normalizeH="0" baseline="0" noProof="0">
                <a:ln>
                  <a:noFill/>
                </a:ln>
                <a:gradFill>
                  <a:gsLst>
                    <a:gs pos="0">
                      <a:srgbClr val="B89B57"/>
                    </a:gs>
                    <a:gs pos="50000">
                      <a:srgbClr val="DCD081"/>
                    </a:gs>
                    <a:gs pos="100000">
                      <a:srgbClr val="B89B57"/>
                    </a:gs>
                  </a:gsLst>
                  <a:lin ang="2700000" scaled="0"/>
                </a:gradFill>
                <a:effectLst/>
                <a:uLnTx/>
                <a:uFillTx/>
                <a:latin typeface="AvenirNext LT Pro Bold"/>
                <a:sym typeface="Avenir Next Regular"/>
              </a:rPr>
              <a:t>ICI PARIS XL</a:t>
            </a:r>
          </a:p>
          <a:p>
            <a:pPr marL="0" marR="0" lvl="0" indent="0" algn="ctr" defTabSz="914400" rtl="0" eaLnBrk="1" fontAlgn="auto" latinLnBrk="0" hangingPunct="1">
              <a:lnSpc>
                <a:spcPct val="150000"/>
              </a:lnSpc>
              <a:spcBef>
                <a:spcPts val="0"/>
              </a:spcBef>
              <a:spcAft>
                <a:spcPts val="0"/>
              </a:spcAft>
              <a:buClrTx/>
              <a:buSzTx/>
              <a:buFontTx/>
              <a:buNone/>
              <a:tabLst/>
              <a:defRPr sz="2000">
                <a:solidFill>
                  <a:srgbClr val="FFFFFF"/>
                </a:solidFill>
                <a:latin typeface="Avenir Next Regular"/>
                <a:ea typeface="Avenir Next Regular"/>
                <a:cs typeface="Avenir Next Regular"/>
                <a:sym typeface="Avenir Next Regular"/>
              </a:defRPr>
            </a:pPr>
            <a:r>
              <a:rPr lang="nl-NL" sz="1200" b="1" spc="300">
                <a:gradFill>
                  <a:gsLst>
                    <a:gs pos="0">
                      <a:srgbClr val="B89B57"/>
                    </a:gs>
                    <a:gs pos="50000">
                      <a:srgbClr val="DCD081"/>
                    </a:gs>
                    <a:gs pos="100000">
                      <a:srgbClr val="B89B57"/>
                    </a:gs>
                  </a:gsLst>
                  <a:lin ang="2700000" scaled="0"/>
                </a:gradFill>
                <a:latin typeface="AvenirNext LT Pro Bold"/>
                <a:sym typeface="Avenir Next Regular"/>
              </a:rPr>
              <a:t>TEAM SAMENSTELLING</a:t>
            </a:r>
            <a:endParaRPr kumimoji="0" lang="nl-NL" sz="1200" b="1" i="0" u="none" strike="noStrike" kern="1200" cap="none" spc="300" normalizeH="0" baseline="0" noProof="0">
              <a:ln>
                <a:noFill/>
              </a:ln>
              <a:gradFill>
                <a:gsLst>
                  <a:gs pos="0">
                    <a:srgbClr val="B89B57"/>
                  </a:gs>
                  <a:gs pos="50000">
                    <a:srgbClr val="DCD081"/>
                  </a:gs>
                  <a:gs pos="100000">
                    <a:srgbClr val="B89B57"/>
                  </a:gs>
                </a:gsLst>
                <a:lin ang="2700000" scaled="0"/>
              </a:gradFill>
              <a:effectLst/>
              <a:uLnTx/>
              <a:uFillTx/>
              <a:latin typeface="AvenirNext LT Pro Bold"/>
              <a:sym typeface="Avenir Next Regular"/>
            </a:endParaRPr>
          </a:p>
        </p:txBody>
      </p:sp>
    </p:spTree>
    <p:extLst>
      <p:ext uri="{BB962C8B-B14F-4D97-AF65-F5344CB8AC3E}">
        <p14:creationId xmlns:p14="http://schemas.microsoft.com/office/powerpoint/2010/main" val="4071551009"/>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1857CC-8308-35E4-EC18-283067344D4E}"/>
              </a:ext>
            </a:extLst>
          </p:cNvPr>
          <p:cNvSpPr>
            <a:spLocks noGrp="1"/>
          </p:cNvSpPr>
          <p:nvPr>
            <p:ph type="body" sz="quarter" idx="11"/>
          </p:nvPr>
        </p:nvSpPr>
        <p:spPr>
          <a:xfrm>
            <a:off x="1705510" y="0"/>
            <a:ext cx="8780980" cy="6858000"/>
          </a:xfrm>
        </p:spPr>
        <p:txBody>
          <a:bodyPr lIns="91440" tIns="45720" rIns="91440" bIns="45720" anchor="ctr">
            <a:noAutofit/>
          </a:bodyPr>
          <a:lstStyle/>
          <a:p>
            <a:r>
              <a:rPr lang="en-GB" sz="50000" b="1" i="1">
                <a:gradFill>
                  <a:gsLst>
                    <a:gs pos="0">
                      <a:srgbClr val="B89B57"/>
                    </a:gs>
                    <a:gs pos="50000">
                      <a:srgbClr val="DCD081"/>
                    </a:gs>
                    <a:gs pos="100000">
                      <a:srgbClr val="B89B57"/>
                    </a:gs>
                  </a:gsLst>
                  <a:lin ang="2700000" scaled="1"/>
                </a:gradFill>
                <a:latin typeface="Bodoni MT Black" panose="02070603080606020203" pitchFamily="18" charset="77"/>
              </a:rPr>
              <a:t>2</a:t>
            </a:r>
          </a:p>
        </p:txBody>
      </p:sp>
      <p:sp>
        <p:nvSpPr>
          <p:cNvPr id="3" name="Text Placeholder 2">
            <a:extLst>
              <a:ext uri="{FF2B5EF4-FFF2-40B4-BE49-F238E27FC236}">
                <a16:creationId xmlns:a16="http://schemas.microsoft.com/office/drawing/2014/main" id="{479BF544-110C-B2FE-EBA6-0D2BC1E5F373}"/>
              </a:ext>
            </a:extLst>
          </p:cNvPr>
          <p:cNvSpPr>
            <a:spLocks noGrp="1"/>
          </p:cNvSpPr>
          <p:nvPr>
            <p:ph type="body" sz="quarter" idx="18"/>
          </p:nvPr>
        </p:nvSpPr>
        <p:spPr>
          <a:xfrm>
            <a:off x="914852" y="2311121"/>
            <a:ext cx="10362296" cy="2021401"/>
          </a:xfrm>
        </p:spPr>
        <p:txBody>
          <a:bodyPr lIns="91440" tIns="45720" rIns="91440" bIns="45720" anchor="ctr"/>
          <a:lstStyle/>
          <a:p>
            <a:pPr>
              <a:lnSpc>
                <a:spcPts val="5000"/>
              </a:lnSpc>
            </a:pPr>
            <a:r>
              <a:rPr lang="en-GB">
                <a:latin typeface="Avenir Next LT Pro"/>
              </a:rPr>
              <a:t> </a:t>
            </a:r>
            <a:r>
              <a:rPr lang="en-GB" err="1">
                <a:latin typeface="Avenir Next LT Pro"/>
              </a:rPr>
              <a:t>Onze</a:t>
            </a:r>
            <a:r>
              <a:rPr lang="en-GB">
                <a:latin typeface="Avenir Next LT Pro"/>
              </a:rPr>
              <a:t> ‘way of working’</a:t>
            </a:r>
          </a:p>
        </p:txBody>
      </p:sp>
    </p:spTree>
    <p:extLst>
      <p:ext uri="{BB962C8B-B14F-4D97-AF65-F5344CB8AC3E}">
        <p14:creationId xmlns:p14="http://schemas.microsoft.com/office/powerpoint/2010/main" val="27292785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5BF70966-679A-B04E-F58C-15635832311C}"/>
              </a:ext>
            </a:extLst>
          </p:cNvPr>
          <p:cNvSpPr txBox="1">
            <a:spLocks/>
          </p:cNvSpPr>
          <p:nvPr/>
        </p:nvSpPr>
        <p:spPr>
          <a:xfrm>
            <a:off x="437389" y="265216"/>
            <a:ext cx="7070994" cy="249689"/>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1050" spc="600">
                <a:solidFill>
                  <a:srgbClr val="282830"/>
                </a:solidFill>
                <a:uFill>
                  <a:solidFill>
                    <a:srgbClr val="DCCF7F"/>
                  </a:solidFill>
                </a:uFill>
                <a:latin typeface="Avenir Next LT Pro"/>
                <a:cs typeface="Arial"/>
              </a:rPr>
              <a:t>TERUGKERENDE MEETINGS (MET KLANT)</a:t>
            </a:r>
            <a:endParaRPr lang="en-BE" sz="1050" spc="600">
              <a:solidFill>
                <a:srgbClr val="282830"/>
              </a:solidFill>
              <a:uFill>
                <a:solidFill>
                  <a:srgbClr val="DCCF7F"/>
                </a:solidFill>
              </a:uFill>
              <a:latin typeface="Avenir Next LT Pro" panose="020B0504020202020204" pitchFamily="34" charset="77"/>
              <a:cs typeface="Arial" panose="020B0604020202020204" pitchFamily="34" charset="0"/>
            </a:endParaRPr>
          </a:p>
        </p:txBody>
      </p:sp>
      <p:cxnSp>
        <p:nvCxnSpPr>
          <p:cNvPr id="3" name="Straight Connector 2">
            <a:extLst>
              <a:ext uri="{FF2B5EF4-FFF2-40B4-BE49-F238E27FC236}">
                <a16:creationId xmlns:a16="http://schemas.microsoft.com/office/drawing/2014/main" id="{AF64E708-B6D2-3C82-392D-F467D0F4FD85}"/>
              </a:ext>
            </a:extLst>
          </p:cNvPr>
          <p:cNvCxnSpPr>
            <a:cxnSpLocks/>
          </p:cNvCxnSpPr>
          <p:nvPr/>
        </p:nvCxnSpPr>
        <p:spPr>
          <a:xfrm>
            <a:off x="437389" y="536198"/>
            <a:ext cx="5051195" cy="18120"/>
          </a:xfrm>
          <a:prstGeom prst="line">
            <a:avLst/>
          </a:prstGeom>
          <a:noFill/>
          <a:ln w="12700" cap="flat" cmpd="sng" algn="ctr">
            <a:solidFill>
              <a:srgbClr val="DCCF7F"/>
            </a:solidFill>
            <a:prstDash val="solid"/>
            <a:miter lim="800000"/>
          </a:ln>
          <a:effectLst/>
        </p:spPr>
      </p:cxnSp>
      <p:graphicFrame>
        <p:nvGraphicFramePr>
          <p:cNvPr id="5" name="Table 4">
            <a:extLst>
              <a:ext uri="{FF2B5EF4-FFF2-40B4-BE49-F238E27FC236}">
                <a16:creationId xmlns:a16="http://schemas.microsoft.com/office/drawing/2014/main" id="{ED0D0F3B-022C-3A9C-BB22-459378F865C6}"/>
              </a:ext>
            </a:extLst>
          </p:cNvPr>
          <p:cNvGraphicFramePr>
            <a:graphicFrameLocks noGrp="1"/>
          </p:cNvGraphicFramePr>
          <p:nvPr>
            <p:extLst>
              <p:ext uri="{D42A27DB-BD31-4B8C-83A1-F6EECF244321}">
                <p14:modId xmlns:p14="http://schemas.microsoft.com/office/powerpoint/2010/main" val="218872724"/>
              </p:ext>
            </p:extLst>
          </p:nvPr>
        </p:nvGraphicFramePr>
        <p:xfrm>
          <a:off x="437389" y="772750"/>
          <a:ext cx="10887455" cy="5404116"/>
        </p:xfrm>
        <a:graphic>
          <a:graphicData uri="http://schemas.openxmlformats.org/drawingml/2006/table">
            <a:tbl>
              <a:tblPr firstRow="1" firstCol="1" bandRow="1">
                <a:tableStyleId>{5940675A-B579-460E-94D1-54222C63F5DA}</a:tableStyleId>
              </a:tblPr>
              <a:tblGrid>
                <a:gridCol w="1944366">
                  <a:extLst>
                    <a:ext uri="{9D8B030D-6E8A-4147-A177-3AD203B41FA5}">
                      <a16:colId xmlns:a16="http://schemas.microsoft.com/office/drawing/2014/main" val="2342733552"/>
                    </a:ext>
                  </a:extLst>
                </a:gridCol>
                <a:gridCol w="1810769">
                  <a:extLst>
                    <a:ext uri="{9D8B030D-6E8A-4147-A177-3AD203B41FA5}">
                      <a16:colId xmlns:a16="http://schemas.microsoft.com/office/drawing/2014/main" val="1446305796"/>
                    </a:ext>
                  </a:extLst>
                </a:gridCol>
                <a:gridCol w="1969477">
                  <a:extLst>
                    <a:ext uri="{9D8B030D-6E8A-4147-A177-3AD203B41FA5}">
                      <a16:colId xmlns:a16="http://schemas.microsoft.com/office/drawing/2014/main" val="2876975695"/>
                    </a:ext>
                  </a:extLst>
                </a:gridCol>
                <a:gridCol w="2215132">
                  <a:extLst>
                    <a:ext uri="{9D8B030D-6E8A-4147-A177-3AD203B41FA5}">
                      <a16:colId xmlns:a16="http://schemas.microsoft.com/office/drawing/2014/main" val="1811265395"/>
                    </a:ext>
                  </a:extLst>
                </a:gridCol>
                <a:gridCol w="2947711">
                  <a:extLst>
                    <a:ext uri="{9D8B030D-6E8A-4147-A177-3AD203B41FA5}">
                      <a16:colId xmlns:a16="http://schemas.microsoft.com/office/drawing/2014/main" val="833768131"/>
                    </a:ext>
                  </a:extLst>
                </a:gridCol>
              </a:tblGrid>
              <a:tr h="629596">
                <a:tc>
                  <a:txBody>
                    <a:bodyPr/>
                    <a:lstStyle/>
                    <a:p>
                      <a:pPr algn="ctr"/>
                      <a:r>
                        <a:rPr lang="en-NL" sz="1400" b="0" i="0" kern="1200">
                          <a:solidFill>
                            <a:schemeClr val="tx1"/>
                          </a:solidFill>
                          <a:latin typeface="Avenir Next LT Pro" panose="020B0504020202020204" pitchFamily="34" charset="77"/>
                          <a:ea typeface="+mn-ea"/>
                          <a:cs typeface="+mn-cs"/>
                        </a:rPr>
                        <a:t>SOORT MEETING/ ACTIVITEIT</a:t>
                      </a:r>
                    </a:p>
                  </a:txBody>
                  <a:tcPr marL="34290" marR="34290" marT="4763" marB="4763" anchor="ctr">
                    <a:solidFill>
                      <a:schemeClr val="bg1">
                        <a:lumMod val="95000"/>
                      </a:schemeClr>
                    </a:solidFill>
                  </a:tcPr>
                </a:tc>
                <a:tc>
                  <a:txBody>
                    <a:bodyPr/>
                    <a:lstStyle/>
                    <a:p>
                      <a:pPr algn="ctr"/>
                      <a:r>
                        <a:rPr lang="en-NL" sz="1400" b="0" i="0" kern="1200">
                          <a:solidFill>
                            <a:schemeClr val="tx1"/>
                          </a:solidFill>
                          <a:latin typeface="Avenir Next LT Pro" panose="020B0504020202020204" pitchFamily="34" charset="77"/>
                          <a:ea typeface="+mn-ea"/>
                          <a:cs typeface="+mn-cs"/>
                        </a:rPr>
                        <a:t>WANNEER</a:t>
                      </a:r>
                    </a:p>
                  </a:txBody>
                  <a:tcPr marL="34290" marR="34290" marT="4763" marB="4763" anchor="ctr">
                    <a:solidFill>
                      <a:schemeClr val="bg1">
                        <a:lumMod val="95000"/>
                      </a:schemeClr>
                    </a:solidFill>
                  </a:tcPr>
                </a:tc>
                <a:tc>
                  <a:txBody>
                    <a:bodyPr/>
                    <a:lstStyle/>
                    <a:p>
                      <a:pPr algn="ctr"/>
                      <a:r>
                        <a:rPr lang="en-NL" sz="1400" b="0" i="0" kern="1200">
                          <a:solidFill>
                            <a:schemeClr val="tx1"/>
                          </a:solidFill>
                          <a:latin typeface="Avenir Next LT Pro" panose="020B0504020202020204" pitchFamily="34" charset="77"/>
                          <a:ea typeface="+mn-ea"/>
                          <a:cs typeface="+mn-cs"/>
                        </a:rPr>
                        <a:t>LOCATIE</a:t>
                      </a:r>
                    </a:p>
                  </a:txBody>
                  <a:tcPr marL="34290" marR="34290" marT="4763" marB="4763" anchor="ctr">
                    <a:solidFill>
                      <a:schemeClr val="bg1">
                        <a:lumMod val="95000"/>
                      </a:schemeClr>
                    </a:solidFill>
                  </a:tcPr>
                </a:tc>
                <a:tc>
                  <a:txBody>
                    <a:bodyPr/>
                    <a:lstStyle/>
                    <a:p>
                      <a:pPr algn="ctr"/>
                      <a:r>
                        <a:rPr lang="en-NL" sz="1400" b="0" i="0" kern="1200">
                          <a:solidFill>
                            <a:schemeClr val="tx1"/>
                          </a:solidFill>
                          <a:latin typeface="Avenir Next LT Pro" panose="020B0504020202020204" pitchFamily="34" charset="77"/>
                          <a:ea typeface="+mn-ea"/>
                          <a:cs typeface="+mn-cs"/>
                        </a:rPr>
                        <a:t>WIE VAN KLANT?</a:t>
                      </a:r>
                    </a:p>
                  </a:txBody>
                  <a:tcPr marL="34290" marR="34290" marT="4763" marB="4763" anchor="ctr">
                    <a:solidFill>
                      <a:schemeClr val="bg1">
                        <a:lumMod val="95000"/>
                      </a:schemeClr>
                    </a:solidFill>
                  </a:tcPr>
                </a:tc>
                <a:tc>
                  <a:txBody>
                    <a:bodyPr/>
                    <a:lstStyle/>
                    <a:p>
                      <a:pPr algn="ctr"/>
                      <a:r>
                        <a:rPr lang="en-NL" sz="1400" b="0" i="0" kern="1200">
                          <a:solidFill>
                            <a:schemeClr val="tx1"/>
                          </a:solidFill>
                          <a:latin typeface="Avenir Next LT Pro" panose="020B0504020202020204" pitchFamily="34" charset="77"/>
                          <a:ea typeface="+mn-ea"/>
                          <a:cs typeface="+mn-cs"/>
                        </a:rPr>
                        <a:t>WIE VAN BUREAU?</a:t>
                      </a:r>
                    </a:p>
                  </a:txBody>
                  <a:tcPr marL="34290" marR="34290" marT="4763" marB="4763" anchor="ctr">
                    <a:solidFill>
                      <a:schemeClr val="bg1">
                        <a:lumMod val="95000"/>
                      </a:schemeClr>
                    </a:solidFill>
                  </a:tcPr>
                </a:tc>
                <a:extLst>
                  <a:ext uri="{0D108BD9-81ED-4DB2-BD59-A6C34878D82A}">
                    <a16:rowId xmlns:a16="http://schemas.microsoft.com/office/drawing/2014/main" val="1921021244"/>
                  </a:ext>
                </a:extLst>
              </a:tr>
              <a:tr h="954904">
                <a:tc>
                  <a:txBody>
                    <a:bodyPr/>
                    <a:lstStyle/>
                    <a:p>
                      <a:pPr algn="ctr"/>
                      <a:r>
                        <a:rPr lang="en-NL" sz="1200" b="0" i="0" kern="1200">
                          <a:solidFill>
                            <a:schemeClr val="tx1"/>
                          </a:solidFill>
                          <a:latin typeface="Avenir Next LT Pro" panose="020B0504020202020204" pitchFamily="34" charset="77"/>
                          <a:ea typeface="+mn-ea"/>
                          <a:cs typeface="+mn-cs"/>
                        </a:rPr>
                        <a:t>Wekelijkse status </a:t>
                      </a:r>
                    </a:p>
                    <a:p>
                      <a:pPr algn="ctr"/>
                      <a:r>
                        <a:rPr lang="en-NL" sz="1200" b="0" i="0" kern="1200">
                          <a:solidFill>
                            <a:schemeClr val="tx1"/>
                          </a:solidFill>
                          <a:latin typeface="Avenir Next LT Pro" panose="020B0504020202020204" pitchFamily="34" charset="77"/>
                          <a:ea typeface="+mn-ea"/>
                          <a:cs typeface="+mn-cs"/>
                        </a:rPr>
                        <a:t>meetings</a:t>
                      </a:r>
                    </a:p>
                  </a:txBody>
                  <a:tcPr marL="34290" marR="34290" marT="4763" marB="4763" anchor="ctr"/>
                </a:tc>
                <a:tc>
                  <a:txBody>
                    <a:bodyPr/>
                    <a:lstStyle/>
                    <a:p>
                      <a:pPr algn="ctr"/>
                      <a:r>
                        <a:rPr lang="en-GB" sz="1200" b="0" i="0" kern="1200">
                          <a:solidFill>
                            <a:schemeClr val="tx1"/>
                          </a:solidFill>
                          <a:latin typeface="Avenir Next LT Pro" panose="020B0504020202020204" pitchFamily="34" charset="77"/>
                          <a:ea typeface="+mn-ea"/>
                          <a:cs typeface="+mn-cs"/>
                        </a:rPr>
                        <a:t>I</a:t>
                      </a:r>
                      <a:r>
                        <a:rPr lang="en-NL" sz="1200" b="0" i="0" kern="1200">
                          <a:solidFill>
                            <a:schemeClr val="tx1"/>
                          </a:solidFill>
                          <a:latin typeface="Avenir Next LT Pro" panose="020B0504020202020204" pitchFamily="34" charset="77"/>
                          <a:ea typeface="+mn-ea"/>
                          <a:cs typeface="+mn-cs"/>
                        </a:rPr>
                        <a:t>edere dinsdag</a:t>
                      </a:r>
                    </a:p>
                    <a:p>
                      <a:pPr algn="ctr"/>
                      <a:r>
                        <a:rPr lang="en-NL" sz="1200" b="0" i="0" kern="1200">
                          <a:solidFill>
                            <a:schemeClr val="tx1"/>
                          </a:solidFill>
                          <a:latin typeface="Avenir Next LT Pro" panose="020B0504020202020204" pitchFamily="34" charset="77"/>
                          <a:ea typeface="+mn-ea"/>
                          <a:cs typeface="+mn-cs"/>
                        </a:rPr>
                        <a:t> (60 min)</a:t>
                      </a:r>
                    </a:p>
                  </a:txBody>
                  <a:tcPr marL="34290" marR="34290" marT="4763" marB="4763"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NL" sz="1200" kern="1200">
                        <a:solidFill>
                          <a:schemeClr val="tx1"/>
                        </a:solidFill>
                        <a:effectLst/>
                        <a:latin typeface="Avenir Next LT Pro" panose="020B0504020202020204" pitchFamily="34" charset="77"/>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Avenir Next LT Pro" panose="020B0504020202020204" pitchFamily="34" charset="77"/>
                          <a:ea typeface="+mn-ea"/>
                          <a:cs typeface="+mn-cs"/>
                        </a:rPr>
                        <a:t>A</a:t>
                      </a:r>
                      <a:r>
                        <a:rPr lang="en-NL" sz="1200" kern="1200">
                          <a:solidFill>
                            <a:schemeClr val="tx1"/>
                          </a:solidFill>
                          <a:effectLst/>
                          <a:latin typeface="Avenir Next LT Pro" panose="020B0504020202020204" pitchFamily="34" charset="77"/>
                          <a:ea typeface="+mn-ea"/>
                          <a:cs typeface="+mn-cs"/>
                        </a:rPr>
                        <a:t>lternerend Call &amp; F2F</a:t>
                      </a:r>
                    </a:p>
                    <a:p>
                      <a:pPr marL="0" marR="0" lvl="0" indent="0" algn="ctr" defTabSz="914400" rtl="0" eaLnBrk="1" fontAlgn="auto" latinLnBrk="0" hangingPunct="1">
                        <a:lnSpc>
                          <a:spcPct val="100000"/>
                        </a:lnSpc>
                        <a:spcBef>
                          <a:spcPts val="0"/>
                        </a:spcBef>
                        <a:spcAft>
                          <a:spcPts val="0"/>
                        </a:spcAft>
                        <a:buClrTx/>
                        <a:buSzTx/>
                        <a:buFontTx/>
                        <a:buNone/>
                        <a:tabLst/>
                        <a:defRPr/>
                      </a:pPr>
                      <a:r>
                        <a:rPr lang="en-NL" sz="1200" kern="1200">
                          <a:solidFill>
                            <a:schemeClr val="tx1"/>
                          </a:solidFill>
                          <a:effectLst/>
                          <a:latin typeface="Avenir Next LT Pro" panose="020B0504020202020204" pitchFamily="34" charset="77"/>
                          <a:ea typeface="+mn-ea"/>
                          <a:cs typeface="+mn-cs"/>
                        </a:rPr>
                        <a:t>(2 keer per maand op locatie in NL of Belgie)</a:t>
                      </a:r>
                    </a:p>
                  </a:txBody>
                  <a:tcPr marL="34290" marR="34290" marT="4763" marB="4763" anchor="ctr"/>
                </a:tc>
                <a:tc>
                  <a:txBody>
                    <a:bodyPr/>
                    <a:lstStyle/>
                    <a:p>
                      <a:pPr algn="ctr"/>
                      <a:r>
                        <a:rPr lang="en-NL" sz="1200" b="0" i="0" kern="1200">
                          <a:solidFill>
                            <a:schemeClr val="tx1"/>
                          </a:solidFill>
                          <a:latin typeface="Avenir Next LT Pro" panose="020B0504020202020204" pitchFamily="34" charset="77"/>
                          <a:ea typeface="+mn-ea"/>
                          <a:cs typeface="+mn-cs"/>
                        </a:rPr>
                        <a:t>Key team members</a:t>
                      </a:r>
                    </a:p>
                  </a:txBody>
                  <a:tcPr marL="34290" marR="34290" marT="4763" marB="4763"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L" sz="1200" b="0" i="0" kern="1200">
                          <a:solidFill>
                            <a:schemeClr val="tx1"/>
                          </a:solidFill>
                          <a:latin typeface="Avenir Next LT Pro" panose="020B0504020202020204" pitchFamily="34" charset="77"/>
                          <a:ea typeface="+mn-ea"/>
                          <a:cs typeface="+mn-cs"/>
                        </a:rPr>
                        <a:t>Iris, Mattias, Julie</a:t>
                      </a:r>
                    </a:p>
                  </a:txBody>
                  <a:tcPr marL="34290" marR="34290" marT="4763" marB="4763" anchor="ctr"/>
                </a:tc>
                <a:extLst>
                  <a:ext uri="{0D108BD9-81ED-4DB2-BD59-A6C34878D82A}">
                    <a16:rowId xmlns:a16="http://schemas.microsoft.com/office/drawing/2014/main" val="2043431786"/>
                  </a:ext>
                </a:extLst>
              </a:tr>
              <a:tr h="954904">
                <a:tc>
                  <a:txBody>
                    <a:bodyPr/>
                    <a:lstStyle/>
                    <a:p>
                      <a:pPr algn="ctr"/>
                      <a:r>
                        <a:rPr lang="en-NL" sz="1200" b="0" i="0" kern="1200">
                          <a:solidFill>
                            <a:schemeClr val="tx1"/>
                          </a:solidFill>
                          <a:latin typeface="Avenir Next LT Pro" panose="020B0504020202020204" pitchFamily="34" charset="77"/>
                          <a:ea typeface="+mn-ea"/>
                          <a:cs typeface="+mn-cs"/>
                        </a:rPr>
                        <a:t>Maandelijkse rapportage gespendeerde uren</a:t>
                      </a:r>
                    </a:p>
                  </a:txBody>
                  <a:tcPr marL="34290" marR="34290" marT="4763" marB="4763" anchor="ctr"/>
                </a:tc>
                <a:tc>
                  <a:txBody>
                    <a:bodyPr/>
                    <a:lstStyle/>
                    <a:p>
                      <a:pPr algn="ctr"/>
                      <a:r>
                        <a:rPr lang="en-NL" sz="1200" b="0" i="0" kern="1200">
                          <a:solidFill>
                            <a:schemeClr val="tx1"/>
                          </a:solidFill>
                          <a:latin typeface="Avenir Next LT Pro" panose="020B0504020202020204" pitchFamily="34" charset="77"/>
                          <a:ea typeface="+mn-ea"/>
                          <a:cs typeface="+mn-cs"/>
                        </a:rPr>
                        <a:t>3 weken na maand afsluiting</a:t>
                      </a:r>
                    </a:p>
                  </a:txBody>
                  <a:tcPr marL="34290" marR="34290" marT="4763" marB="4763"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i="0" kern="1200">
                          <a:solidFill>
                            <a:schemeClr val="tx1"/>
                          </a:solidFill>
                          <a:effectLst/>
                          <a:latin typeface="Avenir Next LT Pro" panose="020B0504020202020204" pitchFamily="34" charset="77"/>
                          <a:ea typeface="+mn-ea"/>
                          <a:cs typeface="+mn-cs"/>
                        </a:rPr>
                        <a:t>Via email – </a:t>
                      </a:r>
                      <a:r>
                        <a:rPr lang="en-GB" sz="1200" i="0" kern="1200" err="1">
                          <a:solidFill>
                            <a:schemeClr val="tx1"/>
                          </a:solidFill>
                          <a:effectLst/>
                          <a:latin typeface="Avenir Next LT Pro" panose="020B0504020202020204" pitchFamily="34" charset="77"/>
                          <a:ea typeface="+mn-ea"/>
                          <a:cs typeface="+mn-cs"/>
                        </a:rPr>
                        <a:t>te</a:t>
                      </a:r>
                      <a:r>
                        <a:rPr lang="en-GB" sz="1200" i="0" kern="1200">
                          <a:solidFill>
                            <a:schemeClr val="tx1"/>
                          </a:solidFill>
                          <a:effectLst/>
                          <a:latin typeface="Avenir Next LT Pro" panose="020B0504020202020204" pitchFamily="34" charset="77"/>
                          <a:ea typeface="+mn-ea"/>
                          <a:cs typeface="+mn-cs"/>
                        </a:rPr>
                        <a:t> </a:t>
                      </a:r>
                      <a:r>
                        <a:rPr lang="en-GB" sz="1200" i="0" kern="1200" err="1">
                          <a:solidFill>
                            <a:schemeClr val="tx1"/>
                          </a:solidFill>
                          <a:effectLst/>
                          <a:latin typeface="Avenir Next LT Pro" panose="020B0504020202020204" pitchFamily="34" charset="77"/>
                          <a:ea typeface="+mn-ea"/>
                          <a:cs typeface="+mn-cs"/>
                        </a:rPr>
                        <a:t>bespreken</a:t>
                      </a:r>
                      <a:r>
                        <a:rPr lang="en-GB" sz="1200" i="0" kern="1200">
                          <a:solidFill>
                            <a:schemeClr val="tx1"/>
                          </a:solidFill>
                          <a:effectLst/>
                          <a:latin typeface="Avenir Next LT Pro" panose="020B0504020202020204" pitchFamily="34" charset="77"/>
                          <a:ea typeface="+mn-ea"/>
                          <a:cs typeface="+mn-cs"/>
                        </a:rPr>
                        <a:t> </a:t>
                      </a:r>
                      <a:r>
                        <a:rPr lang="en-GB" sz="1200" i="0" kern="1200" err="1">
                          <a:solidFill>
                            <a:schemeClr val="tx1"/>
                          </a:solidFill>
                          <a:effectLst/>
                          <a:latin typeface="Avenir Next LT Pro" panose="020B0504020202020204" pitchFamily="34" charset="77"/>
                          <a:ea typeface="+mn-ea"/>
                          <a:cs typeface="+mn-cs"/>
                        </a:rPr>
                        <a:t>tijdens</a:t>
                      </a:r>
                      <a:r>
                        <a:rPr lang="en-GB" sz="1200" i="0" kern="1200">
                          <a:solidFill>
                            <a:schemeClr val="tx1"/>
                          </a:solidFill>
                          <a:effectLst/>
                          <a:latin typeface="Avenir Next LT Pro" panose="020B0504020202020204" pitchFamily="34" charset="77"/>
                          <a:ea typeface="+mn-ea"/>
                          <a:cs typeface="+mn-cs"/>
                        </a:rPr>
                        <a:t> de </a:t>
                      </a:r>
                      <a:r>
                        <a:rPr lang="en-GB" sz="1200" i="0" kern="1200" err="1">
                          <a:solidFill>
                            <a:schemeClr val="tx1"/>
                          </a:solidFill>
                          <a:effectLst/>
                          <a:latin typeface="Avenir Next LT Pro" panose="020B0504020202020204" pitchFamily="34" charset="77"/>
                          <a:ea typeface="+mn-ea"/>
                          <a:cs typeface="+mn-cs"/>
                        </a:rPr>
                        <a:t>wekelijkse</a:t>
                      </a:r>
                      <a:r>
                        <a:rPr lang="en-GB" sz="1200" i="0" kern="1200">
                          <a:solidFill>
                            <a:schemeClr val="tx1"/>
                          </a:solidFill>
                          <a:effectLst/>
                          <a:latin typeface="Avenir Next LT Pro" panose="020B0504020202020204" pitchFamily="34" charset="77"/>
                          <a:ea typeface="+mn-ea"/>
                          <a:cs typeface="+mn-cs"/>
                        </a:rPr>
                        <a:t> status</a:t>
                      </a:r>
                      <a:endParaRPr lang="en-NL" sz="1200" i="0" kern="1200">
                        <a:solidFill>
                          <a:schemeClr val="tx1"/>
                        </a:solidFill>
                        <a:effectLst/>
                        <a:latin typeface="Avenir Next LT Pro" panose="020B0504020202020204" pitchFamily="34" charset="77"/>
                        <a:ea typeface="+mn-ea"/>
                        <a:cs typeface="+mn-cs"/>
                      </a:endParaRPr>
                    </a:p>
                  </a:txBody>
                  <a:tcPr marL="34290" marR="34290" marT="4763" marB="4763" anchor="ctr"/>
                </a:tc>
                <a:tc>
                  <a:txBody>
                    <a:bodyPr/>
                    <a:lstStyle/>
                    <a:p>
                      <a:pPr algn="ctr"/>
                      <a:r>
                        <a:rPr lang="en-NL" sz="1200" b="0" i="0" kern="1200">
                          <a:solidFill>
                            <a:schemeClr val="tx1"/>
                          </a:solidFill>
                          <a:latin typeface="Avenir Next LT Pro" panose="020B0504020202020204" pitchFamily="34" charset="77"/>
                          <a:ea typeface="+mn-ea"/>
                          <a:cs typeface="+mn-cs"/>
                        </a:rPr>
                        <a:t>Team lead</a:t>
                      </a:r>
                    </a:p>
                  </a:txBody>
                  <a:tcPr marL="34290" marR="34290" marT="4763" marB="4763" anchor="ctr"/>
                </a:tc>
                <a:tc>
                  <a:txBody>
                    <a:bodyPr/>
                    <a:lstStyle/>
                    <a:p>
                      <a:pPr algn="ctr"/>
                      <a:r>
                        <a:rPr lang="en-NL" sz="1200" b="0" i="0" kern="1200">
                          <a:solidFill>
                            <a:schemeClr val="tx1"/>
                          </a:solidFill>
                          <a:latin typeface="Avenir Next LT Pro" panose="020B0504020202020204" pitchFamily="34" charset="77"/>
                          <a:ea typeface="+mn-ea"/>
                          <a:cs typeface="+mn-cs"/>
                        </a:rPr>
                        <a:t>Iris &amp; Mattias</a:t>
                      </a:r>
                    </a:p>
                  </a:txBody>
                  <a:tcPr marL="34290" marR="34290" marT="4763" marB="4763" anchor="ctr"/>
                </a:tc>
                <a:extLst>
                  <a:ext uri="{0D108BD9-81ED-4DB2-BD59-A6C34878D82A}">
                    <a16:rowId xmlns:a16="http://schemas.microsoft.com/office/drawing/2014/main" val="4028210190"/>
                  </a:ext>
                </a:extLst>
              </a:tr>
              <a:tr h="954904">
                <a:tc>
                  <a:txBody>
                    <a:bodyPr/>
                    <a:lstStyle/>
                    <a:p>
                      <a:pPr algn="ctr"/>
                      <a:r>
                        <a:rPr lang="en-NL" sz="1200" b="0" i="0" kern="1200">
                          <a:solidFill>
                            <a:schemeClr val="tx1"/>
                          </a:solidFill>
                          <a:latin typeface="Avenir Next LT Pro" panose="020B0504020202020204" pitchFamily="34" charset="77"/>
                          <a:ea typeface="+mn-ea"/>
                          <a:cs typeface="+mn-cs"/>
                        </a:rPr>
                        <a:t>Kwartaal strategie sessie (als doorgegeven in RFQ)</a:t>
                      </a:r>
                    </a:p>
                  </a:txBody>
                  <a:tcPr marL="34290" marR="34290" marT="4763" marB="4763" anchor="ctr"/>
                </a:tc>
                <a:tc>
                  <a:txBody>
                    <a:bodyPr/>
                    <a:lstStyle/>
                    <a:p>
                      <a:pPr algn="ctr"/>
                      <a:r>
                        <a:rPr lang="en-NL" sz="1200" b="0" i="0" kern="1200">
                          <a:solidFill>
                            <a:schemeClr val="tx1"/>
                          </a:solidFill>
                          <a:latin typeface="Avenir Next LT Pro" panose="020B0504020202020204" pitchFamily="34" charset="77"/>
                          <a:ea typeface="+mn-ea"/>
                          <a:cs typeface="+mn-cs"/>
                        </a:rPr>
                        <a:t>Ieder kwartaal (4 x per jaar)</a:t>
                      </a:r>
                    </a:p>
                  </a:txBody>
                  <a:tcPr marL="34290" marR="34290" marT="4763" marB="4763"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L" sz="1200" kern="1200">
                          <a:solidFill>
                            <a:schemeClr val="tx1"/>
                          </a:solidFill>
                          <a:effectLst/>
                          <a:latin typeface="Avenir Next LT Pro" panose="020B0504020202020204" pitchFamily="34" charset="77"/>
                          <a:ea typeface="+mn-ea"/>
                          <a:cs typeface="+mn-cs"/>
                        </a:rPr>
                        <a:t>TBD</a:t>
                      </a:r>
                    </a:p>
                  </a:txBody>
                  <a:tcPr marL="34290" marR="34290" marT="4763" marB="4763" anchor="ctr"/>
                </a:tc>
                <a:tc>
                  <a:txBody>
                    <a:bodyPr/>
                    <a:lstStyle/>
                    <a:p>
                      <a:pPr algn="ctr"/>
                      <a:r>
                        <a:rPr lang="en-NL" sz="1200" b="0" i="0" kern="1200">
                          <a:solidFill>
                            <a:schemeClr val="tx1"/>
                          </a:solidFill>
                          <a:latin typeface="Avenir Next LT Pro" panose="020B0504020202020204" pitchFamily="34" charset="77"/>
                          <a:ea typeface="+mn-ea"/>
                          <a:cs typeface="+mn-cs"/>
                        </a:rPr>
                        <a:t>Volledig team?</a:t>
                      </a:r>
                    </a:p>
                  </a:txBody>
                  <a:tcPr marL="34290" marR="34290" marT="4763" marB="4763" anchor="ctr"/>
                </a:tc>
                <a:tc>
                  <a:txBody>
                    <a:bodyPr/>
                    <a:lstStyle/>
                    <a:p>
                      <a:pPr algn="ctr"/>
                      <a:r>
                        <a:rPr lang="en-NL" sz="1200" b="0" i="0" kern="1200">
                          <a:solidFill>
                            <a:schemeClr val="tx1"/>
                          </a:solidFill>
                          <a:latin typeface="Avenir Next LT Pro" panose="020B0504020202020204" pitchFamily="34" charset="77"/>
                          <a:ea typeface="+mn-ea"/>
                          <a:cs typeface="+mn-cs"/>
                        </a:rPr>
                        <a:t>Account en strategie</a:t>
                      </a:r>
                    </a:p>
                  </a:txBody>
                  <a:tcPr marL="34290" marR="34290" marT="4763" marB="4763" anchor="ctr"/>
                </a:tc>
                <a:extLst>
                  <a:ext uri="{0D108BD9-81ED-4DB2-BD59-A6C34878D82A}">
                    <a16:rowId xmlns:a16="http://schemas.microsoft.com/office/drawing/2014/main" val="2454986113"/>
                  </a:ext>
                </a:extLst>
              </a:tr>
              <a:tr h="954904">
                <a:tc>
                  <a:txBody>
                    <a:bodyPr/>
                    <a:lstStyle/>
                    <a:p>
                      <a:pPr algn="ctr"/>
                      <a:r>
                        <a:rPr lang="en-NL" sz="1200" b="0" i="0" kern="1200">
                          <a:solidFill>
                            <a:schemeClr val="tx1"/>
                          </a:solidFill>
                          <a:latin typeface="Avenir Next LT Pro" panose="020B0504020202020204" pitchFamily="34" charset="77"/>
                          <a:ea typeface="+mn-ea"/>
                          <a:cs typeface="+mn-cs"/>
                        </a:rPr>
                        <a:t>Jaarlijkse 'After Cannes’ Bureau sessie (Inspirerende Creatieve dag – voor team building en inspiratie)</a:t>
                      </a:r>
                    </a:p>
                  </a:txBody>
                  <a:tcPr marL="34290" marR="34290" marT="4763" marB="4763" anchor="ctr"/>
                </a:tc>
                <a:tc>
                  <a:txBody>
                    <a:bodyPr/>
                    <a:lstStyle/>
                    <a:p>
                      <a:pPr algn="ctr"/>
                      <a:r>
                        <a:rPr lang="en-NL" sz="1200" b="0" i="0" kern="1200">
                          <a:solidFill>
                            <a:schemeClr val="tx1"/>
                          </a:solidFill>
                          <a:latin typeface="Avenir Next LT Pro"/>
                          <a:ea typeface="+mn-ea"/>
                          <a:cs typeface="+mn-cs"/>
                        </a:rPr>
                        <a:t>September</a:t>
                      </a:r>
                    </a:p>
                  </a:txBody>
                  <a:tcPr marL="34290" marR="34290" marT="4763" marB="4763"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L" sz="1200" kern="1200">
                          <a:solidFill>
                            <a:schemeClr val="tx1"/>
                          </a:solidFill>
                          <a:effectLst/>
                          <a:latin typeface="Avenir Next LT Pro" panose="020B0504020202020204" pitchFamily="34" charset="77"/>
                          <a:ea typeface="+mn-ea"/>
                          <a:cs typeface="+mn-cs"/>
                        </a:rPr>
                        <a:t>Vilvoorde</a:t>
                      </a:r>
                    </a:p>
                  </a:txBody>
                  <a:tcPr marL="34290" marR="34290" marT="4763" marB="4763" anchor="ctr"/>
                </a:tc>
                <a:tc>
                  <a:txBody>
                    <a:bodyPr/>
                    <a:lstStyle/>
                    <a:p>
                      <a:pPr algn="ctr"/>
                      <a:r>
                        <a:rPr lang="en-NL" sz="1200" b="0" i="0" kern="1200">
                          <a:solidFill>
                            <a:schemeClr val="tx1"/>
                          </a:solidFill>
                          <a:latin typeface="Avenir Next LT Pro" panose="020B0504020202020204" pitchFamily="34" charset="77"/>
                          <a:ea typeface="+mn-ea"/>
                          <a:cs typeface="+mn-cs"/>
                        </a:rPr>
                        <a:t>Volledige team </a:t>
                      </a:r>
                    </a:p>
                  </a:txBody>
                  <a:tcPr marL="34290" marR="34290" marT="4763" marB="4763" anchor="ctr"/>
                </a:tc>
                <a:tc>
                  <a:txBody>
                    <a:bodyPr/>
                    <a:lstStyle/>
                    <a:p>
                      <a:pPr algn="ctr"/>
                      <a:r>
                        <a:rPr lang="en-NL" sz="1200" b="0" i="0" kern="1200">
                          <a:solidFill>
                            <a:schemeClr val="tx1"/>
                          </a:solidFill>
                          <a:latin typeface="Avenir Next LT Pro" panose="020B0504020202020204" pitchFamily="34" charset="77"/>
                          <a:ea typeface="+mn-ea"/>
                          <a:cs typeface="+mn-cs"/>
                        </a:rPr>
                        <a:t>Volledige team</a:t>
                      </a:r>
                    </a:p>
                  </a:txBody>
                  <a:tcPr marL="34290" marR="34290" marT="4763" marB="4763" anchor="ctr"/>
                </a:tc>
                <a:extLst>
                  <a:ext uri="{0D108BD9-81ED-4DB2-BD59-A6C34878D82A}">
                    <a16:rowId xmlns:a16="http://schemas.microsoft.com/office/drawing/2014/main" val="823459142"/>
                  </a:ext>
                </a:extLst>
              </a:tr>
              <a:tr h="954904">
                <a:tc>
                  <a:txBody>
                    <a:bodyPr/>
                    <a:lstStyle/>
                    <a:p>
                      <a:pPr algn="ctr"/>
                      <a:r>
                        <a:rPr lang="en-NL" sz="1200" b="0" i="0" kern="1200">
                          <a:solidFill>
                            <a:schemeClr val="tx1"/>
                          </a:solidFill>
                          <a:latin typeface="Avenir Next LT Pro" panose="020B0504020202020204" pitchFamily="34" charset="77"/>
                          <a:ea typeface="+mn-ea"/>
                          <a:cs typeface="+mn-cs"/>
                        </a:rPr>
                        <a:t>Jaarlijkse evaluatie</a:t>
                      </a:r>
                    </a:p>
                  </a:txBody>
                  <a:tcPr marL="34290" marR="34290" marT="4763" marB="4763" anchor="ctr"/>
                </a:tc>
                <a:tc>
                  <a:txBody>
                    <a:bodyPr/>
                    <a:lstStyle/>
                    <a:p>
                      <a:pPr algn="ctr"/>
                      <a:r>
                        <a:rPr lang="en-NL" sz="1200" b="0" i="0" kern="1200">
                          <a:solidFill>
                            <a:schemeClr val="tx1"/>
                          </a:solidFill>
                          <a:latin typeface="Avenir Next LT Pro"/>
                          <a:ea typeface="+mn-ea"/>
                          <a:cs typeface="+mn-cs"/>
                        </a:rPr>
                        <a:t>Januari</a:t>
                      </a:r>
                    </a:p>
                  </a:txBody>
                  <a:tcPr marL="34290" marR="34290" marT="4763" marB="4763"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L" sz="1200" kern="1200">
                          <a:solidFill>
                            <a:schemeClr val="tx1"/>
                          </a:solidFill>
                          <a:effectLst/>
                          <a:latin typeface="Avenir Next LT Pro" panose="020B0504020202020204" pitchFamily="34" charset="77"/>
                          <a:ea typeface="+mn-ea"/>
                          <a:cs typeface="+mn-cs"/>
                        </a:rPr>
                        <a:t>Bij ICI </a:t>
                      </a:r>
                      <a:r>
                        <a:rPr lang="nl-BE" sz="1200" kern="1200">
                          <a:solidFill>
                            <a:schemeClr val="tx1"/>
                          </a:solidFill>
                          <a:effectLst/>
                          <a:latin typeface="Avenir Next LT Pro" panose="020B0504020202020204" pitchFamily="34" charset="77"/>
                          <a:ea typeface="+mn-ea"/>
                          <a:cs typeface="+mn-cs"/>
                        </a:rPr>
                        <a:t>PARIS XL</a:t>
                      </a:r>
                      <a:endParaRPr lang="en-NL" sz="1200" kern="1200">
                        <a:solidFill>
                          <a:schemeClr val="tx1"/>
                        </a:solidFill>
                        <a:effectLst/>
                        <a:latin typeface="Avenir Next LT Pro" panose="020B0504020202020204" pitchFamily="34" charset="77"/>
                        <a:ea typeface="+mn-ea"/>
                        <a:cs typeface="+mn-cs"/>
                      </a:endParaRPr>
                    </a:p>
                  </a:txBody>
                  <a:tcPr marL="34290" marR="34290" marT="4763" marB="4763" anchor="ctr"/>
                </a:tc>
                <a:tc>
                  <a:txBody>
                    <a:bodyPr/>
                    <a:lstStyle/>
                    <a:p>
                      <a:pPr algn="ctr"/>
                      <a:r>
                        <a:rPr lang="en-NL" sz="1200" b="0" i="0" kern="1200">
                          <a:solidFill>
                            <a:schemeClr val="tx1"/>
                          </a:solidFill>
                          <a:latin typeface="Avenir Next LT Pro" panose="020B0504020202020204" pitchFamily="34" charset="77"/>
                          <a:ea typeface="+mn-ea"/>
                          <a:cs typeface="+mn-cs"/>
                        </a:rPr>
                        <a:t>Key team members</a:t>
                      </a:r>
                    </a:p>
                  </a:txBody>
                  <a:tcPr marL="34290" marR="34290" marT="4763" marB="4763"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L" sz="1200" b="0" i="0" kern="1200">
                          <a:solidFill>
                            <a:schemeClr val="tx1"/>
                          </a:solidFill>
                          <a:latin typeface="Avenir Next LT Pro" panose="020B0504020202020204" pitchFamily="34" charset="77"/>
                          <a:ea typeface="+mn-ea"/>
                          <a:cs typeface="+mn-cs"/>
                        </a:rPr>
                        <a:t>Iris, Mattias, Daan</a:t>
                      </a:r>
                    </a:p>
                    <a:p>
                      <a:pPr algn="ctr"/>
                      <a:endParaRPr lang="en-NL" sz="1200" b="0" i="0" kern="1200">
                        <a:solidFill>
                          <a:schemeClr val="tx1"/>
                        </a:solidFill>
                        <a:latin typeface="Avenir Next LT Pro" panose="020B0504020202020204" pitchFamily="34" charset="77"/>
                        <a:ea typeface="+mn-ea"/>
                        <a:cs typeface="+mn-cs"/>
                      </a:endParaRPr>
                    </a:p>
                  </a:txBody>
                  <a:tcPr marL="34290" marR="34290" marT="4763" marB="4763" anchor="ctr"/>
                </a:tc>
                <a:extLst>
                  <a:ext uri="{0D108BD9-81ED-4DB2-BD59-A6C34878D82A}">
                    <a16:rowId xmlns:a16="http://schemas.microsoft.com/office/drawing/2014/main" val="2106389191"/>
                  </a:ext>
                </a:extLst>
              </a:tr>
            </a:tbl>
          </a:graphicData>
        </a:graphic>
      </p:graphicFrame>
    </p:spTree>
    <p:extLst>
      <p:ext uri="{BB962C8B-B14F-4D97-AF65-F5344CB8AC3E}">
        <p14:creationId xmlns:p14="http://schemas.microsoft.com/office/powerpoint/2010/main" val="26254711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5BF70966-679A-B04E-F58C-15635832311C}"/>
              </a:ext>
            </a:extLst>
          </p:cNvPr>
          <p:cNvSpPr txBox="1">
            <a:spLocks/>
          </p:cNvSpPr>
          <p:nvPr/>
        </p:nvSpPr>
        <p:spPr>
          <a:xfrm>
            <a:off x="437389" y="265216"/>
            <a:ext cx="7070994" cy="249689"/>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1050" spc="600">
                <a:solidFill>
                  <a:srgbClr val="282830"/>
                </a:solidFill>
                <a:uFill>
                  <a:solidFill>
                    <a:srgbClr val="DCCF7F"/>
                  </a:solidFill>
                </a:uFill>
                <a:latin typeface="Avenir Next LT Pro"/>
                <a:cs typeface="Arial"/>
              </a:rPr>
              <a:t>TERUGKERENDE MEETINGS (INTERN)</a:t>
            </a:r>
            <a:endParaRPr lang="en-BE" sz="1050" spc="600">
              <a:solidFill>
                <a:srgbClr val="282830"/>
              </a:solidFill>
              <a:uFill>
                <a:solidFill>
                  <a:srgbClr val="DCCF7F"/>
                </a:solidFill>
              </a:uFill>
              <a:latin typeface="Avenir Next LT Pro" panose="020B0504020202020204" pitchFamily="34" charset="77"/>
              <a:cs typeface="Arial" panose="020B0604020202020204" pitchFamily="34" charset="0"/>
            </a:endParaRPr>
          </a:p>
        </p:txBody>
      </p:sp>
      <p:cxnSp>
        <p:nvCxnSpPr>
          <p:cNvPr id="3" name="Straight Connector 2">
            <a:extLst>
              <a:ext uri="{FF2B5EF4-FFF2-40B4-BE49-F238E27FC236}">
                <a16:creationId xmlns:a16="http://schemas.microsoft.com/office/drawing/2014/main" id="{AF64E708-B6D2-3C82-392D-F467D0F4FD85}"/>
              </a:ext>
            </a:extLst>
          </p:cNvPr>
          <p:cNvCxnSpPr>
            <a:cxnSpLocks/>
          </p:cNvCxnSpPr>
          <p:nvPr/>
        </p:nvCxnSpPr>
        <p:spPr>
          <a:xfrm flipV="1">
            <a:off x="437389" y="528042"/>
            <a:ext cx="4611074" cy="8156"/>
          </a:xfrm>
          <a:prstGeom prst="line">
            <a:avLst/>
          </a:prstGeom>
          <a:noFill/>
          <a:ln w="12700" cap="flat" cmpd="sng" algn="ctr">
            <a:solidFill>
              <a:srgbClr val="DCCF7F"/>
            </a:solidFill>
            <a:prstDash val="solid"/>
            <a:miter lim="800000"/>
          </a:ln>
          <a:effectLst/>
        </p:spPr>
      </p:cxnSp>
      <p:graphicFrame>
        <p:nvGraphicFramePr>
          <p:cNvPr id="5" name="Table 4">
            <a:extLst>
              <a:ext uri="{FF2B5EF4-FFF2-40B4-BE49-F238E27FC236}">
                <a16:creationId xmlns:a16="http://schemas.microsoft.com/office/drawing/2014/main" id="{ED0D0F3B-022C-3A9C-BB22-459378F865C6}"/>
              </a:ext>
            </a:extLst>
          </p:cNvPr>
          <p:cNvGraphicFramePr>
            <a:graphicFrameLocks noGrp="1"/>
          </p:cNvGraphicFramePr>
          <p:nvPr>
            <p:extLst>
              <p:ext uri="{D42A27DB-BD31-4B8C-83A1-F6EECF244321}">
                <p14:modId xmlns:p14="http://schemas.microsoft.com/office/powerpoint/2010/main" val="3040469041"/>
              </p:ext>
            </p:extLst>
          </p:nvPr>
        </p:nvGraphicFramePr>
        <p:xfrm>
          <a:off x="440120" y="1898431"/>
          <a:ext cx="9976056" cy="2358042"/>
        </p:xfrm>
        <a:graphic>
          <a:graphicData uri="http://schemas.openxmlformats.org/drawingml/2006/table">
            <a:tbl>
              <a:tblPr firstRow="1" firstCol="1" bandRow="1">
                <a:tableStyleId>{5940675A-B579-460E-94D1-54222C63F5DA}</a:tableStyleId>
              </a:tblPr>
              <a:tblGrid>
                <a:gridCol w="2443039">
                  <a:extLst>
                    <a:ext uri="{9D8B030D-6E8A-4147-A177-3AD203B41FA5}">
                      <a16:colId xmlns:a16="http://schemas.microsoft.com/office/drawing/2014/main" val="2342733552"/>
                    </a:ext>
                  </a:extLst>
                </a:gridCol>
                <a:gridCol w="2275178">
                  <a:extLst>
                    <a:ext uri="{9D8B030D-6E8A-4147-A177-3AD203B41FA5}">
                      <a16:colId xmlns:a16="http://schemas.microsoft.com/office/drawing/2014/main" val="1446305796"/>
                    </a:ext>
                  </a:extLst>
                </a:gridCol>
                <a:gridCol w="2474590">
                  <a:extLst>
                    <a:ext uri="{9D8B030D-6E8A-4147-A177-3AD203B41FA5}">
                      <a16:colId xmlns:a16="http://schemas.microsoft.com/office/drawing/2014/main" val="2876975695"/>
                    </a:ext>
                  </a:extLst>
                </a:gridCol>
                <a:gridCol w="2783249">
                  <a:extLst>
                    <a:ext uri="{9D8B030D-6E8A-4147-A177-3AD203B41FA5}">
                      <a16:colId xmlns:a16="http://schemas.microsoft.com/office/drawing/2014/main" val="1811265395"/>
                    </a:ext>
                  </a:extLst>
                </a:gridCol>
              </a:tblGrid>
              <a:tr h="448235">
                <a:tc>
                  <a:txBody>
                    <a:bodyPr/>
                    <a:lstStyle/>
                    <a:p>
                      <a:pPr algn="ctr"/>
                      <a:r>
                        <a:rPr lang="en-NL" sz="1400" b="0" i="0" kern="1200">
                          <a:solidFill>
                            <a:schemeClr val="tx1"/>
                          </a:solidFill>
                          <a:latin typeface="Avenir Next LT Pro"/>
                          <a:ea typeface="+mn-ea"/>
                          <a:cs typeface="+mn-cs"/>
                        </a:rPr>
                        <a:t>SOORT MEETING/ ACTIVITEIT</a:t>
                      </a:r>
                    </a:p>
                  </a:txBody>
                  <a:tcPr marL="34290" marR="34290" marT="4763" marB="4763" anchor="ctr">
                    <a:solidFill>
                      <a:schemeClr val="bg1">
                        <a:lumMod val="95000"/>
                      </a:schemeClr>
                    </a:solidFill>
                  </a:tcPr>
                </a:tc>
                <a:tc>
                  <a:txBody>
                    <a:bodyPr/>
                    <a:lstStyle/>
                    <a:p>
                      <a:pPr algn="ctr"/>
                      <a:r>
                        <a:rPr lang="en-NL" sz="1400" b="0" i="0" kern="1200">
                          <a:solidFill>
                            <a:schemeClr val="tx1"/>
                          </a:solidFill>
                          <a:latin typeface="Avenir Next LT Pro"/>
                          <a:ea typeface="+mn-ea"/>
                          <a:cs typeface="+mn-cs"/>
                        </a:rPr>
                        <a:t>WANNEER</a:t>
                      </a:r>
                    </a:p>
                  </a:txBody>
                  <a:tcPr marL="34290" marR="34290" marT="4763" marB="4763" anchor="ctr">
                    <a:solidFill>
                      <a:schemeClr val="bg1">
                        <a:lumMod val="95000"/>
                      </a:schemeClr>
                    </a:solidFill>
                  </a:tcPr>
                </a:tc>
                <a:tc>
                  <a:txBody>
                    <a:bodyPr/>
                    <a:lstStyle/>
                    <a:p>
                      <a:pPr algn="ctr"/>
                      <a:r>
                        <a:rPr lang="en-NL" sz="1400" b="0" i="0" kern="1200">
                          <a:solidFill>
                            <a:schemeClr val="tx1"/>
                          </a:solidFill>
                          <a:latin typeface="Avenir Next LT Pro"/>
                          <a:ea typeface="+mn-ea"/>
                          <a:cs typeface="+mn-cs"/>
                        </a:rPr>
                        <a:t>LOCATIE</a:t>
                      </a:r>
                    </a:p>
                  </a:txBody>
                  <a:tcPr marL="34290" marR="34290" marT="4763" marB="4763" anchor="ctr">
                    <a:solidFill>
                      <a:schemeClr val="bg1">
                        <a:lumMod val="95000"/>
                      </a:schemeClr>
                    </a:solidFill>
                  </a:tcPr>
                </a:tc>
                <a:tc>
                  <a:txBody>
                    <a:bodyPr/>
                    <a:lstStyle/>
                    <a:p>
                      <a:pPr algn="ctr"/>
                      <a:r>
                        <a:rPr lang="en-NL" sz="1400" b="0" i="0" kern="1200">
                          <a:solidFill>
                            <a:schemeClr val="tx1"/>
                          </a:solidFill>
                          <a:latin typeface="Avenir Next LT Pro"/>
                          <a:ea typeface="+mn-ea"/>
                          <a:cs typeface="+mn-cs"/>
                        </a:rPr>
                        <a:t>WIE?</a:t>
                      </a:r>
                    </a:p>
                  </a:txBody>
                  <a:tcPr marL="34290" marR="34290" marT="4763" marB="4763" anchor="ctr">
                    <a:solidFill>
                      <a:schemeClr val="bg1">
                        <a:lumMod val="95000"/>
                      </a:schemeClr>
                    </a:solidFill>
                  </a:tcPr>
                </a:tc>
                <a:extLst>
                  <a:ext uri="{0D108BD9-81ED-4DB2-BD59-A6C34878D82A}">
                    <a16:rowId xmlns:a16="http://schemas.microsoft.com/office/drawing/2014/main" val="1921021244"/>
                  </a:ext>
                </a:extLst>
              </a:tr>
              <a:tr h="954904">
                <a:tc>
                  <a:txBody>
                    <a:bodyPr/>
                    <a:lstStyle/>
                    <a:p>
                      <a:pPr algn="ctr"/>
                      <a:r>
                        <a:rPr lang="en-NL" sz="1200" b="0" i="0" kern="1200" err="1">
                          <a:solidFill>
                            <a:schemeClr val="tx1"/>
                          </a:solidFill>
                          <a:latin typeface="Avenir Next LT Pro"/>
                          <a:ea typeface="+mn-ea"/>
                          <a:cs typeface="+mn-cs"/>
                        </a:rPr>
                        <a:t>Wekelijkse</a:t>
                      </a:r>
                      <a:r>
                        <a:rPr lang="en-NL" sz="1200" b="0" i="0" kern="1200">
                          <a:solidFill>
                            <a:schemeClr val="tx1"/>
                          </a:solidFill>
                          <a:latin typeface="Avenir Next LT Pro"/>
                          <a:ea typeface="+mn-ea"/>
                          <a:cs typeface="+mn-cs"/>
                        </a:rPr>
                        <a:t> SCRUM</a:t>
                      </a:r>
                    </a:p>
                    <a:p>
                      <a:pPr lvl="0" algn="ctr">
                        <a:buNone/>
                      </a:pPr>
                      <a:r>
                        <a:rPr lang="en-US" sz="1200" b="0" i="0" kern="1200">
                          <a:solidFill>
                            <a:schemeClr val="tx1"/>
                          </a:solidFill>
                          <a:latin typeface="Avenir Next LT Pro"/>
                          <a:ea typeface="+mn-ea"/>
                          <a:cs typeface="+mn-cs"/>
                        </a:rPr>
                        <a:t>(Interne status – </a:t>
                      </a:r>
                      <a:r>
                        <a:rPr lang="en-US" sz="1200" b="0" i="0" kern="1200" err="1">
                          <a:solidFill>
                            <a:schemeClr val="tx1"/>
                          </a:solidFill>
                          <a:latin typeface="Avenir Next LT Pro"/>
                          <a:ea typeface="+mn-ea"/>
                          <a:cs typeface="+mn-cs"/>
                        </a:rPr>
                        <a:t>bespreken</a:t>
                      </a:r>
                      <a:r>
                        <a:rPr lang="en-US" sz="1200" b="0" i="0" kern="1200">
                          <a:solidFill>
                            <a:schemeClr val="tx1"/>
                          </a:solidFill>
                          <a:latin typeface="Avenir Next LT Pro"/>
                          <a:ea typeface="+mn-ea"/>
                          <a:cs typeface="+mn-cs"/>
                        </a:rPr>
                        <a:t> alle </a:t>
                      </a:r>
                      <a:r>
                        <a:rPr lang="en-US" sz="1200" b="0" i="0" kern="1200" err="1">
                          <a:solidFill>
                            <a:schemeClr val="tx1"/>
                          </a:solidFill>
                          <a:latin typeface="Avenir Next LT Pro"/>
                          <a:ea typeface="+mn-ea"/>
                          <a:cs typeface="+mn-cs"/>
                        </a:rPr>
                        <a:t>lopende</a:t>
                      </a:r>
                      <a:r>
                        <a:rPr lang="en-US" sz="1200" b="0" i="0" kern="1200">
                          <a:solidFill>
                            <a:schemeClr val="tx1"/>
                          </a:solidFill>
                          <a:latin typeface="Avenir Next LT Pro"/>
                          <a:ea typeface="+mn-ea"/>
                          <a:cs typeface="+mn-cs"/>
                        </a:rPr>
                        <a:t> </a:t>
                      </a:r>
                      <a:r>
                        <a:rPr lang="en-US" sz="1200" b="0" i="0" kern="1200" err="1">
                          <a:solidFill>
                            <a:schemeClr val="tx1"/>
                          </a:solidFill>
                          <a:latin typeface="Avenir Next LT Pro"/>
                          <a:ea typeface="+mn-ea"/>
                          <a:cs typeface="+mn-cs"/>
                        </a:rPr>
                        <a:t>projecten</a:t>
                      </a:r>
                      <a:r>
                        <a:rPr lang="en-US" sz="1200" b="0" i="0" kern="1200">
                          <a:solidFill>
                            <a:schemeClr val="tx1"/>
                          </a:solidFill>
                          <a:latin typeface="Avenir Next LT Pro"/>
                          <a:ea typeface="+mn-ea"/>
                          <a:cs typeface="+mn-cs"/>
                        </a:rPr>
                        <a:t>)</a:t>
                      </a:r>
                    </a:p>
                  </a:txBody>
                  <a:tcPr marL="34290" marR="34290" marT="4763" marB="4763" anchor="ctr"/>
                </a:tc>
                <a:tc>
                  <a:txBody>
                    <a:bodyPr/>
                    <a:lstStyle/>
                    <a:p>
                      <a:pPr algn="ctr"/>
                      <a:r>
                        <a:rPr lang="en-GB" sz="1200" b="0" i="0" kern="1200">
                          <a:solidFill>
                            <a:schemeClr val="tx1"/>
                          </a:solidFill>
                          <a:latin typeface="Avenir Next LT Pro"/>
                          <a:ea typeface="+mn-ea"/>
                          <a:cs typeface="+mn-cs"/>
                        </a:rPr>
                        <a:t>I</a:t>
                      </a:r>
                      <a:r>
                        <a:rPr lang="en-NL" sz="1200" b="0" i="0" kern="1200" err="1">
                          <a:solidFill>
                            <a:schemeClr val="tx1"/>
                          </a:solidFill>
                          <a:latin typeface="Avenir Next LT Pro"/>
                          <a:ea typeface="+mn-ea"/>
                          <a:cs typeface="+mn-cs"/>
                        </a:rPr>
                        <a:t>edere</a:t>
                      </a:r>
                      <a:r>
                        <a:rPr lang="en-NL" sz="1200" b="0" i="0" kern="1200">
                          <a:solidFill>
                            <a:schemeClr val="tx1"/>
                          </a:solidFill>
                          <a:latin typeface="Avenir Next LT Pro"/>
                          <a:ea typeface="+mn-ea"/>
                          <a:cs typeface="+mn-cs"/>
                        </a:rPr>
                        <a:t> </a:t>
                      </a:r>
                      <a:r>
                        <a:rPr lang="en-NL" sz="1200" b="0" i="0" kern="1200" err="1">
                          <a:solidFill>
                            <a:schemeClr val="tx1"/>
                          </a:solidFill>
                          <a:latin typeface="Avenir Next LT Pro"/>
                          <a:ea typeface="+mn-ea"/>
                          <a:cs typeface="+mn-cs"/>
                        </a:rPr>
                        <a:t>maandag</a:t>
                      </a:r>
                      <a:r>
                        <a:rPr lang="en-NL" sz="1200" b="0" i="0" kern="1200">
                          <a:solidFill>
                            <a:schemeClr val="tx1"/>
                          </a:solidFill>
                          <a:latin typeface="Avenir Next LT Pro"/>
                          <a:ea typeface="+mn-ea"/>
                          <a:cs typeface="+mn-cs"/>
                        </a:rPr>
                        <a:t> </a:t>
                      </a:r>
                      <a:endParaRPr lang="en-US" sz="1200" b="0" i="0" kern="1200" err="1">
                        <a:solidFill>
                          <a:schemeClr val="tx1"/>
                        </a:solidFill>
                        <a:latin typeface="Avenir Next LT Pro"/>
                        <a:ea typeface="+mn-ea"/>
                        <a:cs typeface="+mn-cs"/>
                      </a:endParaRPr>
                    </a:p>
                    <a:p>
                      <a:pPr lvl="0" algn="ctr">
                        <a:buNone/>
                      </a:pPr>
                      <a:r>
                        <a:rPr lang="en-NL" sz="1200" b="0" i="0" kern="1200">
                          <a:solidFill>
                            <a:schemeClr val="tx1"/>
                          </a:solidFill>
                          <a:latin typeface="Avenir Next LT Pro"/>
                          <a:ea typeface="+mn-ea"/>
                          <a:cs typeface="+mn-cs"/>
                        </a:rPr>
                        <a:t>(45 min)</a:t>
                      </a:r>
                      <a:endParaRPr lang="en-US" sz="1200" b="0" i="0" kern="1200">
                        <a:solidFill>
                          <a:schemeClr val="tx1"/>
                        </a:solidFill>
                        <a:latin typeface="Avenir Next LT Pro"/>
                        <a:ea typeface="+mn-ea"/>
                        <a:cs typeface="+mn-cs"/>
                      </a:endParaRPr>
                    </a:p>
                  </a:txBody>
                  <a:tcPr marL="34290" marR="34290" marT="4763" marB="4763"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L" sz="1200" kern="1200">
                          <a:solidFill>
                            <a:schemeClr val="tx1"/>
                          </a:solidFill>
                          <a:effectLst/>
                          <a:latin typeface="Avenir Next LT Pro"/>
                          <a:ea typeface="+mn-ea"/>
                          <a:cs typeface="+mn-cs"/>
                        </a:rPr>
                        <a:t>Call</a:t>
                      </a:r>
                      <a:endParaRPr lang="en-NL" sz="1200" kern="1200">
                        <a:solidFill>
                          <a:schemeClr val="tx1"/>
                        </a:solidFill>
                        <a:effectLst/>
                        <a:latin typeface="Avenir Next LT Pro" panose="020B0504020202020204" pitchFamily="34" charset="77"/>
                        <a:ea typeface="+mn-ea"/>
                        <a:cs typeface="+mn-cs"/>
                      </a:endParaRPr>
                    </a:p>
                  </a:txBody>
                  <a:tcPr marL="34290" marR="34290" marT="4763" marB="4763" anchor="ctr"/>
                </a:tc>
                <a:tc>
                  <a:txBody>
                    <a:bodyPr/>
                    <a:lstStyle/>
                    <a:p>
                      <a:pPr algn="ctr"/>
                      <a:r>
                        <a:rPr lang="en-NL" sz="1200" b="0" i="0" kern="1200">
                          <a:solidFill>
                            <a:schemeClr val="tx1"/>
                          </a:solidFill>
                          <a:latin typeface="Avenir Next LT Pro"/>
                          <a:ea typeface="+mn-ea"/>
                          <a:cs typeface="+mn-cs"/>
                        </a:rPr>
                        <a:t>Key team members</a:t>
                      </a:r>
                    </a:p>
                  </a:txBody>
                  <a:tcPr marL="34290" marR="34290" marT="4763" marB="4763" anchor="ctr"/>
                </a:tc>
                <a:extLst>
                  <a:ext uri="{0D108BD9-81ED-4DB2-BD59-A6C34878D82A}">
                    <a16:rowId xmlns:a16="http://schemas.microsoft.com/office/drawing/2014/main" val="2043431786"/>
                  </a:ext>
                </a:extLst>
              </a:tr>
              <a:tr h="954903">
                <a:tc>
                  <a:txBody>
                    <a:bodyPr/>
                    <a:lstStyle/>
                    <a:p>
                      <a:pPr lvl="0" algn="ctr">
                        <a:buNone/>
                      </a:pPr>
                      <a:r>
                        <a:rPr lang="en-US" sz="1200" b="0" i="0" kern="1200">
                          <a:solidFill>
                            <a:schemeClr val="tx1"/>
                          </a:solidFill>
                          <a:latin typeface="Avenir Next LT Pro"/>
                          <a:ea typeface="+mn-ea"/>
                          <a:cs typeface="+mn-cs"/>
                        </a:rPr>
                        <a:t>Bi-weekly </a:t>
                      </a:r>
                      <a:r>
                        <a:rPr lang="en-US" sz="1200" b="0" i="0" kern="1200" err="1">
                          <a:solidFill>
                            <a:schemeClr val="tx1"/>
                          </a:solidFill>
                          <a:latin typeface="Avenir Next LT Pro"/>
                          <a:ea typeface="+mn-ea"/>
                          <a:cs typeface="+mn-cs"/>
                        </a:rPr>
                        <a:t>korte</a:t>
                      </a:r>
                      <a:r>
                        <a:rPr lang="en-US" sz="1200" b="0" i="0" kern="1200">
                          <a:solidFill>
                            <a:schemeClr val="tx1"/>
                          </a:solidFill>
                          <a:latin typeface="Avenir Next LT Pro"/>
                          <a:ea typeface="+mn-ea"/>
                          <a:cs typeface="+mn-cs"/>
                        </a:rPr>
                        <a:t> catch up met media </a:t>
                      </a:r>
                      <a:r>
                        <a:rPr lang="en-US" sz="1200" b="0" i="0" kern="1200" err="1">
                          <a:solidFill>
                            <a:schemeClr val="tx1"/>
                          </a:solidFill>
                          <a:latin typeface="Avenir Next LT Pro"/>
                          <a:ea typeface="+mn-ea"/>
                          <a:cs typeface="+mn-cs"/>
                        </a:rPr>
                        <a:t>en</a:t>
                      </a:r>
                      <a:r>
                        <a:rPr lang="en-US" sz="1200" b="0" i="0" kern="1200">
                          <a:solidFill>
                            <a:schemeClr val="tx1"/>
                          </a:solidFill>
                          <a:latin typeface="Avenir Next LT Pro"/>
                          <a:ea typeface="+mn-ea"/>
                          <a:cs typeface="+mn-cs"/>
                        </a:rPr>
                        <a:t> </a:t>
                      </a:r>
                      <a:r>
                        <a:rPr lang="en-US" sz="1200" b="0" i="0" kern="1200" err="1">
                          <a:solidFill>
                            <a:schemeClr val="tx1"/>
                          </a:solidFill>
                          <a:latin typeface="Avenir Next LT Pro"/>
                          <a:ea typeface="+mn-ea"/>
                          <a:cs typeface="+mn-cs"/>
                        </a:rPr>
                        <a:t>andere</a:t>
                      </a:r>
                      <a:r>
                        <a:rPr lang="en-US" sz="1200" b="0" i="0" kern="1200">
                          <a:solidFill>
                            <a:schemeClr val="tx1"/>
                          </a:solidFill>
                          <a:latin typeface="Avenir Next LT Pro"/>
                          <a:ea typeface="+mn-ea"/>
                          <a:cs typeface="+mn-cs"/>
                        </a:rPr>
                        <a:t> key partners</a:t>
                      </a:r>
                    </a:p>
                  </a:txBody>
                  <a:tcPr marL="34290" marR="34290" marT="4762" marB="4762" anchor="ctr"/>
                </a:tc>
                <a:tc>
                  <a:txBody>
                    <a:bodyPr/>
                    <a:lstStyle/>
                    <a:p>
                      <a:pPr lvl="0" algn="ctr">
                        <a:buNone/>
                      </a:pPr>
                      <a:r>
                        <a:rPr lang="en-US" sz="1200" b="0" i="0" kern="1200">
                          <a:solidFill>
                            <a:schemeClr val="tx1"/>
                          </a:solidFill>
                          <a:latin typeface="Avenir Next LT Pro"/>
                          <a:ea typeface="+mn-ea"/>
                          <a:cs typeface="+mn-cs"/>
                        </a:rPr>
                        <a:t>Om de week op </a:t>
                      </a:r>
                      <a:r>
                        <a:rPr lang="en-US" sz="1200" b="0" i="0" kern="1200" err="1">
                          <a:solidFill>
                            <a:schemeClr val="tx1"/>
                          </a:solidFill>
                          <a:latin typeface="Avenir Next LT Pro"/>
                          <a:ea typeface="+mn-ea"/>
                          <a:cs typeface="+mn-cs"/>
                        </a:rPr>
                        <a:t>woensdag</a:t>
                      </a:r>
                      <a:r>
                        <a:rPr lang="en-US" sz="1200" b="0" i="0" kern="1200">
                          <a:solidFill>
                            <a:schemeClr val="tx1"/>
                          </a:solidFill>
                          <a:latin typeface="Avenir Next LT Pro"/>
                          <a:ea typeface="+mn-ea"/>
                          <a:cs typeface="+mn-cs"/>
                        </a:rPr>
                        <a:t> </a:t>
                      </a:r>
                    </a:p>
                    <a:p>
                      <a:pPr lvl="0" algn="ctr">
                        <a:buNone/>
                      </a:pPr>
                      <a:r>
                        <a:rPr lang="en-US" sz="1200" b="0" i="0" kern="1200">
                          <a:solidFill>
                            <a:schemeClr val="tx1"/>
                          </a:solidFill>
                          <a:latin typeface="Avenir Next LT Pro"/>
                          <a:ea typeface="+mn-ea"/>
                          <a:cs typeface="+mn-cs"/>
                        </a:rPr>
                        <a:t>(30 min)</a:t>
                      </a:r>
                    </a:p>
                  </a:txBody>
                  <a:tcPr marL="34290" marR="34290" marT="4762" marB="4762" anchor="ctr"/>
                </a:tc>
                <a:tc>
                  <a:txBody>
                    <a:bodyPr/>
                    <a:lstStyle/>
                    <a:p>
                      <a:pPr marL="0" marR="0" lvl="0" indent="0" algn="ctr" rtl="0">
                        <a:lnSpc>
                          <a:spcPct val="100000"/>
                        </a:lnSpc>
                        <a:spcBef>
                          <a:spcPts val="0"/>
                        </a:spcBef>
                        <a:spcAft>
                          <a:spcPts val="0"/>
                        </a:spcAft>
                        <a:buClrTx/>
                        <a:buSzTx/>
                        <a:buFontTx/>
                        <a:buNone/>
                      </a:pPr>
                      <a:r>
                        <a:rPr lang="en-GB" sz="1200" i="0" kern="1200">
                          <a:solidFill>
                            <a:schemeClr val="tx1"/>
                          </a:solidFill>
                          <a:effectLst/>
                          <a:latin typeface="Avenir Next LT Pro"/>
                          <a:ea typeface="+mn-ea"/>
                          <a:cs typeface="+mn-cs"/>
                        </a:rPr>
                        <a:t>Call</a:t>
                      </a:r>
                    </a:p>
                  </a:txBody>
                  <a:tcPr marL="34290" marR="34290" marT="4762" marB="4762" anchor="ctr"/>
                </a:tc>
                <a:tc>
                  <a:txBody>
                    <a:bodyPr/>
                    <a:lstStyle/>
                    <a:p>
                      <a:pPr lvl="0" algn="ctr">
                        <a:buNone/>
                      </a:pPr>
                      <a:r>
                        <a:rPr lang="en-US" sz="1200" b="0" i="0" kern="1200" err="1">
                          <a:solidFill>
                            <a:schemeClr val="tx1"/>
                          </a:solidFill>
                          <a:latin typeface="Avenir Next LT Pro"/>
                          <a:ea typeface="+mn-ea"/>
                          <a:cs typeface="+mn-cs"/>
                        </a:rPr>
                        <a:t>Afhankelijk</a:t>
                      </a:r>
                      <a:r>
                        <a:rPr lang="en-US" sz="1200" b="0" i="0" kern="1200">
                          <a:solidFill>
                            <a:schemeClr val="tx1"/>
                          </a:solidFill>
                          <a:latin typeface="Avenir Next LT Pro"/>
                          <a:ea typeface="+mn-ea"/>
                          <a:cs typeface="+mn-cs"/>
                        </a:rPr>
                        <a:t> van wat er </a:t>
                      </a:r>
                      <a:r>
                        <a:rPr lang="en-US" sz="1200" b="0" i="0" kern="1200" err="1">
                          <a:solidFill>
                            <a:schemeClr val="tx1"/>
                          </a:solidFill>
                          <a:latin typeface="Avenir Next LT Pro"/>
                          <a:ea typeface="+mn-ea"/>
                          <a:cs typeface="+mn-cs"/>
                        </a:rPr>
                        <a:t>loopt</a:t>
                      </a:r>
                    </a:p>
                  </a:txBody>
                  <a:tcPr marL="34290" marR="34290" marT="4762" marB="4762" anchor="ctr"/>
                </a:tc>
                <a:extLst>
                  <a:ext uri="{0D108BD9-81ED-4DB2-BD59-A6C34878D82A}">
                    <a16:rowId xmlns:a16="http://schemas.microsoft.com/office/drawing/2014/main" val="4028210190"/>
                  </a:ext>
                </a:extLst>
              </a:tr>
            </a:tbl>
          </a:graphicData>
        </a:graphic>
      </p:graphicFrame>
    </p:spTree>
    <p:extLst>
      <p:ext uri="{BB962C8B-B14F-4D97-AF65-F5344CB8AC3E}">
        <p14:creationId xmlns:p14="http://schemas.microsoft.com/office/powerpoint/2010/main" val="40980904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5BF70966-679A-B04E-F58C-15635832311C}"/>
              </a:ext>
            </a:extLst>
          </p:cNvPr>
          <p:cNvSpPr txBox="1">
            <a:spLocks/>
          </p:cNvSpPr>
          <p:nvPr/>
        </p:nvSpPr>
        <p:spPr>
          <a:xfrm>
            <a:off x="437389" y="304079"/>
            <a:ext cx="7085075" cy="2323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1050" spc="600">
                <a:solidFill>
                  <a:srgbClr val="282830"/>
                </a:solidFill>
                <a:uFill>
                  <a:solidFill>
                    <a:srgbClr val="DCCF7F"/>
                  </a:solidFill>
                </a:uFill>
                <a:latin typeface="Avenir Next LT Pro" panose="020B0504020202020204" pitchFamily="34" charset="77"/>
                <a:cs typeface="Arial" panose="020B0604020202020204" pitchFamily="34" charset="0"/>
              </a:rPr>
              <a:t>JAARPLANNING</a:t>
            </a:r>
            <a:endParaRPr lang="en-BE" sz="1050" spc="600">
              <a:solidFill>
                <a:srgbClr val="282830"/>
              </a:solidFill>
              <a:uFill>
                <a:solidFill>
                  <a:srgbClr val="DCCF7F"/>
                </a:solidFill>
              </a:uFill>
              <a:latin typeface="Avenir Next LT Pro" panose="020B0504020202020204" pitchFamily="34" charset="77"/>
              <a:cs typeface="Arial" panose="020B0604020202020204" pitchFamily="34" charset="0"/>
            </a:endParaRPr>
          </a:p>
        </p:txBody>
      </p:sp>
      <p:cxnSp>
        <p:nvCxnSpPr>
          <p:cNvPr id="3" name="Straight Connector 2">
            <a:extLst>
              <a:ext uri="{FF2B5EF4-FFF2-40B4-BE49-F238E27FC236}">
                <a16:creationId xmlns:a16="http://schemas.microsoft.com/office/drawing/2014/main" id="{AF64E708-B6D2-3C82-392D-F467D0F4FD85}"/>
              </a:ext>
            </a:extLst>
          </p:cNvPr>
          <p:cNvCxnSpPr>
            <a:cxnSpLocks/>
          </p:cNvCxnSpPr>
          <p:nvPr/>
        </p:nvCxnSpPr>
        <p:spPr>
          <a:xfrm>
            <a:off x="437390" y="649424"/>
            <a:ext cx="1985176" cy="0"/>
          </a:xfrm>
          <a:prstGeom prst="line">
            <a:avLst/>
          </a:prstGeom>
          <a:noFill/>
          <a:ln w="12700" cap="flat" cmpd="sng" algn="ctr">
            <a:solidFill>
              <a:srgbClr val="DCCF7F"/>
            </a:solidFill>
            <a:prstDash val="solid"/>
            <a:miter lim="800000"/>
          </a:ln>
          <a:effectLst/>
        </p:spPr>
      </p:cxnSp>
      <p:sp>
        <p:nvSpPr>
          <p:cNvPr id="4" name="TextBox 3">
            <a:extLst>
              <a:ext uri="{FF2B5EF4-FFF2-40B4-BE49-F238E27FC236}">
                <a16:creationId xmlns:a16="http://schemas.microsoft.com/office/drawing/2014/main" id="{2672B142-9F5F-95D3-52C7-09BA837311AE}"/>
              </a:ext>
            </a:extLst>
          </p:cNvPr>
          <p:cNvSpPr txBox="1"/>
          <p:nvPr/>
        </p:nvSpPr>
        <p:spPr>
          <a:xfrm>
            <a:off x="3681664" y="3244334"/>
            <a:ext cx="5005137" cy="369332"/>
          </a:xfrm>
          <a:prstGeom prst="rect">
            <a:avLst/>
          </a:prstGeom>
          <a:solidFill>
            <a:srgbClr val="B89B57"/>
          </a:solidFill>
        </p:spPr>
        <p:txBody>
          <a:bodyPr wrap="square" rtlCol="0">
            <a:spAutoFit/>
          </a:bodyPr>
          <a:lstStyle/>
          <a:p>
            <a:pPr algn="ctr"/>
            <a:r>
              <a:rPr lang="en-GB" err="1">
                <a:solidFill>
                  <a:schemeClr val="bg1"/>
                </a:solidFill>
                <a:latin typeface="Avenir Next LT Pro" panose="020B0504020202020204" pitchFamily="34" charset="77"/>
              </a:rPr>
              <a:t>Deze</a:t>
            </a:r>
            <a:r>
              <a:rPr lang="en-GB">
                <a:solidFill>
                  <a:schemeClr val="bg1"/>
                </a:solidFill>
                <a:latin typeface="Avenir Next LT Pro" panose="020B0504020202020204" pitchFamily="34" charset="77"/>
              </a:rPr>
              <a:t> planning </a:t>
            </a:r>
            <a:r>
              <a:rPr lang="en-GB" err="1">
                <a:solidFill>
                  <a:schemeClr val="bg1"/>
                </a:solidFill>
                <a:latin typeface="Avenir Next LT Pro" panose="020B0504020202020204" pitchFamily="34" charset="77"/>
              </a:rPr>
              <a:t>zullen</a:t>
            </a:r>
            <a:r>
              <a:rPr lang="en-GB">
                <a:solidFill>
                  <a:schemeClr val="bg1"/>
                </a:solidFill>
                <a:latin typeface="Avenir Next LT Pro" panose="020B0504020202020204" pitchFamily="34" charset="77"/>
              </a:rPr>
              <a:t> we </a:t>
            </a:r>
            <a:r>
              <a:rPr lang="en-GB" err="1">
                <a:solidFill>
                  <a:schemeClr val="bg1"/>
                </a:solidFill>
                <a:latin typeface="Avenir Next LT Pro" panose="020B0504020202020204" pitchFamily="34" charset="77"/>
              </a:rPr>
              <a:t>samen</a:t>
            </a:r>
            <a:r>
              <a:rPr lang="en-GB">
                <a:solidFill>
                  <a:schemeClr val="bg1"/>
                </a:solidFill>
                <a:latin typeface="Avenir Next LT Pro" panose="020B0504020202020204" pitchFamily="34" charset="77"/>
              </a:rPr>
              <a:t> </a:t>
            </a:r>
            <a:r>
              <a:rPr lang="en-GB" err="1">
                <a:solidFill>
                  <a:schemeClr val="bg1"/>
                </a:solidFill>
                <a:latin typeface="Avenir Next LT Pro" panose="020B0504020202020204" pitchFamily="34" charset="77"/>
              </a:rPr>
              <a:t>invullen</a:t>
            </a:r>
            <a:endParaRPr lang="en-GB">
              <a:solidFill>
                <a:schemeClr val="bg1"/>
              </a:solidFill>
              <a:latin typeface="Avenir Next LT Pro" panose="020B0504020202020204" pitchFamily="34" charset="77"/>
            </a:endParaRPr>
          </a:p>
        </p:txBody>
      </p:sp>
      <p:graphicFrame>
        <p:nvGraphicFramePr>
          <p:cNvPr id="6" name="Table 5">
            <a:extLst>
              <a:ext uri="{FF2B5EF4-FFF2-40B4-BE49-F238E27FC236}">
                <a16:creationId xmlns:a16="http://schemas.microsoft.com/office/drawing/2014/main" id="{C290DFA2-85C5-4F82-CA0E-90475761BE75}"/>
              </a:ext>
            </a:extLst>
          </p:cNvPr>
          <p:cNvGraphicFramePr>
            <a:graphicFrameLocks noGrp="1"/>
          </p:cNvGraphicFramePr>
          <p:nvPr/>
        </p:nvGraphicFramePr>
        <p:xfrm>
          <a:off x="0" y="6400806"/>
          <a:ext cx="12192000" cy="457197"/>
        </p:xfrm>
        <a:graphic>
          <a:graphicData uri="http://schemas.openxmlformats.org/drawingml/2006/table">
            <a:tbl>
              <a:tblPr firstRow="1" bandRow="1">
                <a:tableStyleId>{5C22544A-7EE6-4342-B048-85BDC9FD1C3A}</a:tableStyleId>
              </a:tblPr>
              <a:tblGrid>
                <a:gridCol w="1016000">
                  <a:extLst>
                    <a:ext uri="{9D8B030D-6E8A-4147-A177-3AD203B41FA5}">
                      <a16:colId xmlns:a16="http://schemas.microsoft.com/office/drawing/2014/main" val="3481587740"/>
                    </a:ext>
                  </a:extLst>
                </a:gridCol>
                <a:gridCol w="1016000">
                  <a:extLst>
                    <a:ext uri="{9D8B030D-6E8A-4147-A177-3AD203B41FA5}">
                      <a16:colId xmlns:a16="http://schemas.microsoft.com/office/drawing/2014/main" val="3567282966"/>
                    </a:ext>
                  </a:extLst>
                </a:gridCol>
                <a:gridCol w="1016000">
                  <a:extLst>
                    <a:ext uri="{9D8B030D-6E8A-4147-A177-3AD203B41FA5}">
                      <a16:colId xmlns:a16="http://schemas.microsoft.com/office/drawing/2014/main" val="4092421145"/>
                    </a:ext>
                  </a:extLst>
                </a:gridCol>
                <a:gridCol w="1016000">
                  <a:extLst>
                    <a:ext uri="{9D8B030D-6E8A-4147-A177-3AD203B41FA5}">
                      <a16:colId xmlns:a16="http://schemas.microsoft.com/office/drawing/2014/main" val="2356328975"/>
                    </a:ext>
                  </a:extLst>
                </a:gridCol>
                <a:gridCol w="1016000">
                  <a:extLst>
                    <a:ext uri="{9D8B030D-6E8A-4147-A177-3AD203B41FA5}">
                      <a16:colId xmlns:a16="http://schemas.microsoft.com/office/drawing/2014/main" val="2359452553"/>
                    </a:ext>
                  </a:extLst>
                </a:gridCol>
                <a:gridCol w="1016000">
                  <a:extLst>
                    <a:ext uri="{9D8B030D-6E8A-4147-A177-3AD203B41FA5}">
                      <a16:colId xmlns:a16="http://schemas.microsoft.com/office/drawing/2014/main" val="2349453775"/>
                    </a:ext>
                  </a:extLst>
                </a:gridCol>
                <a:gridCol w="1016000">
                  <a:extLst>
                    <a:ext uri="{9D8B030D-6E8A-4147-A177-3AD203B41FA5}">
                      <a16:colId xmlns:a16="http://schemas.microsoft.com/office/drawing/2014/main" val="2215560835"/>
                    </a:ext>
                  </a:extLst>
                </a:gridCol>
                <a:gridCol w="1016000">
                  <a:extLst>
                    <a:ext uri="{9D8B030D-6E8A-4147-A177-3AD203B41FA5}">
                      <a16:colId xmlns:a16="http://schemas.microsoft.com/office/drawing/2014/main" val="2007450858"/>
                    </a:ext>
                  </a:extLst>
                </a:gridCol>
                <a:gridCol w="1016000">
                  <a:extLst>
                    <a:ext uri="{9D8B030D-6E8A-4147-A177-3AD203B41FA5}">
                      <a16:colId xmlns:a16="http://schemas.microsoft.com/office/drawing/2014/main" val="2708837121"/>
                    </a:ext>
                  </a:extLst>
                </a:gridCol>
                <a:gridCol w="1016000">
                  <a:extLst>
                    <a:ext uri="{9D8B030D-6E8A-4147-A177-3AD203B41FA5}">
                      <a16:colId xmlns:a16="http://schemas.microsoft.com/office/drawing/2014/main" val="3484367815"/>
                    </a:ext>
                  </a:extLst>
                </a:gridCol>
                <a:gridCol w="1016000">
                  <a:extLst>
                    <a:ext uri="{9D8B030D-6E8A-4147-A177-3AD203B41FA5}">
                      <a16:colId xmlns:a16="http://schemas.microsoft.com/office/drawing/2014/main" val="244836953"/>
                    </a:ext>
                  </a:extLst>
                </a:gridCol>
                <a:gridCol w="1016000">
                  <a:extLst>
                    <a:ext uri="{9D8B030D-6E8A-4147-A177-3AD203B41FA5}">
                      <a16:colId xmlns:a16="http://schemas.microsoft.com/office/drawing/2014/main" val="285360789"/>
                    </a:ext>
                  </a:extLst>
                </a:gridCol>
              </a:tblGrid>
              <a:tr h="457197">
                <a:tc>
                  <a:txBody>
                    <a:bodyPr/>
                    <a:lstStyle/>
                    <a:p>
                      <a:pPr algn="ctr"/>
                      <a:r>
                        <a:rPr lang="en-GB" b="1" i="0">
                          <a:solidFill>
                            <a:schemeClr val="tx1"/>
                          </a:solidFill>
                          <a:latin typeface="Avenir Next LT Pro" panose="020B0504020202020204" pitchFamily="34" charset="77"/>
                        </a:rPr>
                        <a:t>Jan</a:t>
                      </a:r>
                    </a:p>
                  </a:txBody>
                  <a:tcPr>
                    <a:noFill/>
                  </a:tcPr>
                </a:tc>
                <a:tc>
                  <a:txBody>
                    <a:bodyPr/>
                    <a:lstStyle/>
                    <a:p>
                      <a:pPr algn="ctr"/>
                      <a:r>
                        <a:rPr lang="en-GB" b="1" i="0">
                          <a:solidFill>
                            <a:schemeClr val="tx1"/>
                          </a:solidFill>
                          <a:latin typeface="Avenir Next LT Pro" panose="020B0504020202020204" pitchFamily="34" charset="77"/>
                        </a:rPr>
                        <a:t>Feb</a:t>
                      </a:r>
                    </a:p>
                  </a:txBody>
                  <a:tcPr>
                    <a:noFill/>
                  </a:tcPr>
                </a:tc>
                <a:tc>
                  <a:txBody>
                    <a:bodyPr/>
                    <a:lstStyle/>
                    <a:p>
                      <a:pPr algn="ctr"/>
                      <a:r>
                        <a:rPr lang="en-GB" b="1" i="0">
                          <a:solidFill>
                            <a:schemeClr val="tx1"/>
                          </a:solidFill>
                          <a:latin typeface="Avenir Next LT Pro" panose="020B0504020202020204" pitchFamily="34" charset="77"/>
                        </a:rPr>
                        <a:t>Mar</a:t>
                      </a:r>
                    </a:p>
                  </a:txBody>
                  <a:tcPr>
                    <a:noFill/>
                  </a:tcPr>
                </a:tc>
                <a:tc>
                  <a:txBody>
                    <a:bodyPr/>
                    <a:lstStyle/>
                    <a:p>
                      <a:pPr algn="ctr"/>
                      <a:r>
                        <a:rPr lang="en-GB" b="1" i="0">
                          <a:solidFill>
                            <a:schemeClr val="tx1"/>
                          </a:solidFill>
                          <a:latin typeface="Avenir Next LT Pro" panose="020B0504020202020204" pitchFamily="34" charset="77"/>
                        </a:rPr>
                        <a:t>Apr</a:t>
                      </a:r>
                    </a:p>
                  </a:txBody>
                  <a:tcPr>
                    <a:noFill/>
                  </a:tcPr>
                </a:tc>
                <a:tc>
                  <a:txBody>
                    <a:bodyPr/>
                    <a:lstStyle/>
                    <a:p>
                      <a:pPr algn="ctr"/>
                      <a:r>
                        <a:rPr lang="en-GB" b="1" i="0">
                          <a:solidFill>
                            <a:schemeClr val="tx1"/>
                          </a:solidFill>
                          <a:latin typeface="Avenir Next LT Pro" panose="020B0504020202020204" pitchFamily="34" charset="77"/>
                        </a:rPr>
                        <a:t>May</a:t>
                      </a:r>
                    </a:p>
                  </a:txBody>
                  <a:tcPr>
                    <a:noFill/>
                  </a:tcPr>
                </a:tc>
                <a:tc>
                  <a:txBody>
                    <a:bodyPr/>
                    <a:lstStyle/>
                    <a:p>
                      <a:pPr algn="ctr"/>
                      <a:r>
                        <a:rPr lang="en-GB" b="1" i="0">
                          <a:solidFill>
                            <a:schemeClr val="tx1"/>
                          </a:solidFill>
                          <a:latin typeface="Avenir Next LT Pro" panose="020B0504020202020204" pitchFamily="34" charset="77"/>
                        </a:rPr>
                        <a:t>Jun</a:t>
                      </a:r>
                    </a:p>
                  </a:txBody>
                  <a:tcPr>
                    <a:noFill/>
                  </a:tcPr>
                </a:tc>
                <a:tc>
                  <a:txBody>
                    <a:bodyPr/>
                    <a:lstStyle/>
                    <a:p>
                      <a:pPr algn="ctr"/>
                      <a:r>
                        <a:rPr lang="en-GB" b="1" i="0">
                          <a:solidFill>
                            <a:schemeClr val="tx1"/>
                          </a:solidFill>
                          <a:latin typeface="Avenir Next LT Pro" panose="020B0504020202020204" pitchFamily="34" charset="77"/>
                        </a:rPr>
                        <a:t>Jul</a:t>
                      </a:r>
                    </a:p>
                  </a:txBody>
                  <a:tcPr>
                    <a:noFill/>
                  </a:tcPr>
                </a:tc>
                <a:tc>
                  <a:txBody>
                    <a:bodyPr/>
                    <a:lstStyle/>
                    <a:p>
                      <a:pPr algn="ctr"/>
                      <a:r>
                        <a:rPr lang="en-GB" b="1" i="0">
                          <a:solidFill>
                            <a:schemeClr val="tx1"/>
                          </a:solidFill>
                          <a:latin typeface="Avenir Next LT Pro" panose="020B0504020202020204" pitchFamily="34" charset="77"/>
                        </a:rPr>
                        <a:t>Aug</a:t>
                      </a:r>
                    </a:p>
                  </a:txBody>
                  <a:tcPr>
                    <a:noFill/>
                  </a:tcPr>
                </a:tc>
                <a:tc>
                  <a:txBody>
                    <a:bodyPr/>
                    <a:lstStyle/>
                    <a:p>
                      <a:pPr algn="ctr"/>
                      <a:r>
                        <a:rPr lang="en-GB" b="1" i="0">
                          <a:solidFill>
                            <a:schemeClr val="tx1"/>
                          </a:solidFill>
                          <a:latin typeface="Avenir Next LT Pro" panose="020B0504020202020204" pitchFamily="34" charset="77"/>
                        </a:rPr>
                        <a:t>Sept</a:t>
                      </a:r>
                    </a:p>
                  </a:txBody>
                  <a:tcPr>
                    <a:noFill/>
                  </a:tcPr>
                </a:tc>
                <a:tc>
                  <a:txBody>
                    <a:bodyPr/>
                    <a:lstStyle/>
                    <a:p>
                      <a:pPr algn="ctr"/>
                      <a:r>
                        <a:rPr lang="en-GB" b="1" i="0">
                          <a:solidFill>
                            <a:schemeClr val="tx1"/>
                          </a:solidFill>
                          <a:latin typeface="Avenir Next LT Pro" panose="020B0504020202020204" pitchFamily="34" charset="77"/>
                        </a:rPr>
                        <a:t>Oct</a:t>
                      </a:r>
                    </a:p>
                  </a:txBody>
                  <a:tcPr>
                    <a:noFill/>
                  </a:tcPr>
                </a:tc>
                <a:tc>
                  <a:txBody>
                    <a:bodyPr/>
                    <a:lstStyle/>
                    <a:p>
                      <a:pPr algn="ctr"/>
                      <a:r>
                        <a:rPr lang="en-GB" b="1" i="0">
                          <a:solidFill>
                            <a:schemeClr val="tx1"/>
                          </a:solidFill>
                          <a:latin typeface="Avenir Next LT Pro" panose="020B0504020202020204" pitchFamily="34" charset="77"/>
                        </a:rPr>
                        <a:t>Nov</a:t>
                      </a:r>
                    </a:p>
                  </a:txBody>
                  <a:tcPr>
                    <a:noFill/>
                  </a:tcPr>
                </a:tc>
                <a:tc>
                  <a:txBody>
                    <a:bodyPr/>
                    <a:lstStyle/>
                    <a:p>
                      <a:pPr algn="ctr"/>
                      <a:r>
                        <a:rPr lang="en-GB" b="1" i="0">
                          <a:solidFill>
                            <a:schemeClr val="tx1"/>
                          </a:solidFill>
                          <a:latin typeface="Avenir Next LT Pro" panose="020B0504020202020204" pitchFamily="34" charset="77"/>
                        </a:rPr>
                        <a:t>Dec</a:t>
                      </a:r>
                    </a:p>
                  </a:txBody>
                  <a:tcPr>
                    <a:noFill/>
                  </a:tcPr>
                </a:tc>
                <a:extLst>
                  <a:ext uri="{0D108BD9-81ED-4DB2-BD59-A6C34878D82A}">
                    <a16:rowId xmlns:a16="http://schemas.microsoft.com/office/drawing/2014/main" val="1040025063"/>
                  </a:ext>
                </a:extLst>
              </a:tr>
            </a:tbl>
          </a:graphicData>
        </a:graphic>
      </p:graphicFrame>
      <p:cxnSp>
        <p:nvCxnSpPr>
          <p:cNvPr id="8" name="Straight Connector 7">
            <a:extLst>
              <a:ext uri="{FF2B5EF4-FFF2-40B4-BE49-F238E27FC236}">
                <a16:creationId xmlns:a16="http://schemas.microsoft.com/office/drawing/2014/main" id="{6FDCF749-230A-8E27-2069-812C55A37311}"/>
              </a:ext>
            </a:extLst>
          </p:cNvPr>
          <p:cNvCxnSpPr>
            <a:cxnSpLocks/>
          </p:cNvCxnSpPr>
          <p:nvPr/>
        </p:nvCxnSpPr>
        <p:spPr>
          <a:xfrm>
            <a:off x="0" y="6321551"/>
            <a:ext cx="12192000" cy="0"/>
          </a:xfrm>
          <a:prstGeom prst="line">
            <a:avLst/>
          </a:prstGeom>
          <a:ln>
            <a:solidFill>
              <a:srgbClr val="B89B5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79105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DECE6-F054-7557-E39B-36B2F7081B6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2E450C0-FE33-D875-FB2D-CE57CBAFA2D2}"/>
              </a:ext>
            </a:extLst>
          </p:cNvPr>
          <p:cNvSpPr>
            <a:spLocks noGrp="1"/>
          </p:cNvSpPr>
          <p:nvPr>
            <p:ph type="body" sz="quarter" idx="18"/>
          </p:nvPr>
        </p:nvSpPr>
        <p:spPr>
          <a:xfrm>
            <a:off x="914852" y="2772215"/>
            <a:ext cx="10362296" cy="1313569"/>
          </a:xfrm>
        </p:spPr>
        <p:txBody>
          <a:bodyPr lIns="91440" tIns="45720" rIns="91440" bIns="45720" anchor="ctr"/>
          <a:lstStyle/>
          <a:p>
            <a:pPr>
              <a:lnSpc>
                <a:spcPct val="100000"/>
              </a:lnSpc>
            </a:pPr>
            <a:r>
              <a:rPr lang="en-GB" sz="4000">
                <a:latin typeface="Avenir Next LT Pro" panose="020B0504020202020204" pitchFamily="34" charset="77"/>
              </a:rPr>
              <a:t>De </a:t>
            </a:r>
            <a:r>
              <a:rPr lang="en-GB" sz="4000">
                <a:gradFill>
                  <a:gsLst>
                    <a:gs pos="0">
                      <a:srgbClr val="B89B57"/>
                    </a:gs>
                    <a:gs pos="50442">
                      <a:srgbClr val="DCCF81"/>
                    </a:gs>
                    <a:gs pos="99000">
                      <a:srgbClr val="B89B57"/>
                    </a:gs>
                  </a:gsLst>
                  <a:lin ang="2700000" scaled="1"/>
                </a:gradFill>
                <a:latin typeface="Avenir Next LT Pro" panose="020B0504020202020204" pitchFamily="34" charset="77"/>
              </a:rPr>
              <a:t>project </a:t>
            </a:r>
            <a:r>
              <a:rPr lang="en-GB" sz="4000" err="1">
                <a:gradFill>
                  <a:gsLst>
                    <a:gs pos="0">
                      <a:srgbClr val="B89B57"/>
                    </a:gs>
                    <a:gs pos="50442">
                      <a:srgbClr val="DCCF81"/>
                    </a:gs>
                    <a:gs pos="99000">
                      <a:srgbClr val="B89B57"/>
                    </a:gs>
                  </a:gsLst>
                  <a:lin ang="2700000" scaled="1"/>
                </a:gradFill>
                <a:latin typeface="Avenir Next LT Pro" panose="020B0504020202020204" pitchFamily="34" charset="77"/>
              </a:rPr>
              <a:t>ontwikkeling</a:t>
            </a:r>
            <a:r>
              <a:rPr lang="en-GB" sz="4000">
                <a:gradFill>
                  <a:gsLst>
                    <a:gs pos="0">
                      <a:srgbClr val="B89B57"/>
                    </a:gs>
                    <a:gs pos="50442">
                      <a:srgbClr val="DCCF81"/>
                    </a:gs>
                    <a:gs pos="99000">
                      <a:srgbClr val="B89B57"/>
                    </a:gs>
                  </a:gsLst>
                  <a:lin ang="2700000" scaled="1"/>
                </a:gradFill>
                <a:latin typeface="Avenir Next LT Pro" panose="020B0504020202020204" pitchFamily="34" charset="77"/>
              </a:rPr>
              <a:t> </a:t>
            </a:r>
            <a:r>
              <a:rPr lang="en-GB" sz="4000" err="1">
                <a:latin typeface="Avenir Next LT Pro" panose="020B0504020202020204" pitchFamily="34" charset="77"/>
              </a:rPr>
              <a:t>fasen</a:t>
            </a:r>
            <a:r>
              <a:rPr lang="en-GB" sz="4000">
                <a:latin typeface="Avenir Next LT Pro" panose="020B0504020202020204" pitchFamily="34" charset="77"/>
              </a:rPr>
              <a:t> die we </a:t>
            </a:r>
            <a:r>
              <a:rPr lang="en-GB" sz="4000" err="1">
                <a:latin typeface="Avenir Next LT Pro" panose="020B0504020202020204" pitchFamily="34" charset="77"/>
              </a:rPr>
              <a:t>aanhouden</a:t>
            </a:r>
            <a:r>
              <a:rPr lang="en-GB" sz="4000">
                <a:latin typeface="Avenir Next LT Pro" panose="020B0504020202020204" pitchFamily="34" charset="77"/>
              </a:rPr>
              <a:t>.</a:t>
            </a:r>
          </a:p>
        </p:txBody>
      </p:sp>
      <mc:AlternateContent xmlns:mc="http://schemas.openxmlformats.org/markup-compatibility/2006">
        <mc:Choice xmlns:p14="http://schemas.microsoft.com/office/powerpoint/2010/main" Requires="p14">
          <p:contentPart p14:bwMode="auto" r:id="rId2">
            <p14:nvContentPartPr>
              <p14:cNvPr id="3" name="Inkt 2">
                <a:extLst>
                  <a:ext uri="{FF2B5EF4-FFF2-40B4-BE49-F238E27FC236}">
                    <a16:creationId xmlns:a16="http://schemas.microsoft.com/office/drawing/2014/main" id="{1A8283CF-7B95-A752-E575-6D03C9A49952}"/>
                  </a:ext>
                </a:extLst>
              </p14:cNvPr>
              <p14:cNvContentPartPr/>
              <p14:nvPr/>
            </p14:nvContentPartPr>
            <p14:xfrm>
              <a:off x="3891829" y="2298480"/>
              <a:ext cx="13368" cy="13368"/>
            </p14:xfrm>
          </p:contentPart>
        </mc:Choice>
        <mc:Fallback>
          <p:pic>
            <p:nvPicPr>
              <p:cNvPr id="3" name="Inkt 2">
                <a:extLst>
                  <a:ext uri="{FF2B5EF4-FFF2-40B4-BE49-F238E27FC236}">
                    <a16:creationId xmlns:a16="http://schemas.microsoft.com/office/drawing/2014/main" id="{1A8283CF-7B95-A752-E575-6D03C9A49952}"/>
                  </a:ext>
                </a:extLst>
              </p:cNvPr>
              <p:cNvPicPr/>
              <p:nvPr/>
            </p:nvPicPr>
            <p:blipFill>
              <a:blip r:embed="rId3"/>
              <a:stretch>
                <a:fillRect/>
              </a:stretch>
            </p:blipFill>
            <p:spPr>
              <a:xfrm>
                <a:off x="3669029" y="1630080"/>
                <a:ext cx="454512" cy="1336800"/>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4" name="Inkt 3">
                <a:extLst>
                  <a:ext uri="{FF2B5EF4-FFF2-40B4-BE49-F238E27FC236}">
                    <a16:creationId xmlns:a16="http://schemas.microsoft.com/office/drawing/2014/main" id="{126E04D9-AAE6-8F3B-7F4D-1A81CBDD0CD3}"/>
                  </a:ext>
                </a:extLst>
              </p14:cNvPr>
              <p14:cNvContentPartPr/>
              <p14:nvPr/>
            </p14:nvContentPartPr>
            <p14:xfrm>
              <a:off x="3528584" y="2562484"/>
              <a:ext cx="13368" cy="13368"/>
            </p14:xfrm>
          </p:contentPart>
        </mc:Choice>
        <mc:Fallback>
          <p:pic>
            <p:nvPicPr>
              <p:cNvPr id="4" name="Inkt 3">
                <a:extLst>
                  <a:ext uri="{FF2B5EF4-FFF2-40B4-BE49-F238E27FC236}">
                    <a16:creationId xmlns:a16="http://schemas.microsoft.com/office/drawing/2014/main" id="{126E04D9-AAE6-8F3B-7F4D-1A81CBDD0CD3}"/>
                  </a:ext>
                </a:extLst>
              </p:cNvPr>
              <p:cNvPicPr/>
              <p:nvPr/>
            </p:nvPicPr>
            <p:blipFill>
              <a:blip r:embed="rId5"/>
              <a:stretch>
                <a:fillRect/>
              </a:stretch>
            </p:blipFill>
            <p:spPr>
              <a:xfrm>
                <a:off x="2860184" y="2511069"/>
                <a:ext cx="1336800" cy="11517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7" name="Inkt 6">
                <a:extLst>
                  <a:ext uri="{FF2B5EF4-FFF2-40B4-BE49-F238E27FC236}">
                    <a16:creationId xmlns:a16="http://schemas.microsoft.com/office/drawing/2014/main" id="{2101B46B-FAE7-B22D-51CF-D3E4FAB5AB37}"/>
                  </a:ext>
                </a:extLst>
              </p14:cNvPr>
              <p14:cNvContentPartPr/>
              <p14:nvPr/>
            </p14:nvContentPartPr>
            <p14:xfrm>
              <a:off x="3371401" y="2443282"/>
              <a:ext cx="13368" cy="13368"/>
            </p14:xfrm>
          </p:contentPart>
        </mc:Choice>
        <mc:Fallback>
          <p:pic>
            <p:nvPicPr>
              <p:cNvPr id="7" name="Inkt 6">
                <a:extLst>
                  <a:ext uri="{FF2B5EF4-FFF2-40B4-BE49-F238E27FC236}">
                    <a16:creationId xmlns:a16="http://schemas.microsoft.com/office/drawing/2014/main" id="{2101B46B-FAE7-B22D-51CF-D3E4FAB5AB37}"/>
                  </a:ext>
                </a:extLst>
              </p:cNvPr>
              <p:cNvPicPr/>
              <p:nvPr/>
            </p:nvPicPr>
            <p:blipFill>
              <a:blip r:embed="rId7"/>
              <a:stretch>
                <a:fillRect/>
              </a:stretch>
            </p:blipFill>
            <p:spPr>
              <a:xfrm>
                <a:off x="2703001" y="2359732"/>
                <a:ext cx="1336800" cy="178797"/>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8" name="Inkt 7">
                <a:extLst>
                  <a:ext uri="{FF2B5EF4-FFF2-40B4-BE49-F238E27FC236}">
                    <a16:creationId xmlns:a16="http://schemas.microsoft.com/office/drawing/2014/main" id="{A63A2894-18FD-4E38-497D-8F7B4939E033}"/>
                  </a:ext>
                </a:extLst>
              </p14:cNvPr>
              <p14:cNvContentPartPr/>
              <p14:nvPr/>
            </p14:nvContentPartPr>
            <p14:xfrm>
              <a:off x="3471246" y="3113409"/>
              <a:ext cx="13368" cy="13368"/>
            </p14:xfrm>
          </p:contentPart>
        </mc:Choice>
        <mc:Fallback>
          <p:pic>
            <p:nvPicPr>
              <p:cNvPr id="8" name="Inkt 7">
                <a:extLst>
                  <a:ext uri="{FF2B5EF4-FFF2-40B4-BE49-F238E27FC236}">
                    <a16:creationId xmlns:a16="http://schemas.microsoft.com/office/drawing/2014/main" id="{A63A2894-18FD-4E38-497D-8F7B4939E033}"/>
                  </a:ext>
                </a:extLst>
              </p:cNvPr>
              <p:cNvPicPr/>
              <p:nvPr/>
            </p:nvPicPr>
            <p:blipFill>
              <a:blip r:embed="rId9"/>
              <a:stretch>
                <a:fillRect/>
              </a:stretch>
            </p:blipFill>
            <p:spPr>
              <a:xfrm>
                <a:off x="2802846" y="2890609"/>
                <a:ext cx="1336800" cy="454512"/>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9" name="Inkt 8">
                <a:extLst>
                  <a:ext uri="{FF2B5EF4-FFF2-40B4-BE49-F238E27FC236}">
                    <a16:creationId xmlns:a16="http://schemas.microsoft.com/office/drawing/2014/main" id="{037577AF-AB29-AA71-3A57-AF2A6F63D2A3}"/>
                  </a:ext>
                </a:extLst>
              </p14:cNvPr>
              <p14:cNvContentPartPr/>
              <p14:nvPr/>
            </p14:nvContentPartPr>
            <p14:xfrm>
              <a:off x="-679230" y="4184420"/>
              <a:ext cx="13368" cy="13368"/>
            </p14:xfrm>
          </p:contentPart>
        </mc:Choice>
        <mc:Fallback>
          <p:pic>
            <p:nvPicPr>
              <p:cNvPr id="9" name="Inkt 8">
                <a:extLst>
                  <a:ext uri="{FF2B5EF4-FFF2-40B4-BE49-F238E27FC236}">
                    <a16:creationId xmlns:a16="http://schemas.microsoft.com/office/drawing/2014/main" id="{037577AF-AB29-AA71-3A57-AF2A6F63D2A3}"/>
                  </a:ext>
                </a:extLst>
              </p:cNvPr>
              <p:cNvPicPr/>
              <p:nvPr/>
            </p:nvPicPr>
            <p:blipFill>
              <a:blip r:embed="rId11"/>
              <a:stretch>
                <a:fillRect/>
              </a:stretch>
            </p:blipFill>
            <p:spPr>
              <a:xfrm>
                <a:off x="-1347630" y="3516020"/>
                <a:ext cx="1336800" cy="1336800"/>
              </a:xfrm>
              <a:prstGeom prst="rect">
                <a:avLst/>
              </a:prstGeom>
            </p:spPr>
          </p:pic>
        </mc:Fallback>
      </mc:AlternateContent>
      <p:sp>
        <p:nvSpPr>
          <p:cNvPr id="11" name="Text Placeholder 3">
            <a:extLst>
              <a:ext uri="{FF2B5EF4-FFF2-40B4-BE49-F238E27FC236}">
                <a16:creationId xmlns:a16="http://schemas.microsoft.com/office/drawing/2014/main" id="{D4F9008E-3730-37FF-60DF-8D7532054E8D}"/>
              </a:ext>
            </a:extLst>
          </p:cNvPr>
          <p:cNvSpPr txBox="1">
            <a:spLocks/>
          </p:cNvSpPr>
          <p:nvPr/>
        </p:nvSpPr>
        <p:spPr>
          <a:xfrm>
            <a:off x="437390" y="300101"/>
            <a:ext cx="5363564" cy="228026"/>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spcAft>
                <a:spcPts val="0"/>
              </a:spcAft>
              <a:buClrTx/>
              <a:buSzTx/>
              <a:tabLst/>
              <a:defRPr/>
            </a:pPr>
            <a:r>
              <a:rPr lang="en-GB">
                <a:solidFill>
                  <a:srgbClr val="7B818B"/>
                </a:solidFill>
                <a:latin typeface="AvenirNext LT Pro Bold" panose="020B0504020202020204" pitchFamily="34" charset="77"/>
              </a:rPr>
              <a:t>DE WOW</a:t>
            </a:r>
          </a:p>
        </p:txBody>
      </p:sp>
      <p:cxnSp>
        <p:nvCxnSpPr>
          <p:cNvPr id="12" name="Straight Connector 5">
            <a:extLst>
              <a:ext uri="{FF2B5EF4-FFF2-40B4-BE49-F238E27FC236}">
                <a16:creationId xmlns:a16="http://schemas.microsoft.com/office/drawing/2014/main" id="{6ADA3C64-571F-FE8D-91C2-2CF4179EA7C2}"/>
              </a:ext>
            </a:extLst>
          </p:cNvPr>
          <p:cNvCxnSpPr>
            <a:cxnSpLocks/>
          </p:cNvCxnSpPr>
          <p:nvPr/>
        </p:nvCxnSpPr>
        <p:spPr>
          <a:xfrm>
            <a:off x="437390" y="546308"/>
            <a:ext cx="1058901" cy="0"/>
          </a:xfrm>
          <a:prstGeom prst="line">
            <a:avLst/>
          </a:prstGeom>
          <a:noFill/>
          <a:ln w="12700" cap="flat" cmpd="sng" algn="ctr">
            <a:solidFill>
              <a:srgbClr val="DCCF7F"/>
            </a:solidFill>
            <a:prstDash val="solid"/>
            <a:miter lim="800000"/>
          </a:ln>
          <a:effectLst/>
        </p:spPr>
      </p:cxnSp>
    </p:spTree>
    <p:extLst>
      <p:ext uri="{BB962C8B-B14F-4D97-AF65-F5344CB8AC3E}">
        <p14:creationId xmlns:p14="http://schemas.microsoft.com/office/powerpoint/2010/main" val="32073558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5A3CF6C9-2A16-CB4E-A527-A661B8F09B59}"/>
              </a:ext>
            </a:extLst>
          </p:cNvPr>
          <p:cNvSpPr txBox="1">
            <a:spLocks/>
          </p:cNvSpPr>
          <p:nvPr/>
        </p:nvSpPr>
        <p:spPr>
          <a:xfrm>
            <a:off x="1649452" y="2054027"/>
            <a:ext cx="8301425" cy="439830"/>
          </a:xfrm>
          <a:prstGeom prst="rect">
            <a:avLst/>
          </a:prstGeom>
        </p:spPr>
        <p:txBody>
          <a:bodyPr vert="horz" wrap="square" lIns="0" tIns="8856"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7701" marR="0" lvl="0" indent="0" algn="ctr" defTabSz="914400" rtl="0" eaLnBrk="1" fontAlgn="auto" latinLnBrk="0" hangingPunct="1">
              <a:lnSpc>
                <a:spcPct val="100000"/>
              </a:lnSpc>
              <a:spcBef>
                <a:spcPts val="69"/>
              </a:spcBef>
              <a:spcAft>
                <a:spcPts val="0"/>
              </a:spcAft>
              <a:buClrTx/>
              <a:buSzTx/>
              <a:buFontTx/>
              <a:buNone/>
              <a:tabLst/>
              <a:defRPr/>
            </a:pPr>
            <a:r>
              <a:rPr kumimoji="0" lang="en-GB" sz="2800" b="1" i="0" u="none" strike="noStrike" kern="1200" cap="none" spc="9" normalizeH="0" baseline="0">
                <a:ln>
                  <a:noFill/>
                </a:ln>
                <a:solidFill>
                  <a:prstClr val="black"/>
                </a:solidFill>
                <a:effectLst/>
                <a:uLnTx/>
                <a:uFillTx/>
                <a:latin typeface="Avenir Next LT Pro" panose="020B0504020202020204" pitchFamily="34" charset="77"/>
                <a:ea typeface="+mj-ea"/>
                <a:cs typeface="+mj-cs"/>
              </a:rPr>
              <a:t>The Phases</a:t>
            </a:r>
            <a:endParaRPr kumimoji="0" lang="en-GB" sz="2800" b="1" i="0" u="none" strike="noStrike" kern="1200" cap="none" spc="0" normalizeH="0" baseline="0">
              <a:ln>
                <a:noFill/>
              </a:ln>
              <a:solidFill>
                <a:prstClr val="black"/>
              </a:solidFill>
              <a:effectLst/>
              <a:uLnTx/>
              <a:uFillTx/>
              <a:latin typeface="Avenir Next LT Pro" panose="020B0504020202020204" pitchFamily="34" charset="77"/>
              <a:ea typeface="+mj-ea"/>
              <a:cs typeface="+mj-cs"/>
            </a:endParaRPr>
          </a:p>
        </p:txBody>
      </p:sp>
      <p:pic>
        <p:nvPicPr>
          <p:cNvPr id="3" name="Picture 2">
            <a:extLst>
              <a:ext uri="{FF2B5EF4-FFF2-40B4-BE49-F238E27FC236}">
                <a16:creationId xmlns:a16="http://schemas.microsoft.com/office/drawing/2014/main" id="{9F6E8670-7D27-D045-BAE3-A31CE5673DB4}"/>
              </a:ext>
            </a:extLst>
          </p:cNvPr>
          <p:cNvPicPr>
            <a:picLocks noChangeAspect="1"/>
          </p:cNvPicPr>
          <p:nvPr/>
        </p:nvPicPr>
        <p:blipFill>
          <a:blip r:embed="rId2"/>
          <a:stretch>
            <a:fillRect/>
          </a:stretch>
        </p:blipFill>
        <p:spPr>
          <a:xfrm>
            <a:off x="538079" y="2822578"/>
            <a:ext cx="11004735" cy="1127346"/>
          </a:xfrm>
          <a:prstGeom prst="rect">
            <a:avLst/>
          </a:prstGeom>
        </p:spPr>
      </p:pic>
      <p:sp>
        <p:nvSpPr>
          <p:cNvPr id="4" name="TextBox 3">
            <a:extLst>
              <a:ext uri="{FF2B5EF4-FFF2-40B4-BE49-F238E27FC236}">
                <a16:creationId xmlns:a16="http://schemas.microsoft.com/office/drawing/2014/main" id="{BB1CE3C0-BB04-B04F-B05A-7B156B624400}"/>
              </a:ext>
            </a:extLst>
          </p:cNvPr>
          <p:cNvSpPr txBox="1"/>
          <p:nvPr/>
        </p:nvSpPr>
        <p:spPr>
          <a:xfrm>
            <a:off x="2425483" y="3068926"/>
            <a:ext cx="1338100" cy="656462"/>
          </a:xfrm>
          <a:prstGeom prst="rect">
            <a:avLst/>
          </a:prstGeom>
          <a:noFill/>
        </p:spPr>
        <p:txBody>
          <a:bodyPr wrap="square">
            <a:spAutoFit/>
          </a:bodyPr>
          <a:lstStyle/>
          <a:p>
            <a:pPr marL="7701" marR="0" lvl="0" indent="0" algn="ctr" defTabSz="914400" rtl="0" eaLnBrk="1" fontAlgn="auto" latinLnBrk="0" hangingPunct="1">
              <a:lnSpc>
                <a:spcPct val="100000"/>
              </a:lnSpc>
              <a:spcBef>
                <a:spcPts val="418"/>
              </a:spcBef>
              <a:spcAft>
                <a:spcPts val="0"/>
              </a:spcAft>
              <a:buClrTx/>
              <a:buSzTx/>
              <a:buFontTx/>
              <a:buNone/>
              <a:tabLst/>
              <a:defRPr/>
            </a:pPr>
            <a:r>
              <a:rPr kumimoji="0" lang="en-GB" sz="900" b="1" i="0" u="none" strike="noStrike" kern="1200" cap="none" spc="-3" normalizeH="0" baseline="0">
                <a:ln>
                  <a:noFill/>
                </a:ln>
                <a:solidFill>
                  <a:srgbClr val="231F20"/>
                </a:solidFill>
                <a:effectLst/>
                <a:uLnTx/>
                <a:uFillTx/>
                <a:latin typeface="Avenir Next LT Pro" panose="020B0504020202020204" pitchFamily="34" charset="77"/>
                <a:ea typeface="+mn-ea"/>
                <a:cs typeface="Arial" panose="020B0604020202020204" pitchFamily="34" charset="0"/>
              </a:rPr>
              <a:t>2. Concept &amp; Content Platform</a:t>
            </a:r>
          </a:p>
          <a:p>
            <a:pPr marL="7701" marR="3081" lvl="0" indent="0" algn="ctr" defTabSz="914400" rtl="0" eaLnBrk="1" fontAlgn="auto" latinLnBrk="0" hangingPunct="1">
              <a:lnSpc>
                <a:spcPct val="101499"/>
              </a:lnSpc>
              <a:spcBef>
                <a:spcPts val="263"/>
              </a:spcBef>
              <a:spcAft>
                <a:spcPts val="0"/>
              </a:spcAft>
              <a:buClrTx/>
              <a:buSzTx/>
              <a:buFontTx/>
              <a:buNone/>
              <a:tabLst/>
              <a:defRPr/>
            </a:pPr>
            <a:r>
              <a:rPr kumimoji="0" lang="en-GB" sz="800" b="0" i="0" u="none" strike="noStrike" kern="1200" cap="none" spc="6" normalizeH="0" baseline="0">
                <a:ln>
                  <a:noFill/>
                </a:ln>
                <a:solidFill>
                  <a:srgbClr val="231F20"/>
                </a:solidFill>
                <a:effectLst/>
                <a:uLnTx/>
                <a:uFillTx/>
                <a:latin typeface="Avenir Next LT Pro" panose="020B0504020202020204" pitchFamily="34" charset="77"/>
                <a:ea typeface="+mn-ea"/>
                <a:cs typeface="Arial" panose="020B0604020202020204" pitchFamily="34" charset="0"/>
              </a:rPr>
              <a:t>Proof of Concept on key deliverables</a:t>
            </a:r>
          </a:p>
        </p:txBody>
      </p:sp>
      <p:sp>
        <p:nvSpPr>
          <p:cNvPr id="5" name="TextBox 4">
            <a:extLst>
              <a:ext uri="{FF2B5EF4-FFF2-40B4-BE49-F238E27FC236}">
                <a16:creationId xmlns:a16="http://schemas.microsoft.com/office/drawing/2014/main" id="{27AC045C-CC50-394B-A108-56FC2F578A50}"/>
              </a:ext>
            </a:extLst>
          </p:cNvPr>
          <p:cNvSpPr txBox="1"/>
          <p:nvPr/>
        </p:nvSpPr>
        <p:spPr>
          <a:xfrm>
            <a:off x="4272915" y="3145870"/>
            <a:ext cx="1624935" cy="512320"/>
          </a:xfrm>
          <a:prstGeom prst="rect">
            <a:avLst/>
          </a:prstGeom>
          <a:noFill/>
        </p:spPr>
        <p:txBody>
          <a:bodyPr wrap="square">
            <a:spAutoFit/>
          </a:bodyPr>
          <a:lstStyle/>
          <a:p>
            <a:pPr marL="7701" marR="0" lvl="0" indent="0" algn="ctr" defTabSz="914400" rtl="0" eaLnBrk="1" fontAlgn="auto" latinLnBrk="0" hangingPunct="1">
              <a:lnSpc>
                <a:spcPct val="100000"/>
              </a:lnSpc>
              <a:spcBef>
                <a:spcPts val="418"/>
              </a:spcBef>
              <a:spcAft>
                <a:spcPts val="0"/>
              </a:spcAft>
              <a:buClrTx/>
              <a:buSzTx/>
              <a:buFontTx/>
              <a:buNone/>
              <a:tabLst/>
              <a:defRPr/>
            </a:pPr>
            <a:r>
              <a:rPr kumimoji="0" lang="en-GB" sz="900" b="1" i="0" u="none" strike="noStrike" kern="1200" cap="none" spc="-3" normalizeH="0" baseline="0">
                <a:ln>
                  <a:noFill/>
                </a:ln>
                <a:solidFill>
                  <a:srgbClr val="231F20"/>
                </a:solidFill>
                <a:effectLst/>
                <a:uLnTx/>
                <a:uFillTx/>
                <a:latin typeface="Avenir Next LT Pro" panose="020B0504020202020204" pitchFamily="34" charset="77"/>
                <a:ea typeface="+mn-ea"/>
                <a:cs typeface="Arial" panose="020B0604020202020204" pitchFamily="34" charset="0"/>
              </a:rPr>
              <a:t>3. Content creation</a:t>
            </a:r>
          </a:p>
          <a:p>
            <a:pPr marL="7701" marR="3081" lvl="0" indent="0" algn="ctr" defTabSz="914400" rtl="0" eaLnBrk="1" fontAlgn="auto" latinLnBrk="0" hangingPunct="1">
              <a:lnSpc>
                <a:spcPct val="101499"/>
              </a:lnSpc>
              <a:spcBef>
                <a:spcPts val="263"/>
              </a:spcBef>
              <a:spcAft>
                <a:spcPts val="0"/>
              </a:spcAft>
              <a:buClrTx/>
              <a:buSzTx/>
              <a:buFontTx/>
              <a:buNone/>
              <a:tabLst/>
              <a:defRPr/>
            </a:pPr>
            <a:r>
              <a:rPr kumimoji="0" lang="en-GB" sz="800" b="0" i="0" u="none" strike="noStrike" kern="1200" cap="none" spc="6" normalizeH="0" baseline="0">
                <a:ln>
                  <a:noFill/>
                </a:ln>
                <a:solidFill>
                  <a:srgbClr val="231F20"/>
                </a:solidFill>
                <a:effectLst/>
                <a:uLnTx/>
                <a:uFillTx/>
                <a:latin typeface="Avenir Next LT Pro" panose="020B0504020202020204" pitchFamily="34" charset="77"/>
                <a:ea typeface="+mn-ea"/>
                <a:cs typeface="Arial" panose="020B0604020202020204" pitchFamily="34" charset="0"/>
              </a:rPr>
              <a:t>Create the ‘Master Content’ on key touchpoints</a:t>
            </a:r>
          </a:p>
        </p:txBody>
      </p:sp>
      <p:sp>
        <p:nvSpPr>
          <p:cNvPr id="6" name="TextBox 5">
            <a:extLst>
              <a:ext uri="{FF2B5EF4-FFF2-40B4-BE49-F238E27FC236}">
                <a16:creationId xmlns:a16="http://schemas.microsoft.com/office/drawing/2014/main" id="{D149E25F-BE89-A445-8A70-54577335A3FA}"/>
              </a:ext>
            </a:extLst>
          </p:cNvPr>
          <p:cNvSpPr txBox="1"/>
          <p:nvPr/>
        </p:nvSpPr>
        <p:spPr>
          <a:xfrm>
            <a:off x="6294152" y="3145870"/>
            <a:ext cx="1499919" cy="512320"/>
          </a:xfrm>
          <a:prstGeom prst="rect">
            <a:avLst/>
          </a:prstGeom>
          <a:noFill/>
        </p:spPr>
        <p:txBody>
          <a:bodyPr wrap="square">
            <a:spAutoFit/>
          </a:bodyPr>
          <a:lstStyle/>
          <a:p>
            <a:pPr marL="7701" marR="0" lvl="0" indent="0" algn="ctr" defTabSz="914400" rtl="0" eaLnBrk="1" fontAlgn="auto" latinLnBrk="0" hangingPunct="1">
              <a:lnSpc>
                <a:spcPct val="100000"/>
              </a:lnSpc>
              <a:spcBef>
                <a:spcPts val="418"/>
              </a:spcBef>
              <a:spcAft>
                <a:spcPts val="0"/>
              </a:spcAft>
              <a:buClrTx/>
              <a:buSzTx/>
              <a:buFontTx/>
              <a:buNone/>
              <a:tabLst/>
              <a:defRPr/>
            </a:pPr>
            <a:r>
              <a:rPr kumimoji="0" lang="en-GB" sz="900" b="1" i="0" u="none" strike="noStrike" kern="1200" cap="none" spc="-3" normalizeH="0" baseline="0">
                <a:ln>
                  <a:noFill/>
                </a:ln>
                <a:solidFill>
                  <a:srgbClr val="231F20"/>
                </a:solidFill>
                <a:effectLst/>
                <a:uLnTx/>
                <a:uFillTx/>
                <a:latin typeface="Avenir Next LT Pro" panose="020B0504020202020204" pitchFamily="34" charset="77"/>
                <a:ea typeface="+mn-ea"/>
                <a:cs typeface="Arial" panose="020B0604020202020204" pitchFamily="34" charset="0"/>
              </a:rPr>
              <a:t>4. Content execution</a:t>
            </a:r>
          </a:p>
          <a:p>
            <a:pPr marL="7701" marR="3081" lvl="0" indent="0" algn="ctr" defTabSz="914400" rtl="0" eaLnBrk="1" fontAlgn="auto" latinLnBrk="0" hangingPunct="1">
              <a:lnSpc>
                <a:spcPct val="101499"/>
              </a:lnSpc>
              <a:spcBef>
                <a:spcPts val="263"/>
              </a:spcBef>
              <a:spcAft>
                <a:spcPts val="0"/>
              </a:spcAft>
              <a:buClrTx/>
              <a:buSzTx/>
              <a:buFontTx/>
              <a:buNone/>
              <a:tabLst/>
              <a:defRPr/>
            </a:pPr>
            <a:r>
              <a:rPr kumimoji="0" lang="en-GB" sz="800" b="0" i="0" u="none" strike="noStrike" kern="1200" cap="none" spc="6" normalizeH="0" baseline="0">
                <a:ln>
                  <a:noFill/>
                </a:ln>
                <a:solidFill>
                  <a:srgbClr val="231F20"/>
                </a:solidFill>
                <a:effectLst/>
                <a:uLnTx/>
                <a:uFillTx/>
                <a:latin typeface="Avenir Next LT Pro" panose="020B0504020202020204" pitchFamily="34" charset="77"/>
                <a:ea typeface="+mn-ea"/>
                <a:cs typeface="Arial" panose="020B0604020202020204" pitchFamily="34" charset="0"/>
              </a:rPr>
              <a:t>Detailed Content Execution  &amp; Planning </a:t>
            </a:r>
          </a:p>
        </p:txBody>
      </p:sp>
      <p:sp>
        <p:nvSpPr>
          <p:cNvPr id="7" name="TextBox 6">
            <a:extLst>
              <a:ext uri="{FF2B5EF4-FFF2-40B4-BE49-F238E27FC236}">
                <a16:creationId xmlns:a16="http://schemas.microsoft.com/office/drawing/2014/main" id="{DF9464E5-44C1-154A-AE54-56924E4A00F2}"/>
              </a:ext>
            </a:extLst>
          </p:cNvPr>
          <p:cNvSpPr txBox="1"/>
          <p:nvPr/>
        </p:nvSpPr>
        <p:spPr>
          <a:xfrm>
            <a:off x="8376456" y="3145870"/>
            <a:ext cx="1210537" cy="512320"/>
          </a:xfrm>
          <a:prstGeom prst="rect">
            <a:avLst/>
          </a:prstGeom>
          <a:noFill/>
        </p:spPr>
        <p:txBody>
          <a:bodyPr wrap="square">
            <a:spAutoFit/>
          </a:bodyPr>
          <a:lstStyle/>
          <a:p>
            <a:pPr marL="7701" marR="0" lvl="0" indent="0" algn="ctr" defTabSz="914400" rtl="0" eaLnBrk="1" fontAlgn="auto" latinLnBrk="0" hangingPunct="1">
              <a:lnSpc>
                <a:spcPct val="100000"/>
              </a:lnSpc>
              <a:spcBef>
                <a:spcPts val="418"/>
              </a:spcBef>
              <a:spcAft>
                <a:spcPts val="0"/>
              </a:spcAft>
              <a:buClrTx/>
              <a:buSzTx/>
              <a:buFontTx/>
              <a:buNone/>
              <a:tabLst/>
              <a:defRPr/>
            </a:pPr>
            <a:r>
              <a:rPr kumimoji="0" lang="en-GB" sz="900" b="1" i="0" u="none" strike="noStrike" kern="1200" cap="none" spc="-3" normalizeH="0" baseline="0">
                <a:ln>
                  <a:noFill/>
                </a:ln>
                <a:solidFill>
                  <a:srgbClr val="231F20"/>
                </a:solidFill>
                <a:effectLst/>
                <a:uLnTx/>
                <a:uFillTx/>
                <a:latin typeface="Avenir Next LT Pro" panose="020B0504020202020204" pitchFamily="34" charset="77"/>
                <a:ea typeface="+mn-ea"/>
                <a:cs typeface="Arial" panose="020B0604020202020204" pitchFamily="34" charset="0"/>
              </a:rPr>
              <a:t>5. Production</a:t>
            </a:r>
          </a:p>
          <a:p>
            <a:pPr marL="7701" marR="3081" lvl="0" indent="0" algn="ctr" defTabSz="914400" rtl="0" eaLnBrk="1" fontAlgn="auto" latinLnBrk="0" hangingPunct="1">
              <a:lnSpc>
                <a:spcPct val="101499"/>
              </a:lnSpc>
              <a:spcBef>
                <a:spcPts val="263"/>
              </a:spcBef>
              <a:spcAft>
                <a:spcPts val="0"/>
              </a:spcAft>
              <a:buClrTx/>
              <a:buSzTx/>
              <a:buFontTx/>
              <a:buNone/>
              <a:tabLst/>
              <a:defRPr/>
            </a:pPr>
            <a:r>
              <a:rPr kumimoji="0" lang="en-GB" sz="800" b="0" i="0" u="none" strike="noStrike" kern="1200" cap="none" spc="6" normalizeH="0" baseline="0">
                <a:ln>
                  <a:noFill/>
                </a:ln>
                <a:solidFill>
                  <a:srgbClr val="231F20"/>
                </a:solidFill>
                <a:effectLst/>
                <a:uLnTx/>
                <a:uFillTx/>
                <a:latin typeface="Avenir Next LT Pro" panose="020B0504020202020204" pitchFamily="34" charset="77"/>
                <a:ea typeface="+mn-ea"/>
                <a:cs typeface="Arial" panose="020B0604020202020204" pitchFamily="34" charset="0"/>
              </a:rPr>
              <a:t>(Pre)Production &amp; Mediabuying</a:t>
            </a:r>
          </a:p>
        </p:txBody>
      </p:sp>
      <p:sp>
        <p:nvSpPr>
          <p:cNvPr id="8" name="TextBox 7">
            <a:extLst>
              <a:ext uri="{FF2B5EF4-FFF2-40B4-BE49-F238E27FC236}">
                <a16:creationId xmlns:a16="http://schemas.microsoft.com/office/drawing/2014/main" id="{9A922998-5C59-9A4F-917D-F67C24A599B1}"/>
              </a:ext>
            </a:extLst>
          </p:cNvPr>
          <p:cNvSpPr txBox="1"/>
          <p:nvPr/>
        </p:nvSpPr>
        <p:spPr>
          <a:xfrm>
            <a:off x="10245379" y="3145870"/>
            <a:ext cx="1235013" cy="512320"/>
          </a:xfrm>
          <a:prstGeom prst="rect">
            <a:avLst/>
          </a:prstGeom>
          <a:noFill/>
        </p:spPr>
        <p:txBody>
          <a:bodyPr wrap="square">
            <a:spAutoFit/>
          </a:bodyPr>
          <a:lstStyle/>
          <a:p>
            <a:pPr marL="7701" marR="0" lvl="0" indent="0" algn="ctr" defTabSz="914400" rtl="0" eaLnBrk="1" fontAlgn="auto" latinLnBrk="0" hangingPunct="1">
              <a:lnSpc>
                <a:spcPct val="100000"/>
              </a:lnSpc>
              <a:spcBef>
                <a:spcPts val="418"/>
              </a:spcBef>
              <a:spcAft>
                <a:spcPts val="0"/>
              </a:spcAft>
              <a:buClrTx/>
              <a:buSzTx/>
              <a:buFontTx/>
              <a:buNone/>
              <a:tabLst/>
              <a:defRPr/>
            </a:pPr>
            <a:r>
              <a:rPr kumimoji="0" lang="en-GB" sz="900" b="1" i="0" u="none" strike="noStrike" kern="1200" cap="none" spc="-3" normalizeH="0" baseline="0">
                <a:ln>
                  <a:noFill/>
                </a:ln>
                <a:solidFill>
                  <a:srgbClr val="231F20"/>
                </a:solidFill>
                <a:effectLst/>
                <a:uLnTx/>
                <a:uFillTx/>
                <a:latin typeface="Avenir Next LT Pro" panose="020B0504020202020204" pitchFamily="34" charset="77"/>
                <a:ea typeface="+mn-ea"/>
                <a:cs typeface="Arial" panose="020B0604020202020204" pitchFamily="34" charset="0"/>
              </a:rPr>
              <a:t>6. Dashboarding</a:t>
            </a:r>
          </a:p>
          <a:p>
            <a:pPr marL="7701" marR="3081" lvl="0" indent="0" algn="ctr" defTabSz="914400" rtl="0" eaLnBrk="1" fontAlgn="auto" latinLnBrk="0" hangingPunct="1">
              <a:lnSpc>
                <a:spcPct val="101499"/>
              </a:lnSpc>
              <a:spcBef>
                <a:spcPts val="263"/>
              </a:spcBef>
              <a:spcAft>
                <a:spcPts val="0"/>
              </a:spcAft>
              <a:buClrTx/>
              <a:buSzTx/>
              <a:buFontTx/>
              <a:buNone/>
              <a:tabLst/>
              <a:defRPr/>
            </a:pPr>
            <a:r>
              <a:rPr kumimoji="0" lang="en-GB" sz="800" b="0" i="0" u="none" strike="noStrike" kern="1200" cap="none" spc="6" normalizeH="0" baseline="0">
                <a:ln>
                  <a:noFill/>
                </a:ln>
                <a:solidFill>
                  <a:srgbClr val="231F20"/>
                </a:solidFill>
                <a:effectLst/>
                <a:uLnTx/>
                <a:uFillTx/>
                <a:latin typeface="Avenir Next LT Pro" panose="020B0504020202020204" pitchFamily="34" charset="77"/>
                <a:ea typeface="+mn-ea"/>
                <a:cs typeface="Arial" panose="020B0604020202020204" pitchFamily="34" charset="0"/>
              </a:rPr>
              <a:t>Measure, Analyse, Optimise</a:t>
            </a:r>
          </a:p>
        </p:txBody>
      </p:sp>
      <p:sp>
        <p:nvSpPr>
          <p:cNvPr id="9" name="TextBox 8">
            <a:extLst>
              <a:ext uri="{FF2B5EF4-FFF2-40B4-BE49-F238E27FC236}">
                <a16:creationId xmlns:a16="http://schemas.microsoft.com/office/drawing/2014/main" id="{3FF98D03-B32F-AC46-8E8A-CBA9779D79E5}"/>
              </a:ext>
            </a:extLst>
          </p:cNvPr>
          <p:cNvSpPr txBox="1"/>
          <p:nvPr/>
        </p:nvSpPr>
        <p:spPr>
          <a:xfrm>
            <a:off x="735954" y="3289435"/>
            <a:ext cx="867970" cy="246221"/>
          </a:xfrm>
          <a:prstGeom prst="rect">
            <a:avLst/>
          </a:prstGeom>
          <a:noFill/>
        </p:spPr>
        <p:txBody>
          <a:bodyPr wrap="square">
            <a:spAutoFit/>
          </a:bodyPr>
          <a:lstStyle/>
          <a:p>
            <a:pPr marL="7701" marR="0" lvl="0" indent="0" algn="ctr" defTabSz="914400" rtl="0" eaLnBrk="1" fontAlgn="auto" latinLnBrk="0" hangingPunct="1">
              <a:lnSpc>
                <a:spcPct val="100000"/>
              </a:lnSpc>
              <a:spcBef>
                <a:spcPts val="418"/>
              </a:spcBef>
              <a:spcAft>
                <a:spcPts val="0"/>
              </a:spcAft>
              <a:buClrTx/>
              <a:buSzTx/>
              <a:buFontTx/>
              <a:buNone/>
              <a:tabLst/>
              <a:defRPr/>
            </a:pPr>
            <a:r>
              <a:rPr kumimoji="0" lang="en-GB" sz="1000" b="1" i="0" u="none" strike="noStrike" kern="1200" cap="none" spc="-3" normalizeH="0" baseline="0">
                <a:ln>
                  <a:noFill/>
                </a:ln>
                <a:solidFill>
                  <a:srgbClr val="231F20"/>
                </a:solidFill>
                <a:effectLst/>
                <a:uLnTx/>
                <a:uFillTx/>
                <a:latin typeface="Avenir Next LT Pro" panose="020B0504020202020204" pitchFamily="34" charset="77"/>
                <a:ea typeface="+mn-ea"/>
                <a:cs typeface="Arial" panose="020B0604020202020204" pitchFamily="34" charset="0"/>
              </a:rPr>
              <a:t>1. Strategy</a:t>
            </a:r>
          </a:p>
        </p:txBody>
      </p:sp>
      <p:sp>
        <p:nvSpPr>
          <p:cNvPr id="13" name="Text Placeholder 3">
            <a:extLst>
              <a:ext uri="{FF2B5EF4-FFF2-40B4-BE49-F238E27FC236}">
                <a16:creationId xmlns:a16="http://schemas.microsoft.com/office/drawing/2014/main" id="{9125528C-0783-7835-A72D-40CAE6B482C8}"/>
              </a:ext>
            </a:extLst>
          </p:cNvPr>
          <p:cNvSpPr txBox="1">
            <a:spLocks/>
          </p:cNvSpPr>
          <p:nvPr/>
        </p:nvSpPr>
        <p:spPr>
          <a:xfrm>
            <a:off x="437390" y="300101"/>
            <a:ext cx="5363564" cy="228026"/>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spcAft>
                <a:spcPts val="0"/>
              </a:spcAft>
              <a:buClrTx/>
              <a:buSzTx/>
              <a:tabLst/>
              <a:defRPr/>
            </a:pPr>
            <a:r>
              <a:rPr lang="en-GB">
                <a:solidFill>
                  <a:srgbClr val="7B818B"/>
                </a:solidFill>
                <a:latin typeface="AvenirNext LT Pro Bold" panose="020B0504020202020204" pitchFamily="34" charset="77"/>
              </a:rPr>
              <a:t>DE WOW</a:t>
            </a:r>
          </a:p>
        </p:txBody>
      </p:sp>
      <p:cxnSp>
        <p:nvCxnSpPr>
          <p:cNvPr id="14" name="Straight Connector 5">
            <a:extLst>
              <a:ext uri="{FF2B5EF4-FFF2-40B4-BE49-F238E27FC236}">
                <a16:creationId xmlns:a16="http://schemas.microsoft.com/office/drawing/2014/main" id="{6A508BF8-7099-3B02-24EC-32EC0F81C982}"/>
              </a:ext>
            </a:extLst>
          </p:cNvPr>
          <p:cNvCxnSpPr>
            <a:cxnSpLocks/>
          </p:cNvCxnSpPr>
          <p:nvPr/>
        </p:nvCxnSpPr>
        <p:spPr>
          <a:xfrm>
            <a:off x="437390" y="546308"/>
            <a:ext cx="1058901" cy="0"/>
          </a:xfrm>
          <a:prstGeom prst="line">
            <a:avLst/>
          </a:prstGeom>
          <a:noFill/>
          <a:ln w="12700" cap="flat" cmpd="sng" algn="ctr">
            <a:solidFill>
              <a:srgbClr val="DCCF7F"/>
            </a:solidFill>
            <a:prstDash val="solid"/>
            <a:miter lim="800000"/>
          </a:ln>
          <a:effectLst/>
        </p:spPr>
      </p:cxnSp>
    </p:spTree>
    <p:extLst>
      <p:ext uri="{BB962C8B-B14F-4D97-AF65-F5344CB8AC3E}">
        <p14:creationId xmlns:p14="http://schemas.microsoft.com/office/powerpoint/2010/main" val="760018694"/>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5A3CF6C9-2A16-CB4E-A527-A661B8F09B59}"/>
              </a:ext>
            </a:extLst>
          </p:cNvPr>
          <p:cNvSpPr txBox="1">
            <a:spLocks/>
          </p:cNvSpPr>
          <p:nvPr/>
        </p:nvSpPr>
        <p:spPr>
          <a:xfrm>
            <a:off x="1649452" y="316019"/>
            <a:ext cx="8301425" cy="439830"/>
          </a:xfrm>
          <a:prstGeom prst="rect">
            <a:avLst/>
          </a:prstGeom>
        </p:spPr>
        <p:txBody>
          <a:bodyPr vert="horz" wrap="square" lIns="0" tIns="8856"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7701" algn="ctr">
              <a:lnSpc>
                <a:spcPct val="100000"/>
              </a:lnSpc>
              <a:spcBef>
                <a:spcPts val="69"/>
              </a:spcBef>
            </a:pPr>
            <a:r>
              <a:rPr lang="nl-BE" sz="2800" b="1" spc="9">
                <a:latin typeface="Avenir Next LT Pro" panose="020B0504020202020204" pitchFamily="34" charset="77"/>
              </a:rPr>
              <a:t>Phases &amp; Tiers</a:t>
            </a:r>
            <a:endParaRPr lang="nl-BE" sz="2800" b="1">
              <a:latin typeface="Avenir Next LT Pro" panose="020B0504020202020204" pitchFamily="34" charset="77"/>
            </a:endParaRPr>
          </a:p>
        </p:txBody>
      </p:sp>
      <p:pic>
        <p:nvPicPr>
          <p:cNvPr id="3" name="Picture 2">
            <a:extLst>
              <a:ext uri="{FF2B5EF4-FFF2-40B4-BE49-F238E27FC236}">
                <a16:creationId xmlns:a16="http://schemas.microsoft.com/office/drawing/2014/main" id="{9F6E8670-7D27-D045-BAE3-A31CE5673DB4}"/>
              </a:ext>
            </a:extLst>
          </p:cNvPr>
          <p:cNvPicPr>
            <a:picLocks noChangeAspect="1"/>
          </p:cNvPicPr>
          <p:nvPr/>
        </p:nvPicPr>
        <p:blipFill>
          <a:blip r:embed="rId2"/>
          <a:stretch>
            <a:fillRect/>
          </a:stretch>
        </p:blipFill>
        <p:spPr>
          <a:xfrm>
            <a:off x="538079" y="1084570"/>
            <a:ext cx="11004735" cy="1127346"/>
          </a:xfrm>
          <a:prstGeom prst="rect">
            <a:avLst/>
          </a:prstGeom>
        </p:spPr>
      </p:pic>
      <p:sp>
        <p:nvSpPr>
          <p:cNvPr id="4" name="TextBox 3">
            <a:extLst>
              <a:ext uri="{FF2B5EF4-FFF2-40B4-BE49-F238E27FC236}">
                <a16:creationId xmlns:a16="http://schemas.microsoft.com/office/drawing/2014/main" id="{BB1CE3C0-BB04-B04F-B05A-7B156B624400}"/>
              </a:ext>
            </a:extLst>
          </p:cNvPr>
          <p:cNvSpPr txBox="1"/>
          <p:nvPr/>
        </p:nvSpPr>
        <p:spPr>
          <a:xfrm>
            <a:off x="2425483" y="1330918"/>
            <a:ext cx="1338100" cy="656462"/>
          </a:xfrm>
          <a:prstGeom prst="rect">
            <a:avLst/>
          </a:prstGeom>
          <a:noFill/>
        </p:spPr>
        <p:txBody>
          <a:bodyPr wrap="square">
            <a:spAutoFit/>
          </a:bodyPr>
          <a:lstStyle/>
          <a:p>
            <a:pPr marL="7701" lvl="0" algn="ctr">
              <a:spcBef>
                <a:spcPts val="418"/>
              </a:spcBef>
              <a:defRPr/>
            </a:pPr>
            <a:r>
              <a:rPr lang="nl-BE" sz="900" b="1" spc="-3">
                <a:solidFill>
                  <a:srgbClr val="231F20"/>
                </a:solidFill>
                <a:latin typeface="Avenir Next LT Pro" panose="020B0504020202020204" pitchFamily="34" charset="77"/>
                <a:cs typeface="Arial" panose="020B0604020202020204" pitchFamily="34" charset="0"/>
              </a:rPr>
              <a:t>2. Concept &amp; Content Platform</a:t>
            </a:r>
          </a:p>
          <a:p>
            <a:pPr marL="7701" marR="3081" algn="ctr">
              <a:lnSpc>
                <a:spcPct val="101499"/>
              </a:lnSpc>
              <a:spcBef>
                <a:spcPts val="263"/>
              </a:spcBef>
              <a:defRPr/>
            </a:pPr>
            <a:r>
              <a:rPr lang="nl-BE" sz="800" spc="6">
                <a:solidFill>
                  <a:srgbClr val="231F20"/>
                </a:solidFill>
                <a:latin typeface="Avenir Next LT Pro" panose="020B0504020202020204" pitchFamily="34" charset="77"/>
                <a:cs typeface="Arial" panose="020B0604020202020204" pitchFamily="34" charset="0"/>
              </a:rPr>
              <a:t>Proof of Concept on key deliverables</a:t>
            </a:r>
          </a:p>
        </p:txBody>
      </p:sp>
      <p:sp>
        <p:nvSpPr>
          <p:cNvPr id="5" name="TextBox 4">
            <a:extLst>
              <a:ext uri="{FF2B5EF4-FFF2-40B4-BE49-F238E27FC236}">
                <a16:creationId xmlns:a16="http://schemas.microsoft.com/office/drawing/2014/main" id="{27AC045C-CC50-394B-A108-56FC2F578A50}"/>
              </a:ext>
            </a:extLst>
          </p:cNvPr>
          <p:cNvSpPr txBox="1"/>
          <p:nvPr/>
        </p:nvSpPr>
        <p:spPr>
          <a:xfrm>
            <a:off x="4272915" y="1407862"/>
            <a:ext cx="1624935" cy="512320"/>
          </a:xfrm>
          <a:prstGeom prst="rect">
            <a:avLst/>
          </a:prstGeom>
          <a:noFill/>
        </p:spPr>
        <p:txBody>
          <a:bodyPr wrap="square">
            <a:spAutoFit/>
          </a:bodyPr>
          <a:lstStyle/>
          <a:p>
            <a:pPr marL="7701" lvl="0" algn="ctr">
              <a:spcBef>
                <a:spcPts val="418"/>
              </a:spcBef>
              <a:defRPr/>
            </a:pPr>
            <a:r>
              <a:rPr lang="nl-BE" sz="900" b="1" spc="-3">
                <a:solidFill>
                  <a:srgbClr val="231F20"/>
                </a:solidFill>
                <a:latin typeface="Avenir Next LT Pro" panose="020B0504020202020204" pitchFamily="34" charset="77"/>
                <a:cs typeface="Arial" panose="020B0604020202020204" pitchFamily="34" charset="0"/>
              </a:rPr>
              <a:t>3. Content creation</a:t>
            </a:r>
          </a:p>
          <a:p>
            <a:pPr marL="7701" marR="3081" algn="ctr">
              <a:lnSpc>
                <a:spcPct val="101499"/>
              </a:lnSpc>
              <a:spcBef>
                <a:spcPts val="263"/>
              </a:spcBef>
              <a:defRPr/>
            </a:pPr>
            <a:r>
              <a:rPr lang="nl-BE" sz="800" spc="6">
                <a:solidFill>
                  <a:srgbClr val="231F20"/>
                </a:solidFill>
                <a:latin typeface="Avenir Next LT Pro" panose="020B0504020202020204" pitchFamily="34" charset="77"/>
                <a:cs typeface="Arial" panose="020B0604020202020204" pitchFamily="34" charset="0"/>
              </a:rPr>
              <a:t>Create the ‘Master Content’ on key touchpoints</a:t>
            </a:r>
          </a:p>
        </p:txBody>
      </p:sp>
      <p:sp>
        <p:nvSpPr>
          <p:cNvPr id="6" name="TextBox 5">
            <a:extLst>
              <a:ext uri="{FF2B5EF4-FFF2-40B4-BE49-F238E27FC236}">
                <a16:creationId xmlns:a16="http://schemas.microsoft.com/office/drawing/2014/main" id="{D149E25F-BE89-A445-8A70-54577335A3FA}"/>
              </a:ext>
            </a:extLst>
          </p:cNvPr>
          <p:cNvSpPr txBox="1"/>
          <p:nvPr/>
        </p:nvSpPr>
        <p:spPr>
          <a:xfrm>
            <a:off x="6294152" y="1407862"/>
            <a:ext cx="1499919" cy="512320"/>
          </a:xfrm>
          <a:prstGeom prst="rect">
            <a:avLst/>
          </a:prstGeom>
          <a:noFill/>
        </p:spPr>
        <p:txBody>
          <a:bodyPr wrap="square">
            <a:spAutoFit/>
          </a:bodyPr>
          <a:lstStyle/>
          <a:p>
            <a:pPr marL="7701" lvl="0" algn="ctr">
              <a:spcBef>
                <a:spcPts val="418"/>
              </a:spcBef>
              <a:defRPr/>
            </a:pPr>
            <a:r>
              <a:rPr lang="nl-BE" sz="900" b="1" spc="-3">
                <a:solidFill>
                  <a:srgbClr val="231F20"/>
                </a:solidFill>
                <a:latin typeface="Avenir Next LT Pro" panose="020B0504020202020204" pitchFamily="34" charset="77"/>
                <a:cs typeface="Arial" panose="020B0604020202020204" pitchFamily="34" charset="0"/>
              </a:rPr>
              <a:t>4. Content execution</a:t>
            </a:r>
          </a:p>
          <a:p>
            <a:pPr marL="7701" marR="3081" algn="ctr">
              <a:lnSpc>
                <a:spcPct val="101499"/>
              </a:lnSpc>
              <a:spcBef>
                <a:spcPts val="263"/>
              </a:spcBef>
              <a:defRPr/>
            </a:pPr>
            <a:r>
              <a:rPr lang="nl-BE" sz="800" spc="6">
                <a:solidFill>
                  <a:srgbClr val="231F20"/>
                </a:solidFill>
                <a:latin typeface="Avenir Next LT Pro" panose="020B0504020202020204" pitchFamily="34" charset="77"/>
                <a:cs typeface="Arial" panose="020B0604020202020204" pitchFamily="34" charset="0"/>
              </a:rPr>
              <a:t>Detailed Content Execution  &amp; Planning </a:t>
            </a:r>
          </a:p>
        </p:txBody>
      </p:sp>
      <p:sp>
        <p:nvSpPr>
          <p:cNvPr id="7" name="TextBox 6">
            <a:extLst>
              <a:ext uri="{FF2B5EF4-FFF2-40B4-BE49-F238E27FC236}">
                <a16:creationId xmlns:a16="http://schemas.microsoft.com/office/drawing/2014/main" id="{DF9464E5-44C1-154A-AE54-56924E4A00F2}"/>
              </a:ext>
            </a:extLst>
          </p:cNvPr>
          <p:cNvSpPr txBox="1"/>
          <p:nvPr/>
        </p:nvSpPr>
        <p:spPr>
          <a:xfrm>
            <a:off x="8376456" y="1407862"/>
            <a:ext cx="1210537" cy="512320"/>
          </a:xfrm>
          <a:prstGeom prst="rect">
            <a:avLst/>
          </a:prstGeom>
          <a:noFill/>
        </p:spPr>
        <p:txBody>
          <a:bodyPr wrap="square">
            <a:spAutoFit/>
          </a:bodyPr>
          <a:lstStyle/>
          <a:p>
            <a:pPr marL="7701" lvl="0" algn="ctr">
              <a:spcBef>
                <a:spcPts val="418"/>
              </a:spcBef>
              <a:defRPr/>
            </a:pPr>
            <a:r>
              <a:rPr lang="nl-BE" sz="900" b="1" spc="-3">
                <a:solidFill>
                  <a:srgbClr val="231F20"/>
                </a:solidFill>
                <a:latin typeface="Avenir Next LT Pro" panose="020B0504020202020204" pitchFamily="34" charset="77"/>
                <a:cs typeface="Arial" panose="020B0604020202020204" pitchFamily="34" charset="0"/>
              </a:rPr>
              <a:t>5. Production</a:t>
            </a:r>
          </a:p>
          <a:p>
            <a:pPr marL="7701" marR="3081" algn="ctr">
              <a:lnSpc>
                <a:spcPct val="101499"/>
              </a:lnSpc>
              <a:spcBef>
                <a:spcPts val="263"/>
              </a:spcBef>
              <a:defRPr/>
            </a:pPr>
            <a:r>
              <a:rPr lang="nl-BE" sz="800" spc="6">
                <a:solidFill>
                  <a:srgbClr val="231F20"/>
                </a:solidFill>
                <a:latin typeface="Avenir Next LT Pro" panose="020B0504020202020204" pitchFamily="34" charset="77"/>
                <a:cs typeface="Arial" panose="020B0604020202020204" pitchFamily="34" charset="0"/>
              </a:rPr>
              <a:t>(Pre)Production &amp; Mediabuying</a:t>
            </a:r>
          </a:p>
        </p:txBody>
      </p:sp>
      <p:sp>
        <p:nvSpPr>
          <p:cNvPr id="8" name="TextBox 7">
            <a:extLst>
              <a:ext uri="{FF2B5EF4-FFF2-40B4-BE49-F238E27FC236}">
                <a16:creationId xmlns:a16="http://schemas.microsoft.com/office/drawing/2014/main" id="{9A922998-5C59-9A4F-917D-F67C24A599B1}"/>
              </a:ext>
            </a:extLst>
          </p:cNvPr>
          <p:cNvSpPr txBox="1"/>
          <p:nvPr/>
        </p:nvSpPr>
        <p:spPr>
          <a:xfrm>
            <a:off x="10245379" y="1407862"/>
            <a:ext cx="1235013" cy="512320"/>
          </a:xfrm>
          <a:prstGeom prst="rect">
            <a:avLst/>
          </a:prstGeom>
          <a:noFill/>
        </p:spPr>
        <p:txBody>
          <a:bodyPr wrap="square">
            <a:spAutoFit/>
          </a:bodyPr>
          <a:lstStyle/>
          <a:p>
            <a:pPr marL="7701" lvl="0" algn="ctr">
              <a:spcBef>
                <a:spcPts val="418"/>
              </a:spcBef>
              <a:defRPr/>
            </a:pPr>
            <a:r>
              <a:rPr lang="nl-BE" sz="900" b="1" spc="-3">
                <a:solidFill>
                  <a:srgbClr val="231F20"/>
                </a:solidFill>
                <a:latin typeface="Avenir Next LT Pro" panose="020B0504020202020204" pitchFamily="34" charset="77"/>
                <a:cs typeface="Arial" panose="020B0604020202020204" pitchFamily="34" charset="0"/>
              </a:rPr>
              <a:t>6. Dashboarding</a:t>
            </a:r>
          </a:p>
          <a:p>
            <a:pPr marL="7701" marR="3081" algn="ctr">
              <a:lnSpc>
                <a:spcPct val="101499"/>
              </a:lnSpc>
              <a:spcBef>
                <a:spcPts val="263"/>
              </a:spcBef>
              <a:defRPr/>
            </a:pPr>
            <a:r>
              <a:rPr lang="nl-BE" sz="800" spc="6">
                <a:solidFill>
                  <a:srgbClr val="231F20"/>
                </a:solidFill>
                <a:latin typeface="Avenir Next LT Pro" panose="020B0504020202020204" pitchFamily="34" charset="77"/>
                <a:cs typeface="Arial" panose="020B0604020202020204" pitchFamily="34" charset="0"/>
              </a:rPr>
              <a:t>Measure, Analyse, Optimise</a:t>
            </a:r>
          </a:p>
        </p:txBody>
      </p:sp>
      <p:sp>
        <p:nvSpPr>
          <p:cNvPr id="9" name="TextBox 8">
            <a:extLst>
              <a:ext uri="{FF2B5EF4-FFF2-40B4-BE49-F238E27FC236}">
                <a16:creationId xmlns:a16="http://schemas.microsoft.com/office/drawing/2014/main" id="{3FF98D03-B32F-AC46-8E8A-CBA9779D79E5}"/>
              </a:ext>
            </a:extLst>
          </p:cNvPr>
          <p:cNvSpPr txBox="1"/>
          <p:nvPr/>
        </p:nvSpPr>
        <p:spPr>
          <a:xfrm>
            <a:off x="735954" y="1551427"/>
            <a:ext cx="867970" cy="246221"/>
          </a:xfrm>
          <a:prstGeom prst="rect">
            <a:avLst/>
          </a:prstGeom>
          <a:noFill/>
        </p:spPr>
        <p:txBody>
          <a:bodyPr wrap="square">
            <a:spAutoFit/>
          </a:bodyPr>
          <a:lstStyle/>
          <a:p>
            <a:pPr marL="7701" lvl="0" algn="ctr">
              <a:spcBef>
                <a:spcPts val="418"/>
              </a:spcBef>
              <a:defRPr/>
            </a:pPr>
            <a:r>
              <a:rPr lang="nl-BE" sz="1000" b="1" spc="-3">
                <a:solidFill>
                  <a:srgbClr val="231F20"/>
                </a:solidFill>
                <a:latin typeface="Avenir Next LT Pro" panose="020B0504020202020204" pitchFamily="34" charset="77"/>
                <a:cs typeface="Arial" panose="020B0604020202020204" pitchFamily="34" charset="0"/>
              </a:rPr>
              <a:t>1. Strategy</a:t>
            </a:r>
          </a:p>
        </p:txBody>
      </p:sp>
      <p:sp>
        <p:nvSpPr>
          <p:cNvPr id="10" name="object 28">
            <a:extLst>
              <a:ext uri="{FF2B5EF4-FFF2-40B4-BE49-F238E27FC236}">
                <a16:creationId xmlns:a16="http://schemas.microsoft.com/office/drawing/2014/main" id="{3F229326-5CDE-9649-B18A-A8D6F0BC32EA}"/>
              </a:ext>
            </a:extLst>
          </p:cNvPr>
          <p:cNvSpPr txBox="1"/>
          <p:nvPr/>
        </p:nvSpPr>
        <p:spPr>
          <a:xfrm>
            <a:off x="862912" y="2391943"/>
            <a:ext cx="6983178" cy="725637"/>
          </a:xfrm>
          <a:prstGeom prst="rect">
            <a:avLst/>
          </a:prstGeom>
        </p:spPr>
        <p:txBody>
          <a:bodyPr vert="horz" wrap="square" lIns="0" tIns="53139" rIns="0" bIns="0" rtlCol="0" anchor="t">
            <a:spAutoFit/>
          </a:bodyPr>
          <a:lstStyle/>
          <a:p>
            <a:pPr marL="7620">
              <a:spcBef>
                <a:spcPts val="418"/>
              </a:spcBef>
            </a:pPr>
            <a:r>
              <a:rPr lang="nl-BE" sz="1600" b="1" spc="-3">
                <a:solidFill>
                  <a:srgbClr val="231F20"/>
                </a:solidFill>
                <a:latin typeface="Avenir Next LT Pro"/>
                <a:cs typeface="Chalet-NewYorkNineteenSixty"/>
              </a:rPr>
              <a:t>TIER 1 CAMPAIGNS</a:t>
            </a:r>
            <a:endParaRPr lang="en-US">
              <a:latin typeface="Avenir Next LT Pro"/>
            </a:endParaRPr>
          </a:p>
          <a:p>
            <a:pPr marL="7620">
              <a:spcBef>
                <a:spcPts val="418"/>
              </a:spcBef>
            </a:pPr>
            <a:r>
              <a:rPr lang="nl-BE" sz="1050" spc="-3">
                <a:solidFill>
                  <a:srgbClr val="231F20"/>
                </a:solidFill>
                <a:latin typeface="Avenir Next LT Pro"/>
                <a:cs typeface="Chalet-ParisNineteenSixty"/>
              </a:rPr>
              <a:t>360</a:t>
            </a:r>
            <a:r>
              <a:rPr lang="nl-BE" sz="1050" spc="-3" baseline="30000">
                <a:solidFill>
                  <a:srgbClr val="231F20"/>
                </a:solidFill>
                <a:latin typeface="Avenir Next LT Pro"/>
                <a:cs typeface="Chalet-ParisNineteenSixty"/>
              </a:rPr>
              <a:t>°</a:t>
            </a:r>
            <a:r>
              <a:rPr lang="nl-BE" sz="1050" spc="-3">
                <a:solidFill>
                  <a:srgbClr val="231F20"/>
                </a:solidFill>
                <a:latin typeface="Avenir Next LT Pro"/>
                <a:cs typeface="Chalet-ParisNineteenSixty"/>
              </a:rPr>
              <a:t> concept &amp; content </a:t>
            </a:r>
            <a:r>
              <a:rPr lang="nl-BE" sz="1050" spc="-3" err="1">
                <a:solidFill>
                  <a:srgbClr val="231F20"/>
                </a:solidFill>
                <a:latin typeface="Avenir Next LT Pro"/>
                <a:cs typeface="Chalet-ParisNineteenSixty"/>
              </a:rPr>
              <a:t>providing</a:t>
            </a:r>
            <a:r>
              <a:rPr lang="nl-BE" sz="1050" spc="-3">
                <a:solidFill>
                  <a:srgbClr val="231F20"/>
                </a:solidFill>
                <a:latin typeface="Avenir Next LT Pro"/>
                <a:cs typeface="Chalet-ParisNineteenSixty"/>
              </a:rPr>
              <a:t> + </a:t>
            </a:r>
            <a:r>
              <a:rPr lang="nl-BE" sz="1050" spc="-3" err="1">
                <a:solidFill>
                  <a:srgbClr val="231F20"/>
                </a:solidFill>
                <a:latin typeface="Avenir Next LT Pro"/>
                <a:cs typeface="Chalet-ParisNineteenSixty"/>
              </a:rPr>
              <a:t>production</a:t>
            </a:r>
          </a:p>
          <a:p>
            <a:pPr marL="7620">
              <a:spcBef>
                <a:spcPts val="418"/>
              </a:spcBef>
            </a:pPr>
            <a:r>
              <a:rPr lang="nl-BE" sz="1050" spc="-3">
                <a:solidFill>
                  <a:srgbClr val="231F20"/>
                </a:solidFill>
                <a:latin typeface="Avenir Next LT Pro"/>
                <a:cs typeface="Chalet-ParisNineteenSixty"/>
              </a:rPr>
              <a:t>We are </a:t>
            </a:r>
            <a:r>
              <a:rPr lang="nl-BE" sz="1050" spc="-3" err="1">
                <a:solidFill>
                  <a:srgbClr val="231F20"/>
                </a:solidFill>
                <a:latin typeface="Avenir Next LT Pro"/>
                <a:cs typeface="Chalet-ParisNineteenSixty"/>
              </a:rPr>
              <a:t>looking</a:t>
            </a:r>
            <a:r>
              <a:rPr lang="nl-BE" sz="1050" spc="-3">
                <a:solidFill>
                  <a:srgbClr val="231F20"/>
                </a:solidFill>
                <a:latin typeface="Avenir Next LT Pro"/>
                <a:cs typeface="Chalet-ParisNineteenSixty"/>
              </a:rPr>
              <a:t> </a:t>
            </a:r>
            <a:r>
              <a:rPr lang="nl-BE" sz="1050" spc="-3" err="1">
                <a:solidFill>
                  <a:srgbClr val="231F20"/>
                </a:solidFill>
                <a:latin typeface="Avenir Next LT Pro"/>
                <a:cs typeface="Chalet-ParisNineteenSixty"/>
              </a:rPr>
              <a:t>for</a:t>
            </a:r>
            <a:r>
              <a:rPr lang="nl-BE" sz="1050" spc="-3">
                <a:solidFill>
                  <a:srgbClr val="231F20"/>
                </a:solidFill>
                <a:latin typeface="Avenir Next LT Pro"/>
                <a:cs typeface="Chalet-ParisNineteenSixty"/>
              </a:rPr>
              <a:t> a new platform/idea on </a:t>
            </a:r>
            <a:r>
              <a:rPr lang="nl-BE" sz="1050" spc="-3" err="1">
                <a:solidFill>
                  <a:srgbClr val="231F20"/>
                </a:solidFill>
                <a:latin typeface="Avenir Next LT Pro"/>
                <a:cs typeface="Chalet-ParisNineteenSixty"/>
              </a:rPr>
              <a:t>which</a:t>
            </a:r>
            <a:r>
              <a:rPr lang="nl-BE" sz="1050" spc="-3">
                <a:solidFill>
                  <a:srgbClr val="231F20"/>
                </a:solidFill>
                <a:latin typeface="Avenir Next LT Pro"/>
                <a:cs typeface="Chalet-ParisNineteenSixty"/>
              </a:rPr>
              <a:t> we </a:t>
            </a:r>
            <a:r>
              <a:rPr lang="nl-BE" sz="1050" spc="-3" err="1">
                <a:solidFill>
                  <a:srgbClr val="231F20"/>
                </a:solidFill>
                <a:latin typeface="Avenir Next LT Pro"/>
                <a:cs typeface="Chalet-ParisNineteenSixty"/>
              </a:rPr>
              <a:t>can</a:t>
            </a:r>
            <a:r>
              <a:rPr lang="nl-BE" sz="1050" spc="-3">
                <a:solidFill>
                  <a:srgbClr val="231F20"/>
                </a:solidFill>
                <a:latin typeface="Avenir Next LT Pro"/>
                <a:cs typeface="Chalet-ParisNineteenSixty"/>
              </a:rPr>
              <a:t> </a:t>
            </a:r>
            <a:r>
              <a:rPr lang="nl-BE" sz="1050" spc="-3" err="1">
                <a:solidFill>
                  <a:srgbClr val="231F20"/>
                </a:solidFill>
                <a:latin typeface="Avenir Next LT Pro"/>
                <a:cs typeface="Chalet-ParisNineteenSixty"/>
              </a:rPr>
              <a:t>create</a:t>
            </a:r>
            <a:r>
              <a:rPr lang="nl-BE" sz="1050" spc="-3">
                <a:solidFill>
                  <a:srgbClr val="231F20"/>
                </a:solidFill>
                <a:latin typeface="Avenir Next LT Pro"/>
                <a:cs typeface="Chalet-ParisNineteenSixty"/>
              </a:rPr>
              <a:t> </a:t>
            </a:r>
            <a:r>
              <a:rPr lang="nl-BE" sz="1050" spc="-3" err="1">
                <a:solidFill>
                  <a:srgbClr val="231F20"/>
                </a:solidFill>
                <a:latin typeface="Avenir Next LT Pro"/>
                <a:cs typeface="Chalet-ParisNineteenSixty"/>
              </a:rPr>
              <a:t>and</a:t>
            </a:r>
            <a:r>
              <a:rPr lang="nl-BE" sz="1050" spc="-3">
                <a:solidFill>
                  <a:srgbClr val="231F20"/>
                </a:solidFill>
                <a:latin typeface="Avenir Next LT Pro"/>
                <a:cs typeface="Chalet-ParisNineteenSixty"/>
              </a:rPr>
              <a:t> produce </a:t>
            </a:r>
            <a:r>
              <a:rPr lang="nl-BE" sz="1050" spc="-3" err="1">
                <a:solidFill>
                  <a:srgbClr val="231F20"/>
                </a:solidFill>
                <a:latin typeface="Avenir Next LT Pro"/>
                <a:cs typeface="Chalet-ParisNineteenSixty"/>
              </a:rPr>
              <a:t>great</a:t>
            </a:r>
            <a:r>
              <a:rPr lang="nl-BE" sz="1050" spc="-3">
                <a:solidFill>
                  <a:srgbClr val="231F20"/>
                </a:solidFill>
                <a:latin typeface="Avenir Next LT Pro"/>
                <a:cs typeface="Chalet-ParisNineteenSixty"/>
              </a:rPr>
              <a:t> content.</a:t>
            </a:r>
            <a:endParaRPr lang="nl-BE" sz="1050">
              <a:latin typeface="Avenir Next LT Pro"/>
              <a:cs typeface="Chalet-ParisNineteenSixty"/>
            </a:endParaRPr>
          </a:p>
        </p:txBody>
      </p:sp>
      <p:sp>
        <p:nvSpPr>
          <p:cNvPr id="11" name="object 28">
            <a:extLst>
              <a:ext uri="{FF2B5EF4-FFF2-40B4-BE49-F238E27FC236}">
                <a16:creationId xmlns:a16="http://schemas.microsoft.com/office/drawing/2014/main" id="{4787DB71-EECA-4C4D-90B1-7B684425DBA9}"/>
              </a:ext>
            </a:extLst>
          </p:cNvPr>
          <p:cNvSpPr txBox="1"/>
          <p:nvPr/>
        </p:nvSpPr>
        <p:spPr>
          <a:xfrm>
            <a:off x="4490713" y="3655876"/>
            <a:ext cx="7038099" cy="887219"/>
          </a:xfrm>
          <a:prstGeom prst="rect">
            <a:avLst/>
          </a:prstGeom>
        </p:spPr>
        <p:txBody>
          <a:bodyPr vert="horz" wrap="square" lIns="0" tIns="53139" rIns="0" bIns="0" rtlCol="0" anchor="t">
            <a:spAutoFit/>
          </a:bodyPr>
          <a:lstStyle/>
          <a:p>
            <a:pPr marL="7620">
              <a:spcBef>
                <a:spcPts val="418"/>
              </a:spcBef>
            </a:pPr>
            <a:r>
              <a:rPr lang="nl-BE" sz="1600" b="1" spc="-3">
                <a:solidFill>
                  <a:srgbClr val="231F20"/>
                </a:solidFill>
                <a:latin typeface="Avenir Next LT Pro" panose="020B0504020202020204" pitchFamily="34" charset="77"/>
              </a:rPr>
              <a:t>TIER 2 CAMPAIGNS</a:t>
            </a:r>
            <a:endParaRPr lang="en-US" sz="1600" b="1" spc="-3">
              <a:solidFill>
                <a:srgbClr val="231F20"/>
              </a:solidFill>
              <a:latin typeface="Avenir Next LT Pro" panose="020B0504020202020204" pitchFamily="34" charset="77"/>
            </a:endParaRPr>
          </a:p>
          <a:p>
            <a:pPr marL="7620">
              <a:spcBef>
                <a:spcPts val="418"/>
              </a:spcBef>
            </a:pPr>
            <a:r>
              <a:rPr lang="nl-BE" sz="1050" spc="-3">
                <a:solidFill>
                  <a:srgbClr val="231F20"/>
                </a:solidFill>
                <a:latin typeface="Avenir Next LT Pro" panose="020B0504020202020204" pitchFamily="34" charset="77"/>
              </a:rPr>
              <a:t>Creating new content on an existing ‘concept &amp; content platform’. </a:t>
            </a:r>
            <a:br>
              <a:rPr lang="en-US" sz="1050" spc="-3">
                <a:solidFill>
                  <a:srgbClr val="231F20"/>
                </a:solidFill>
                <a:latin typeface="Avenir Next LT Pro" panose="020B0504020202020204" pitchFamily="34" charset="77"/>
              </a:rPr>
            </a:br>
            <a:r>
              <a:rPr lang="nl-BE" sz="1050" spc="-3">
                <a:solidFill>
                  <a:srgbClr val="231F20"/>
                </a:solidFill>
                <a:latin typeface="Avenir Next LT Pro" panose="020B0504020202020204" pitchFamily="34" charset="77"/>
              </a:rPr>
              <a:t>Or creation of content (without a platform)</a:t>
            </a:r>
          </a:p>
          <a:p>
            <a:pPr marL="7620">
              <a:spcBef>
                <a:spcPts val="418"/>
              </a:spcBef>
            </a:pPr>
            <a:r>
              <a:rPr lang="nl-BE" sz="1050" spc="-3">
                <a:solidFill>
                  <a:srgbClr val="231F20"/>
                </a:solidFill>
                <a:latin typeface="Avenir Next LT Pro" panose="020B0504020202020204" pitchFamily="34" charset="77"/>
              </a:rPr>
              <a:t>In this phase, there is still the need for an ‘idea’..a concept..however small it may be</a:t>
            </a:r>
          </a:p>
        </p:txBody>
      </p:sp>
      <p:sp>
        <p:nvSpPr>
          <p:cNvPr id="12" name="object 28">
            <a:extLst>
              <a:ext uri="{FF2B5EF4-FFF2-40B4-BE49-F238E27FC236}">
                <a16:creationId xmlns:a16="http://schemas.microsoft.com/office/drawing/2014/main" id="{1CB92C5A-4432-7644-8BFA-AE5A9E0913E2}"/>
              </a:ext>
            </a:extLst>
          </p:cNvPr>
          <p:cNvSpPr txBox="1"/>
          <p:nvPr/>
        </p:nvSpPr>
        <p:spPr>
          <a:xfrm>
            <a:off x="6434964" y="5087628"/>
            <a:ext cx="5266943" cy="887219"/>
          </a:xfrm>
          <a:prstGeom prst="rect">
            <a:avLst/>
          </a:prstGeom>
        </p:spPr>
        <p:txBody>
          <a:bodyPr vert="horz" wrap="square" lIns="0" tIns="53139" rIns="0" bIns="0" rtlCol="0">
            <a:spAutoFit/>
          </a:bodyPr>
          <a:lstStyle/>
          <a:p>
            <a:pPr marL="7701">
              <a:spcBef>
                <a:spcPts val="418"/>
              </a:spcBef>
            </a:pPr>
            <a:r>
              <a:rPr lang="nl-BE" sz="1600" b="1" spc="-3">
                <a:solidFill>
                  <a:srgbClr val="231F20"/>
                </a:solidFill>
                <a:latin typeface="Avenir Next LT Pro" panose="020B0504020202020204" pitchFamily="34" charset="77"/>
              </a:rPr>
              <a:t>TIER 3 CAMPAIGNS</a:t>
            </a:r>
          </a:p>
          <a:p>
            <a:pPr marL="7701">
              <a:spcBef>
                <a:spcPts val="418"/>
              </a:spcBef>
            </a:pPr>
            <a:r>
              <a:rPr lang="nl-BE" sz="1050" spc="-3">
                <a:solidFill>
                  <a:srgbClr val="231F20"/>
                </a:solidFill>
                <a:latin typeface="Avenir Next LT Pro" panose="020B0504020202020204" pitchFamily="34" charset="77"/>
              </a:rPr>
              <a:t>Content adaptations or pure executional content</a:t>
            </a:r>
          </a:p>
          <a:p>
            <a:pPr marL="7701">
              <a:spcBef>
                <a:spcPts val="418"/>
              </a:spcBef>
            </a:pPr>
            <a:r>
              <a:rPr lang="nl-BE" sz="1050" spc="-3">
                <a:solidFill>
                  <a:srgbClr val="231F20"/>
                </a:solidFill>
                <a:latin typeface="Avenir Next LT Pro" panose="020B0504020202020204" pitchFamily="34" charset="77"/>
              </a:rPr>
              <a:t>No ideas are asked here, just a great execution or adaptation </a:t>
            </a:r>
            <a:br>
              <a:rPr lang="nl-BE" sz="1050" spc="-3">
                <a:solidFill>
                  <a:srgbClr val="231F20"/>
                </a:solidFill>
                <a:latin typeface="Avenir Next LT Pro" panose="020B0504020202020204" pitchFamily="34" charset="77"/>
              </a:rPr>
            </a:br>
            <a:r>
              <a:rPr lang="nl-BE" sz="1050" spc="-3">
                <a:solidFill>
                  <a:srgbClr val="231F20"/>
                </a:solidFill>
                <a:latin typeface="Avenir Next LT Pro" panose="020B0504020202020204" pitchFamily="34" charset="77"/>
              </a:rPr>
              <a:t>or copy or newsletter etc…</a:t>
            </a:r>
          </a:p>
        </p:txBody>
      </p:sp>
      <p:cxnSp>
        <p:nvCxnSpPr>
          <p:cNvPr id="13" name="Straight Connector 12">
            <a:extLst>
              <a:ext uri="{FF2B5EF4-FFF2-40B4-BE49-F238E27FC236}">
                <a16:creationId xmlns:a16="http://schemas.microsoft.com/office/drawing/2014/main" id="{07310D64-AC29-5441-9F7F-98A4FAF043F3}"/>
              </a:ext>
            </a:extLst>
          </p:cNvPr>
          <p:cNvCxnSpPr>
            <a:cxnSpLocks/>
          </p:cNvCxnSpPr>
          <p:nvPr/>
        </p:nvCxnSpPr>
        <p:spPr>
          <a:xfrm>
            <a:off x="538079" y="1653613"/>
            <a:ext cx="0" cy="1739541"/>
          </a:xfrm>
          <a:prstGeom prst="line">
            <a:avLst/>
          </a:prstGeom>
          <a:ln>
            <a:solidFill>
              <a:srgbClr val="D5C5A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C0DD24-B1EA-B44A-BF03-62A3EF00C152}"/>
              </a:ext>
            </a:extLst>
          </p:cNvPr>
          <p:cNvCxnSpPr>
            <a:cxnSpLocks/>
          </p:cNvCxnSpPr>
          <p:nvPr/>
        </p:nvCxnSpPr>
        <p:spPr>
          <a:xfrm>
            <a:off x="4094826" y="3393154"/>
            <a:ext cx="0" cy="1461235"/>
          </a:xfrm>
          <a:prstGeom prst="line">
            <a:avLst/>
          </a:prstGeom>
          <a:ln>
            <a:solidFill>
              <a:srgbClr val="D5C5A3"/>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36380A0-EBE3-5748-A8C2-90E0A66DEFDB}"/>
              </a:ext>
            </a:extLst>
          </p:cNvPr>
          <p:cNvCxnSpPr>
            <a:cxnSpLocks/>
          </p:cNvCxnSpPr>
          <p:nvPr/>
        </p:nvCxnSpPr>
        <p:spPr>
          <a:xfrm>
            <a:off x="6064820" y="4854389"/>
            <a:ext cx="0" cy="1423156"/>
          </a:xfrm>
          <a:prstGeom prst="line">
            <a:avLst/>
          </a:prstGeom>
          <a:ln>
            <a:solidFill>
              <a:srgbClr val="D5C5A3"/>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99B2A2D-0289-8F4E-87FD-98DCA9FDF0F4}"/>
              </a:ext>
            </a:extLst>
          </p:cNvPr>
          <p:cNvCxnSpPr/>
          <p:nvPr/>
        </p:nvCxnSpPr>
        <p:spPr>
          <a:xfrm>
            <a:off x="538079" y="3393154"/>
            <a:ext cx="10942313" cy="0"/>
          </a:xfrm>
          <a:prstGeom prst="line">
            <a:avLst/>
          </a:prstGeom>
          <a:ln w="12700">
            <a:solidFill>
              <a:srgbClr val="D5C5A3"/>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AD5DBCF-8967-B14B-828B-53FED6202F76}"/>
              </a:ext>
            </a:extLst>
          </p:cNvPr>
          <p:cNvCxnSpPr>
            <a:cxnSpLocks/>
          </p:cNvCxnSpPr>
          <p:nvPr/>
        </p:nvCxnSpPr>
        <p:spPr>
          <a:xfrm>
            <a:off x="4094826" y="4858887"/>
            <a:ext cx="7385566" cy="0"/>
          </a:xfrm>
          <a:prstGeom prst="line">
            <a:avLst/>
          </a:prstGeom>
          <a:ln w="12700">
            <a:solidFill>
              <a:srgbClr val="D5C5A3"/>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AEC47C2-F466-2E44-BA3A-C8D8C15378D7}"/>
              </a:ext>
            </a:extLst>
          </p:cNvPr>
          <p:cNvCxnSpPr>
            <a:cxnSpLocks/>
          </p:cNvCxnSpPr>
          <p:nvPr/>
        </p:nvCxnSpPr>
        <p:spPr>
          <a:xfrm flipV="1">
            <a:off x="6064820" y="6270826"/>
            <a:ext cx="5415572" cy="6719"/>
          </a:xfrm>
          <a:prstGeom prst="line">
            <a:avLst/>
          </a:prstGeom>
          <a:ln w="12700">
            <a:solidFill>
              <a:srgbClr val="D5C5A3"/>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E14B8B9D-52BA-A74A-AD40-49C2C6881979}"/>
              </a:ext>
            </a:extLst>
          </p:cNvPr>
          <p:cNvPicPr>
            <a:picLocks noChangeAspect="1"/>
          </p:cNvPicPr>
          <p:nvPr/>
        </p:nvPicPr>
        <p:blipFill>
          <a:blip r:embed="rId3"/>
          <a:stretch>
            <a:fillRect/>
          </a:stretch>
        </p:blipFill>
        <p:spPr>
          <a:xfrm rot="11455013">
            <a:off x="11413028" y="3335371"/>
            <a:ext cx="134727" cy="143147"/>
          </a:xfrm>
          <a:prstGeom prst="rect">
            <a:avLst/>
          </a:prstGeom>
        </p:spPr>
      </p:pic>
      <p:pic>
        <p:nvPicPr>
          <p:cNvPr id="36" name="Picture 35">
            <a:extLst>
              <a:ext uri="{FF2B5EF4-FFF2-40B4-BE49-F238E27FC236}">
                <a16:creationId xmlns:a16="http://schemas.microsoft.com/office/drawing/2014/main" id="{371DFBCC-2B09-6E49-B669-4D4AC3522A95}"/>
              </a:ext>
            </a:extLst>
          </p:cNvPr>
          <p:cNvPicPr>
            <a:picLocks noChangeAspect="1"/>
          </p:cNvPicPr>
          <p:nvPr/>
        </p:nvPicPr>
        <p:blipFill>
          <a:blip r:embed="rId3"/>
          <a:stretch>
            <a:fillRect/>
          </a:stretch>
        </p:blipFill>
        <p:spPr>
          <a:xfrm rot="11455013">
            <a:off x="11412474" y="4804561"/>
            <a:ext cx="134727" cy="143147"/>
          </a:xfrm>
          <a:prstGeom prst="rect">
            <a:avLst/>
          </a:prstGeom>
        </p:spPr>
      </p:pic>
      <p:pic>
        <p:nvPicPr>
          <p:cNvPr id="37" name="Picture 36">
            <a:extLst>
              <a:ext uri="{FF2B5EF4-FFF2-40B4-BE49-F238E27FC236}">
                <a16:creationId xmlns:a16="http://schemas.microsoft.com/office/drawing/2014/main" id="{49D3B9DD-733E-1A4B-AF99-495F0752657C}"/>
              </a:ext>
            </a:extLst>
          </p:cNvPr>
          <p:cNvPicPr>
            <a:picLocks noChangeAspect="1"/>
          </p:cNvPicPr>
          <p:nvPr/>
        </p:nvPicPr>
        <p:blipFill>
          <a:blip r:embed="rId3"/>
          <a:stretch>
            <a:fillRect/>
          </a:stretch>
        </p:blipFill>
        <p:spPr>
          <a:xfrm rot="11455013">
            <a:off x="11350833" y="6208059"/>
            <a:ext cx="134727" cy="143147"/>
          </a:xfrm>
          <a:prstGeom prst="rect">
            <a:avLst/>
          </a:prstGeom>
        </p:spPr>
      </p:pic>
      <p:sp>
        <p:nvSpPr>
          <p:cNvPr id="18" name="Text Placeholder 3">
            <a:extLst>
              <a:ext uri="{FF2B5EF4-FFF2-40B4-BE49-F238E27FC236}">
                <a16:creationId xmlns:a16="http://schemas.microsoft.com/office/drawing/2014/main" id="{AC4A60A5-B907-2B0B-137B-F18501B155BF}"/>
              </a:ext>
            </a:extLst>
          </p:cNvPr>
          <p:cNvSpPr txBox="1">
            <a:spLocks/>
          </p:cNvSpPr>
          <p:nvPr/>
        </p:nvSpPr>
        <p:spPr>
          <a:xfrm>
            <a:off x="437390" y="300101"/>
            <a:ext cx="5363564" cy="228026"/>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spcAft>
                <a:spcPts val="0"/>
              </a:spcAft>
              <a:buClrTx/>
              <a:buSzTx/>
              <a:tabLst/>
              <a:defRPr/>
            </a:pPr>
            <a:r>
              <a:rPr lang="en-GB">
                <a:solidFill>
                  <a:srgbClr val="7B818B"/>
                </a:solidFill>
                <a:latin typeface="AvenirNext LT Pro Bold" panose="020B0504020202020204" pitchFamily="34" charset="77"/>
              </a:rPr>
              <a:t>DE WOW</a:t>
            </a:r>
          </a:p>
        </p:txBody>
      </p:sp>
      <p:cxnSp>
        <p:nvCxnSpPr>
          <p:cNvPr id="19" name="Straight Connector 5">
            <a:extLst>
              <a:ext uri="{FF2B5EF4-FFF2-40B4-BE49-F238E27FC236}">
                <a16:creationId xmlns:a16="http://schemas.microsoft.com/office/drawing/2014/main" id="{AEA0EFB3-5386-1D4D-2DF3-7A74402BBCD6}"/>
              </a:ext>
            </a:extLst>
          </p:cNvPr>
          <p:cNvCxnSpPr>
            <a:cxnSpLocks/>
          </p:cNvCxnSpPr>
          <p:nvPr/>
        </p:nvCxnSpPr>
        <p:spPr>
          <a:xfrm>
            <a:off x="437390" y="546308"/>
            <a:ext cx="1058901" cy="0"/>
          </a:xfrm>
          <a:prstGeom prst="line">
            <a:avLst/>
          </a:prstGeom>
          <a:noFill/>
          <a:ln w="12700" cap="flat" cmpd="sng" algn="ctr">
            <a:solidFill>
              <a:srgbClr val="DCCF7F"/>
            </a:solidFill>
            <a:prstDash val="solid"/>
            <a:miter lim="800000"/>
          </a:ln>
          <a:effectLst/>
        </p:spPr>
      </p:cxnSp>
    </p:spTree>
    <p:extLst>
      <p:ext uri="{BB962C8B-B14F-4D97-AF65-F5344CB8AC3E}">
        <p14:creationId xmlns:p14="http://schemas.microsoft.com/office/powerpoint/2010/main" val="4960154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1857CC-8308-35E4-EC18-283067344D4E}"/>
              </a:ext>
            </a:extLst>
          </p:cNvPr>
          <p:cNvSpPr>
            <a:spLocks noGrp="1"/>
          </p:cNvSpPr>
          <p:nvPr>
            <p:ph type="body" sz="quarter" idx="11"/>
          </p:nvPr>
        </p:nvSpPr>
        <p:spPr>
          <a:xfrm>
            <a:off x="1705510" y="0"/>
            <a:ext cx="8780980" cy="6858000"/>
          </a:xfrm>
        </p:spPr>
        <p:txBody>
          <a:bodyPr lIns="91440" tIns="45720" rIns="91440" bIns="45720" anchor="ctr">
            <a:noAutofit/>
          </a:bodyPr>
          <a:lstStyle/>
          <a:p>
            <a:r>
              <a:rPr lang="en-GB" sz="50000" b="1" i="1">
                <a:gradFill>
                  <a:gsLst>
                    <a:gs pos="100000">
                      <a:srgbClr val="B89B57"/>
                    </a:gs>
                    <a:gs pos="0">
                      <a:srgbClr val="B89B57"/>
                    </a:gs>
                    <a:gs pos="50000">
                      <a:srgbClr val="DCD081"/>
                    </a:gs>
                  </a:gsLst>
                  <a:lin ang="2700000" scaled="1"/>
                </a:gradFill>
                <a:latin typeface="Bodoni MT Black" panose="02070603080606020203" pitchFamily="18" charset="77"/>
              </a:rPr>
              <a:t>1</a:t>
            </a:r>
          </a:p>
        </p:txBody>
      </p:sp>
      <p:sp>
        <p:nvSpPr>
          <p:cNvPr id="3" name="Text Placeholder 2">
            <a:extLst>
              <a:ext uri="{FF2B5EF4-FFF2-40B4-BE49-F238E27FC236}">
                <a16:creationId xmlns:a16="http://schemas.microsoft.com/office/drawing/2014/main" id="{479BF544-110C-B2FE-EBA6-0D2BC1E5F373}"/>
              </a:ext>
            </a:extLst>
          </p:cNvPr>
          <p:cNvSpPr>
            <a:spLocks noGrp="1"/>
          </p:cNvSpPr>
          <p:nvPr>
            <p:ph type="body" sz="quarter" idx="18"/>
          </p:nvPr>
        </p:nvSpPr>
        <p:spPr>
          <a:xfrm>
            <a:off x="914852" y="2311121"/>
            <a:ext cx="10362296" cy="2021401"/>
          </a:xfrm>
        </p:spPr>
        <p:txBody>
          <a:bodyPr lIns="91440" tIns="45720" rIns="91440" bIns="45720" anchor="ctr"/>
          <a:lstStyle/>
          <a:p>
            <a:pPr>
              <a:lnSpc>
                <a:spcPts val="5000"/>
              </a:lnSpc>
            </a:pPr>
            <a:r>
              <a:rPr lang="en-GB">
                <a:latin typeface="Avenir Next LT Pro" panose="020B0504020202020204" pitchFamily="34" charset="77"/>
              </a:rPr>
              <a:t>Team bios &amp; </a:t>
            </a:r>
          </a:p>
          <a:p>
            <a:pPr>
              <a:lnSpc>
                <a:spcPts val="5000"/>
              </a:lnSpc>
            </a:pPr>
            <a:r>
              <a:rPr lang="en-GB" err="1">
                <a:latin typeface="Avenir Next LT Pro" panose="020B0504020202020204" pitchFamily="34" charset="77"/>
              </a:rPr>
              <a:t>relevante</a:t>
            </a:r>
            <a:r>
              <a:rPr lang="en-GB">
                <a:latin typeface="Avenir Next LT Pro" panose="020B0504020202020204" pitchFamily="34" charset="77"/>
              </a:rPr>
              <a:t> </a:t>
            </a:r>
            <a:r>
              <a:rPr lang="en-GB" err="1">
                <a:latin typeface="Avenir Next LT Pro" panose="020B0504020202020204" pitchFamily="34" charset="77"/>
              </a:rPr>
              <a:t>ervaring</a:t>
            </a:r>
            <a:endParaRPr lang="en-GB">
              <a:latin typeface="Avenir Next LT Pro" panose="020B0504020202020204" pitchFamily="34" charset="77"/>
            </a:endParaRPr>
          </a:p>
        </p:txBody>
      </p:sp>
    </p:spTree>
    <p:extLst>
      <p:ext uri="{BB962C8B-B14F-4D97-AF65-F5344CB8AC3E}">
        <p14:creationId xmlns:p14="http://schemas.microsoft.com/office/powerpoint/2010/main" val="19790951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06A0D3E-F0CD-B0D5-5DC5-FFA8E38B370B}"/>
              </a:ext>
            </a:extLst>
          </p:cNvPr>
          <p:cNvSpPr>
            <a:spLocks noGrp="1"/>
          </p:cNvSpPr>
          <p:nvPr>
            <p:ph type="body" sz="quarter" idx="11"/>
          </p:nvPr>
        </p:nvSpPr>
        <p:spPr>
          <a:xfrm>
            <a:off x="3793896" y="427145"/>
            <a:ext cx="5886552" cy="654844"/>
          </a:xfrm>
        </p:spPr>
        <p:txBody>
          <a:bodyPr lIns="91440" tIns="45720" rIns="91440" bIns="45720" anchor="t"/>
          <a:lstStyle/>
          <a:p>
            <a:r>
              <a:rPr lang="en-GB">
                <a:latin typeface="AvenirNext LT Pro Bold"/>
                <a:cs typeface="Arial"/>
              </a:rPr>
              <a:t>Meet </a:t>
            </a:r>
            <a:r>
              <a:rPr lang="en-GB" sz="4800" b="0" err="1">
                <a:gradFill>
                  <a:gsLst>
                    <a:gs pos="100000">
                      <a:srgbClr val="B79E60"/>
                    </a:gs>
                    <a:gs pos="0">
                      <a:srgbClr val="B79E60"/>
                    </a:gs>
                    <a:gs pos="54000">
                      <a:srgbClr val="DFCF84"/>
                    </a:gs>
                  </a:gsLst>
                  <a:lin ang="2700000" scaled="0"/>
                </a:gradFill>
                <a:latin typeface="Bodoni MT"/>
                <a:cs typeface="Arial"/>
              </a:rPr>
              <a:t>Daan</a:t>
            </a:r>
            <a:r>
              <a:rPr lang="en-GB" sz="4800" b="0">
                <a:gradFill>
                  <a:gsLst>
                    <a:gs pos="100000">
                      <a:srgbClr val="B79E60"/>
                    </a:gs>
                    <a:gs pos="0">
                      <a:srgbClr val="B79E60"/>
                    </a:gs>
                    <a:gs pos="54000">
                      <a:srgbClr val="DFCF84"/>
                    </a:gs>
                  </a:gsLst>
                  <a:lin ang="2700000" scaled="0"/>
                </a:gradFill>
                <a:latin typeface="Bodoni MT"/>
                <a:cs typeface="Arial"/>
              </a:rPr>
              <a:t> de </a:t>
            </a:r>
            <a:r>
              <a:rPr lang="en-GB" sz="4800" b="0" err="1">
                <a:gradFill>
                  <a:gsLst>
                    <a:gs pos="100000">
                      <a:srgbClr val="B79E60"/>
                    </a:gs>
                    <a:gs pos="0">
                      <a:srgbClr val="B79E60"/>
                    </a:gs>
                    <a:gs pos="54000">
                      <a:srgbClr val="DFCF84"/>
                    </a:gs>
                  </a:gsLst>
                  <a:lin ang="2700000" scaled="0"/>
                </a:gradFill>
                <a:latin typeface="Bodoni MT"/>
                <a:cs typeface="Arial"/>
              </a:rPr>
              <a:t>Raaf</a:t>
            </a:r>
            <a:endParaRPr lang="en-GB" sz="4800" b="0">
              <a:gradFill>
                <a:gsLst>
                  <a:gs pos="100000">
                    <a:srgbClr val="B79E60"/>
                  </a:gs>
                  <a:gs pos="0">
                    <a:srgbClr val="B79E60"/>
                  </a:gs>
                  <a:gs pos="54000">
                    <a:srgbClr val="DFCF84"/>
                  </a:gs>
                </a:gsLst>
                <a:lin ang="2700000" scaled="0"/>
              </a:gradFill>
              <a:latin typeface="Bodoni MT"/>
              <a:cs typeface="Arial"/>
            </a:endParaRPr>
          </a:p>
        </p:txBody>
      </p:sp>
      <p:sp>
        <p:nvSpPr>
          <p:cNvPr id="4" name="Text Placeholder 3">
            <a:extLst>
              <a:ext uri="{FF2B5EF4-FFF2-40B4-BE49-F238E27FC236}">
                <a16:creationId xmlns:a16="http://schemas.microsoft.com/office/drawing/2014/main" id="{08CC71B1-EF61-5341-080B-8119A61CA33E}"/>
              </a:ext>
            </a:extLst>
          </p:cNvPr>
          <p:cNvSpPr>
            <a:spLocks noGrp="1"/>
          </p:cNvSpPr>
          <p:nvPr>
            <p:ph type="body" sz="quarter" idx="12"/>
          </p:nvPr>
        </p:nvSpPr>
        <p:spPr>
          <a:xfrm>
            <a:off x="3793897" y="1013150"/>
            <a:ext cx="7556523" cy="475343"/>
          </a:xfrm>
        </p:spPr>
        <p:txBody>
          <a:bodyPr/>
          <a:lstStyle/>
          <a:p>
            <a:r>
              <a:rPr lang="en-GB">
                <a:latin typeface="Avenir Next LT Pro" panose="020B0504020202020204" pitchFamily="34" charset="77"/>
              </a:rPr>
              <a:t>Strategy Partner &amp; Co-Founder</a:t>
            </a:r>
          </a:p>
        </p:txBody>
      </p:sp>
      <p:sp>
        <p:nvSpPr>
          <p:cNvPr id="5" name="TextBox 4">
            <a:extLst>
              <a:ext uri="{FF2B5EF4-FFF2-40B4-BE49-F238E27FC236}">
                <a16:creationId xmlns:a16="http://schemas.microsoft.com/office/drawing/2014/main" id="{23296222-F7A6-B066-453A-02B3501EA073}"/>
              </a:ext>
            </a:extLst>
          </p:cNvPr>
          <p:cNvSpPr txBox="1"/>
          <p:nvPr/>
        </p:nvSpPr>
        <p:spPr>
          <a:xfrm>
            <a:off x="3777187" y="1485813"/>
            <a:ext cx="8072943" cy="769441"/>
          </a:xfrm>
          <a:prstGeom prst="rect">
            <a:avLst/>
          </a:prstGeom>
          <a:noFill/>
        </p:spPr>
        <p:txBody>
          <a:bodyPr wrap="square" lIns="91440" tIns="45720" rIns="91440" bIns="45720" anchor="t">
            <a:spAutoFit/>
          </a:bodyPr>
          <a:lstStyle/>
          <a:p>
            <a:pPr marL="0" indent="0" defTabSz="1828709">
              <a:lnSpc>
                <a:spcPct val="100000"/>
              </a:lnSpc>
              <a:spcBef>
                <a:spcPts val="0"/>
              </a:spcBef>
              <a:buClr>
                <a:srgbClr val="FFFFFF"/>
              </a:buClr>
              <a:buNone/>
              <a:tabLst>
                <a:tab pos="88107" algn="l"/>
                <a:tab pos="172244" algn="l"/>
              </a:tabLst>
              <a:defRPr/>
            </a:pPr>
            <a:r>
              <a:rPr lang="en-GB" sz="1100" err="1">
                <a:solidFill>
                  <a:schemeClr val="tx1">
                    <a:lumMod val="95000"/>
                    <a:lumOff val="5000"/>
                  </a:schemeClr>
                </a:solidFill>
                <a:latin typeface="Avenir Next LT Pro" panose="020B0504020202020204" pitchFamily="34" charset="77"/>
                <a:cs typeface="Arial" panose="020B0604020202020204" pitchFamily="34" charset="0"/>
                <a:sym typeface="Avenir Next Regular"/>
              </a:rPr>
              <a:t>Daan</a:t>
            </a:r>
            <a:r>
              <a:rPr lang="en-GB" sz="1100">
                <a:solidFill>
                  <a:schemeClr val="tx1">
                    <a:lumMod val="95000"/>
                    <a:lumOff val="5000"/>
                  </a:schemeClr>
                </a:solidFill>
                <a:latin typeface="Avenir Next LT Pro" panose="020B0504020202020204" pitchFamily="34" charset="77"/>
                <a:cs typeface="Arial" panose="020B0604020202020204" pitchFamily="34" charset="0"/>
                <a:sym typeface="Avenir Next Regular"/>
              </a:rPr>
              <a:t> has a history of being the odd one out in the organizations he worked for, but never out of place. He was a very commercial person among scientists, a communications professional among management consultants and the brand &amp; business consultant in a creative communications agency. He combines rigor and imagination. He loves to cook, is a </a:t>
            </a:r>
            <a:r>
              <a:rPr lang="en-GB" sz="1100" err="1">
                <a:solidFill>
                  <a:schemeClr val="tx1">
                    <a:lumMod val="95000"/>
                    <a:lumOff val="5000"/>
                  </a:schemeClr>
                </a:solidFill>
                <a:latin typeface="Avenir Next LT Pro" panose="020B0504020202020204" pitchFamily="34" charset="77"/>
                <a:cs typeface="Arial" panose="020B0604020202020204" pitchFamily="34" charset="0"/>
                <a:sym typeface="Avenir Next Regular"/>
              </a:rPr>
              <a:t>padel</a:t>
            </a:r>
            <a:r>
              <a:rPr lang="en-GB" sz="1100">
                <a:solidFill>
                  <a:schemeClr val="tx1">
                    <a:lumMod val="95000"/>
                    <a:lumOff val="5000"/>
                  </a:schemeClr>
                </a:solidFill>
                <a:latin typeface="Avenir Next LT Pro" panose="020B0504020202020204" pitchFamily="34" charset="77"/>
                <a:cs typeface="Arial" panose="020B0604020202020204" pitchFamily="34" charset="0"/>
                <a:sym typeface="Avenir Next Regular"/>
              </a:rPr>
              <a:t> aficionado and boss to Bobbie the office dog. </a:t>
            </a:r>
          </a:p>
        </p:txBody>
      </p:sp>
      <p:sp>
        <p:nvSpPr>
          <p:cNvPr id="2" name="Happiness Amsterdam…">
            <a:extLst>
              <a:ext uri="{FF2B5EF4-FFF2-40B4-BE49-F238E27FC236}">
                <a16:creationId xmlns:a16="http://schemas.microsoft.com/office/drawing/2014/main" id="{AE544F9B-EB11-C09E-7F66-5ACA37E5FEF8}"/>
              </a:ext>
            </a:extLst>
          </p:cNvPr>
          <p:cNvSpPr txBox="1"/>
          <p:nvPr/>
        </p:nvSpPr>
        <p:spPr>
          <a:xfrm>
            <a:off x="4079519" y="3061447"/>
            <a:ext cx="3565949" cy="141020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numCol="1" anchor="t">
            <a:spAutoFit/>
          </a:bodyPr>
          <a:lstStyle/>
          <a:p>
            <a:pPr>
              <a:defRPr sz="1600" b="1">
                <a:latin typeface="Avenir Next Regular"/>
                <a:ea typeface="Avenir Next Regular"/>
                <a:cs typeface="Avenir Next Regular"/>
                <a:sym typeface="Avenir Next Regular"/>
              </a:defRPr>
            </a:pPr>
            <a:r>
              <a:rPr sz="1100">
                <a:latin typeface="Avenir Next LT Pro" panose="020B0504020202020204" pitchFamily="34" charset="77"/>
              </a:rPr>
              <a:t>Happiness Amsterdam</a:t>
            </a:r>
          </a:p>
          <a:p>
            <a:pPr>
              <a:defRPr sz="1600">
                <a:latin typeface="Avenir Next Regular"/>
                <a:ea typeface="Avenir Next Regular"/>
                <a:cs typeface="Avenir Next Regular"/>
                <a:sym typeface="Avenir Next Regular"/>
              </a:defRPr>
            </a:pPr>
            <a:r>
              <a:rPr lang="nl-NL" sz="1100" err="1">
                <a:latin typeface="Avenir Next LT Pro" panose="020B0504020202020204" pitchFamily="34" charset="77"/>
              </a:rPr>
              <a:t>Strategy</a:t>
            </a:r>
            <a:r>
              <a:rPr lang="nl-NL" sz="1100">
                <a:latin typeface="Avenir Next LT Pro" panose="020B0504020202020204" pitchFamily="34" charset="77"/>
              </a:rPr>
              <a:t> Partner &amp; Co-</a:t>
            </a:r>
            <a:r>
              <a:rPr lang="nl-NL" sz="1100" err="1">
                <a:latin typeface="Avenir Next LT Pro" panose="020B0504020202020204" pitchFamily="34" charset="77"/>
              </a:rPr>
              <a:t>Founder</a:t>
            </a:r>
            <a:r>
              <a:rPr lang="nl-NL" sz="1100">
                <a:latin typeface="Avenir Next LT Pro" panose="020B0504020202020204" pitchFamily="34" charset="77"/>
              </a:rPr>
              <a:t> </a:t>
            </a:r>
            <a:r>
              <a:rPr sz="1100">
                <a:latin typeface="Avenir Next LT Pro" panose="020B0504020202020204" pitchFamily="34" charset="77"/>
              </a:rPr>
              <a:t>/ Jan 2023 - present</a:t>
            </a:r>
          </a:p>
          <a:p>
            <a:pPr>
              <a:defRPr sz="1600">
                <a:latin typeface="Avenir Next Regular"/>
                <a:ea typeface="Avenir Next Regular"/>
                <a:cs typeface="Avenir Next Regular"/>
                <a:sym typeface="Avenir Next Regular"/>
              </a:defRPr>
            </a:pPr>
            <a:endParaRPr lang="nl-NL" sz="1100">
              <a:latin typeface="Avenir Next LT Pro" panose="020B0504020202020204" pitchFamily="34" charset="77"/>
            </a:endParaRPr>
          </a:p>
          <a:p>
            <a:pPr>
              <a:defRPr sz="1600" b="1">
                <a:latin typeface="Avenir Next Regular"/>
                <a:ea typeface="Avenir Next Regular"/>
                <a:cs typeface="Avenir Next Regular"/>
                <a:sym typeface="Avenir Next Regular"/>
              </a:defRPr>
            </a:pPr>
            <a:r>
              <a:rPr lang="nl-NL" sz="1100">
                <a:latin typeface="Avenir Next LT Pro" panose="020B0504020202020204" pitchFamily="34" charset="77"/>
              </a:rPr>
              <a:t>Erasmus University Rotterdam</a:t>
            </a:r>
          </a:p>
          <a:p>
            <a:pPr>
              <a:defRPr sz="1600">
                <a:latin typeface="Avenir Next Regular"/>
                <a:ea typeface="Avenir Next Regular"/>
                <a:cs typeface="Avenir Next Regular"/>
                <a:sym typeface="Avenir Next Regular"/>
              </a:defRPr>
            </a:pPr>
            <a:r>
              <a:rPr lang="nl-NL" sz="1100">
                <a:latin typeface="Avenir Next LT Pro" panose="020B0504020202020204" pitchFamily="34" charset="77"/>
              </a:rPr>
              <a:t>Assistant Professor Marketing / 2000 - present</a:t>
            </a:r>
            <a:endParaRPr lang="en-NL" sz="1100">
              <a:latin typeface="Avenir Next LT Pro" panose="020B0504020202020204" pitchFamily="34" charset="77"/>
            </a:endParaRPr>
          </a:p>
          <a:p>
            <a:pPr>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defRPr sz="1600" b="1">
                <a:latin typeface="Avenir Next Regular"/>
                <a:ea typeface="Avenir Next Regular"/>
                <a:cs typeface="Avenir Next Regular"/>
                <a:sym typeface="Avenir Next Regular"/>
              </a:defRPr>
            </a:pPr>
            <a:r>
              <a:rPr lang="nl-NL" sz="1100" err="1">
                <a:latin typeface="Avenir Next LT Pro" panose="020B0504020202020204" pitchFamily="34" charset="77"/>
              </a:rPr>
              <a:t>Dare</a:t>
            </a:r>
            <a:r>
              <a:rPr lang="nl-NL" sz="1100">
                <a:latin typeface="Avenir Next LT Pro" panose="020B0504020202020204" pitchFamily="34" charset="77"/>
              </a:rPr>
              <a:t>! </a:t>
            </a:r>
            <a:r>
              <a:rPr lang="nl-NL" sz="1100" err="1">
                <a:latin typeface="Avenir Next LT Pro" panose="020B0504020202020204" pitchFamily="34" charset="77"/>
              </a:rPr>
              <a:t>Strategy</a:t>
            </a:r>
            <a:endParaRPr sz="1100">
              <a:latin typeface="Avenir Next LT Pro" panose="020B0504020202020204" pitchFamily="34" charset="77"/>
            </a:endParaRPr>
          </a:p>
          <a:p>
            <a:pPr>
              <a:defRPr sz="1600">
                <a:latin typeface="Avenir Next Regular"/>
                <a:ea typeface="Avenir Next Regular"/>
                <a:cs typeface="Avenir Next Regular"/>
                <a:sym typeface="Avenir Next Regular"/>
              </a:defRPr>
            </a:pPr>
            <a:r>
              <a:rPr lang="nl-NL" sz="1100" err="1">
                <a:latin typeface="Avenir Next LT Pro" panose="020B0504020202020204" pitchFamily="34" charset="77"/>
              </a:rPr>
              <a:t>Owner</a:t>
            </a:r>
            <a:r>
              <a:rPr lang="nl-NL" sz="1100">
                <a:latin typeface="Avenir Next LT Pro" panose="020B0504020202020204" pitchFamily="34" charset="77"/>
              </a:rPr>
              <a:t> </a:t>
            </a:r>
            <a:r>
              <a:rPr sz="1100">
                <a:latin typeface="Avenir Next LT Pro" panose="020B0504020202020204" pitchFamily="34" charset="77"/>
              </a:rPr>
              <a:t>/ 201</a:t>
            </a:r>
            <a:r>
              <a:rPr lang="nl-NL" sz="1100">
                <a:latin typeface="Avenir Next LT Pro" panose="020B0504020202020204" pitchFamily="34" charset="77"/>
              </a:rPr>
              <a:t>4</a:t>
            </a:r>
            <a:r>
              <a:rPr sz="1100">
                <a:latin typeface="Avenir Next LT Pro" panose="020B0504020202020204" pitchFamily="34" charset="77"/>
              </a:rPr>
              <a:t> - 202</a:t>
            </a:r>
            <a:r>
              <a:rPr lang="nl-NL" sz="1100">
                <a:latin typeface="Avenir Next LT Pro" panose="020B0504020202020204" pitchFamily="34" charset="77"/>
              </a:rPr>
              <a:t>3</a:t>
            </a:r>
            <a:endParaRPr sz="1100">
              <a:latin typeface="Avenir Next LT Pro" panose="020B0504020202020204" pitchFamily="34" charset="77"/>
            </a:endParaRPr>
          </a:p>
        </p:txBody>
      </p:sp>
      <p:sp>
        <p:nvSpPr>
          <p:cNvPr id="7" name="DDB Amsterdam…">
            <a:extLst>
              <a:ext uri="{FF2B5EF4-FFF2-40B4-BE49-F238E27FC236}">
                <a16:creationId xmlns:a16="http://schemas.microsoft.com/office/drawing/2014/main" id="{B8EB4B87-A029-990C-98E3-FA0736AB8EC7}"/>
              </a:ext>
            </a:extLst>
          </p:cNvPr>
          <p:cNvSpPr txBox="1"/>
          <p:nvPr/>
        </p:nvSpPr>
        <p:spPr>
          <a:xfrm>
            <a:off x="7628666" y="3058329"/>
            <a:ext cx="3797004" cy="141020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numCol="1" anchor="t">
            <a:spAutoFit/>
          </a:bodyPr>
          <a:lstStyle/>
          <a:p>
            <a:pPr>
              <a:defRPr sz="1600" b="1">
                <a:latin typeface="Avenir Next Regular"/>
                <a:ea typeface="Avenir Next Regular"/>
                <a:cs typeface="Avenir Next Regular"/>
                <a:sym typeface="Avenir Next Regular"/>
              </a:defRPr>
            </a:pPr>
            <a:r>
              <a:rPr lang="nl-NL" sz="1100">
                <a:latin typeface="Avenir Next LT Pro" panose="020B0504020202020204" pitchFamily="34" charset="77"/>
              </a:rPr>
              <a:t>JWT Amsterdam</a:t>
            </a:r>
          </a:p>
          <a:p>
            <a:pPr>
              <a:defRPr sz="1600">
                <a:latin typeface="Avenir Next Regular"/>
                <a:ea typeface="Avenir Next Regular"/>
                <a:cs typeface="Avenir Next Regular"/>
                <a:sym typeface="Avenir Next Regular"/>
              </a:defRPr>
            </a:pPr>
            <a:r>
              <a:rPr lang="nl-NL" sz="1100">
                <a:latin typeface="Avenir Next LT Pro" panose="020B0504020202020204" pitchFamily="34" charset="77"/>
              </a:rPr>
              <a:t>Executive </a:t>
            </a:r>
            <a:r>
              <a:rPr lang="nl-NL" sz="1100" err="1">
                <a:latin typeface="Avenir Next LT Pro" panose="020B0504020202020204" pitchFamily="34" charset="77"/>
              </a:rPr>
              <a:t>Strategy</a:t>
            </a:r>
            <a:r>
              <a:rPr lang="nl-NL" sz="1100">
                <a:latin typeface="Avenir Next LT Pro" panose="020B0504020202020204" pitchFamily="34" charset="77"/>
              </a:rPr>
              <a:t> Director / 2015 – 2018</a:t>
            </a:r>
          </a:p>
          <a:p>
            <a:pPr>
              <a:defRPr sz="1600" b="1">
                <a:latin typeface="Avenir Next Regular"/>
                <a:ea typeface="Avenir Next Regular"/>
                <a:cs typeface="Avenir Next Regular"/>
                <a:sym typeface="Avenir Next Regular"/>
              </a:defRPr>
            </a:pPr>
            <a:endParaRPr lang="nl-NL" sz="1100">
              <a:latin typeface="Avenir Next LT Pro" panose="020B0504020202020204" pitchFamily="34" charset="77"/>
            </a:endParaRPr>
          </a:p>
          <a:p>
            <a:pPr>
              <a:defRPr sz="1600" b="1">
                <a:latin typeface="Avenir Next Regular"/>
                <a:ea typeface="Avenir Next Regular"/>
                <a:cs typeface="Avenir Next Regular"/>
                <a:sym typeface="Avenir Next Regular"/>
              </a:defRPr>
            </a:pPr>
            <a:r>
              <a:rPr sz="1100">
                <a:latin typeface="Avenir Next LT Pro" panose="020B0504020202020204" pitchFamily="34" charset="77"/>
              </a:rPr>
              <a:t>DDB </a:t>
            </a:r>
            <a:r>
              <a:rPr lang="nl-NL" sz="1100">
                <a:latin typeface="Avenir Next LT Pro" panose="020B0504020202020204" pitchFamily="34" charset="77"/>
              </a:rPr>
              <a:t>&amp; </a:t>
            </a:r>
            <a:r>
              <a:rPr lang="nl-NL" sz="1100" err="1">
                <a:latin typeface="Avenir Next LT Pro" panose="020B0504020202020204" pitchFamily="34" charset="77"/>
              </a:rPr>
              <a:t>Tribal</a:t>
            </a:r>
            <a:r>
              <a:rPr lang="nl-NL" sz="1100">
                <a:latin typeface="Avenir Next LT Pro" panose="020B0504020202020204" pitchFamily="34" charset="77"/>
              </a:rPr>
              <a:t> Worldwide, Amsterdam</a:t>
            </a:r>
            <a:endParaRPr sz="1100">
              <a:latin typeface="Avenir Next LT Pro" panose="020B0504020202020204" pitchFamily="34" charset="77"/>
            </a:endParaRPr>
          </a:p>
          <a:p>
            <a:pPr>
              <a:defRPr sz="1600">
                <a:latin typeface="Avenir Next Regular"/>
                <a:ea typeface="Avenir Next Regular"/>
                <a:cs typeface="Avenir Next Regular"/>
                <a:sym typeface="Avenir Next Regular"/>
              </a:defRPr>
            </a:pPr>
            <a:r>
              <a:rPr lang="nl-NL" sz="1100" err="1">
                <a:latin typeface="Avenir Next LT Pro" panose="020B0504020202020204" pitchFamily="34" charset="77"/>
              </a:rPr>
              <a:t>Strategy</a:t>
            </a:r>
            <a:r>
              <a:rPr sz="1100">
                <a:latin typeface="Avenir Next LT Pro" panose="020B0504020202020204" pitchFamily="34" charset="77"/>
              </a:rPr>
              <a:t> Director</a:t>
            </a:r>
            <a:r>
              <a:rPr lang="nl-NL" sz="1100">
                <a:latin typeface="Avenir Next LT Pro" panose="020B0504020202020204" pitchFamily="34" charset="77"/>
              </a:rPr>
              <a:t> &amp; Head of </a:t>
            </a:r>
            <a:r>
              <a:rPr lang="nl-NL" sz="1100" err="1">
                <a:latin typeface="Avenir Next LT Pro" panose="020B0504020202020204" pitchFamily="34" charset="77"/>
              </a:rPr>
              <a:t>Strategy</a:t>
            </a:r>
            <a:r>
              <a:rPr lang="nl-NL" sz="1100">
                <a:latin typeface="Avenir Next LT Pro" panose="020B0504020202020204" pitchFamily="34" charset="77"/>
              </a:rPr>
              <a:t> </a:t>
            </a:r>
            <a:r>
              <a:rPr sz="1100">
                <a:latin typeface="Avenir Next LT Pro" panose="020B0504020202020204" pitchFamily="34" charset="77"/>
              </a:rPr>
              <a:t>/ 200</a:t>
            </a:r>
            <a:r>
              <a:rPr lang="nl-NL" sz="1100">
                <a:latin typeface="Avenir Next LT Pro" panose="020B0504020202020204" pitchFamily="34" charset="77"/>
              </a:rPr>
              <a:t>2</a:t>
            </a:r>
            <a:r>
              <a:rPr sz="1100">
                <a:latin typeface="Avenir Next LT Pro" panose="020B0504020202020204" pitchFamily="34" charset="77"/>
              </a:rPr>
              <a:t> - 201</a:t>
            </a:r>
            <a:r>
              <a:rPr lang="nl-NL" sz="1100">
                <a:latin typeface="Avenir Next LT Pro" panose="020B0504020202020204" pitchFamily="34" charset="77"/>
              </a:rPr>
              <a:t>4</a:t>
            </a:r>
            <a:endParaRPr sz="1100">
              <a:latin typeface="Avenir Next LT Pro" panose="020B0504020202020204" pitchFamily="34" charset="77"/>
            </a:endParaRPr>
          </a:p>
          <a:p>
            <a:pPr>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defRPr sz="1600" b="1">
                <a:latin typeface="Avenir Next Regular"/>
                <a:ea typeface="Avenir Next Regular"/>
                <a:cs typeface="Avenir Next Regular"/>
                <a:sym typeface="Avenir Next Regular"/>
              </a:defRPr>
            </a:pPr>
            <a:r>
              <a:rPr lang="nl-NL" sz="1100">
                <a:latin typeface="Avenir Next LT Pro" panose="020B0504020202020204" pitchFamily="34" charset="77"/>
              </a:rPr>
              <a:t>Van </a:t>
            </a:r>
            <a:r>
              <a:rPr lang="nl-NL" sz="1100" err="1">
                <a:latin typeface="Avenir Next LT Pro" panose="020B0504020202020204" pitchFamily="34" charset="77"/>
              </a:rPr>
              <a:t>Spaendonck</a:t>
            </a:r>
            <a:r>
              <a:rPr lang="nl-NL" sz="1100">
                <a:latin typeface="Avenir Next LT Pro" panose="020B0504020202020204" pitchFamily="34" charset="77"/>
              </a:rPr>
              <a:t> Management Consultants</a:t>
            </a:r>
            <a:endParaRPr sz="1100">
              <a:latin typeface="Avenir Next LT Pro" panose="020B0504020202020204" pitchFamily="34" charset="77"/>
            </a:endParaRPr>
          </a:p>
          <a:p>
            <a:pPr>
              <a:defRPr sz="1600">
                <a:latin typeface="Avenir Next Regular"/>
                <a:ea typeface="Avenir Next Regular"/>
                <a:cs typeface="Avenir Next Regular"/>
                <a:sym typeface="Avenir Next Regular"/>
              </a:defRPr>
            </a:pPr>
            <a:r>
              <a:rPr lang="nl-NL" sz="1100">
                <a:latin typeface="Avenir Next LT Pro" panose="020B0504020202020204" pitchFamily="34" charset="77"/>
              </a:rPr>
              <a:t>Senior Consultant </a:t>
            </a:r>
            <a:r>
              <a:rPr sz="1100">
                <a:latin typeface="Avenir Next LT Pro" panose="020B0504020202020204" pitchFamily="34" charset="77"/>
              </a:rPr>
              <a:t>/ </a:t>
            </a:r>
            <a:r>
              <a:rPr lang="nl-NL" sz="1100">
                <a:latin typeface="Avenir Next LT Pro" panose="020B0504020202020204" pitchFamily="34" charset="77"/>
              </a:rPr>
              <a:t>1997</a:t>
            </a:r>
            <a:r>
              <a:rPr sz="1100">
                <a:latin typeface="Avenir Next LT Pro" panose="020B0504020202020204" pitchFamily="34" charset="77"/>
              </a:rPr>
              <a:t> - 200</a:t>
            </a:r>
            <a:r>
              <a:rPr lang="nl-NL" sz="1100">
                <a:latin typeface="Avenir Next LT Pro" panose="020B0504020202020204" pitchFamily="34" charset="77"/>
              </a:rPr>
              <a:t>2</a:t>
            </a:r>
            <a:endParaRPr sz="1100">
              <a:latin typeface="Avenir Next LT Pro" panose="020B0504020202020204" pitchFamily="34" charset="77"/>
            </a:endParaRPr>
          </a:p>
        </p:txBody>
      </p:sp>
      <p:sp>
        <p:nvSpPr>
          <p:cNvPr id="8" name="Text Placeholder 11">
            <a:extLst>
              <a:ext uri="{FF2B5EF4-FFF2-40B4-BE49-F238E27FC236}">
                <a16:creationId xmlns:a16="http://schemas.microsoft.com/office/drawing/2014/main" id="{5EE29D63-012F-F5C3-B78B-95C01AA4BA16}"/>
              </a:ext>
            </a:extLst>
          </p:cNvPr>
          <p:cNvSpPr txBox="1">
            <a:spLocks/>
          </p:cNvSpPr>
          <p:nvPr/>
        </p:nvSpPr>
        <p:spPr>
          <a:xfrm>
            <a:off x="3997096" y="2659078"/>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BE" sz="1800" b="1" i="0" u="none" strike="noStrike" kern="1200" cap="none" spc="-25" normalizeH="0" baseline="0" noProof="0">
                <a:ln>
                  <a:noFill/>
                </a:ln>
                <a:solidFill>
                  <a:srgbClr val="282830"/>
                </a:solidFill>
                <a:effectLst/>
                <a:uLnTx/>
                <a:uFillTx/>
                <a:latin typeface="Avenir Next LT Pro" panose="020B0504020202020204" pitchFamily="34" charset="77"/>
              </a:rPr>
              <a:t>Work experience</a:t>
            </a:r>
          </a:p>
        </p:txBody>
      </p:sp>
      <p:pic>
        <p:nvPicPr>
          <p:cNvPr id="9" name="Picture 8">
            <a:extLst>
              <a:ext uri="{FF2B5EF4-FFF2-40B4-BE49-F238E27FC236}">
                <a16:creationId xmlns:a16="http://schemas.microsoft.com/office/drawing/2014/main" id="{1EF991FB-F048-AA9A-D3A9-87675CB90404}"/>
              </a:ext>
            </a:extLst>
          </p:cNvPr>
          <p:cNvPicPr>
            <a:picLocks noChangeAspect="1"/>
          </p:cNvPicPr>
          <p:nvPr/>
        </p:nvPicPr>
        <p:blipFill>
          <a:blip r:embed="rId2"/>
          <a:stretch>
            <a:fillRect/>
          </a:stretch>
        </p:blipFill>
        <p:spPr>
          <a:xfrm>
            <a:off x="3777187" y="2759410"/>
            <a:ext cx="203200" cy="165100"/>
          </a:xfrm>
          <a:prstGeom prst="rect">
            <a:avLst/>
          </a:prstGeom>
        </p:spPr>
      </p:pic>
      <p:sp>
        <p:nvSpPr>
          <p:cNvPr id="12" name="Iris has worked on brands across (almost) all sectors: Fashion Retailer (C&amp;A), FMCG (PepsiCo, Unilever, P&amp;G, GSK, J&amp;J), Petfood (Royal Canin), Healthcare (Valiant Clinic, Leo Pharma), Automotive (VW), luxury (Sephora), Fast Food/QSR (McDonald’s), Leisure">
            <a:extLst>
              <a:ext uri="{FF2B5EF4-FFF2-40B4-BE49-F238E27FC236}">
                <a16:creationId xmlns:a16="http://schemas.microsoft.com/office/drawing/2014/main" id="{4C47337D-A5F5-0C7E-B5CE-73F7CC38C1EE}"/>
              </a:ext>
            </a:extLst>
          </p:cNvPr>
          <p:cNvSpPr txBox="1"/>
          <p:nvPr/>
        </p:nvSpPr>
        <p:spPr>
          <a:xfrm>
            <a:off x="4127617" y="5307466"/>
            <a:ext cx="6552575" cy="56382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nchor="t">
            <a:spAutoFit/>
          </a:bodyPr>
          <a:lstStyle>
            <a:lvl1pPr defTabSz="457200">
              <a:defRPr sz="2000">
                <a:latin typeface="Avenir Next Regular"/>
                <a:ea typeface="Avenir Next Regular"/>
                <a:cs typeface="Avenir Next Regular"/>
                <a:sym typeface="Avenir Next Regular"/>
              </a:defRPr>
            </a:lvl1pPr>
          </a:lstStyle>
          <a:p>
            <a:pPr defTabSz="914355">
              <a:tabLst>
                <a:tab pos="88107" algn="l"/>
              </a:tabLst>
              <a:defRPr/>
            </a:pPr>
            <a:r>
              <a:rPr lang="en-GB" sz="1100">
                <a:solidFill>
                  <a:srgbClr val="282830"/>
                </a:solidFill>
                <a:latin typeface="Avenir Next LT Pro"/>
                <a:ea typeface="+mn-ea"/>
                <a:cs typeface="Arial"/>
              </a:rPr>
              <a:t>23 years working together at the Erasmus University with L'Oréal on their </a:t>
            </a:r>
            <a:r>
              <a:rPr lang="en-GB" sz="1100" err="1">
                <a:solidFill>
                  <a:srgbClr val="282830"/>
                </a:solidFill>
                <a:latin typeface="Avenir Next LT Pro"/>
                <a:ea typeface="+mn-ea"/>
                <a:cs typeface="Arial"/>
              </a:rPr>
              <a:t>Brandstorm</a:t>
            </a:r>
            <a:r>
              <a:rPr lang="en-GB" sz="1100">
                <a:solidFill>
                  <a:srgbClr val="282830"/>
                </a:solidFill>
                <a:latin typeface="Avenir Next LT Pro"/>
                <a:ea typeface="+mn-ea"/>
                <a:cs typeface="Arial"/>
              </a:rPr>
              <a:t> competition, lecturing and coaching students on beauty related business challenges covering all categories and brands. As a freelancer I did several projects for Kruidvat. At DDB I worked for VSM for several years.</a:t>
            </a:r>
            <a:endParaRPr lang="en-GB" sz="1100">
              <a:solidFill>
                <a:srgbClr val="282830"/>
              </a:solidFill>
              <a:latin typeface="Avenir Next LT Pro" panose="020B0504020202020204" pitchFamily="34" charset="77"/>
              <a:ea typeface="+mn-ea"/>
              <a:cs typeface="Arial" panose="020B0604020202020204" pitchFamily="34" charset="0"/>
            </a:endParaRPr>
          </a:p>
        </p:txBody>
      </p:sp>
      <p:sp>
        <p:nvSpPr>
          <p:cNvPr id="14" name="Text Placeholder 11">
            <a:extLst>
              <a:ext uri="{FF2B5EF4-FFF2-40B4-BE49-F238E27FC236}">
                <a16:creationId xmlns:a16="http://schemas.microsoft.com/office/drawing/2014/main" id="{4180CB5B-83A3-2664-5C76-355A35423BFA}"/>
              </a:ext>
            </a:extLst>
          </p:cNvPr>
          <p:cNvSpPr txBox="1">
            <a:spLocks/>
          </p:cNvSpPr>
          <p:nvPr/>
        </p:nvSpPr>
        <p:spPr>
          <a:xfrm>
            <a:off x="4022496" y="4863553"/>
            <a:ext cx="3997446" cy="198272"/>
          </a:xfrm>
          <a:prstGeom prst="rect">
            <a:avLst/>
          </a:prstGeom>
        </p:spPr>
        <p:txBody>
          <a:bodyPr/>
          <a:lstStyle>
            <a:defPPr>
              <a:defRPr lang="en-BE"/>
            </a:defPPr>
            <a:lvl1pPr marR="0" lvl="0" indent="0" defTabSz="914355" fontAlgn="auto">
              <a:lnSpc>
                <a:spcPct val="106000"/>
              </a:lnSpc>
              <a:spcBef>
                <a:spcPts val="0"/>
              </a:spcBef>
              <a:spcAft>
                <a:spcPts val="0"/>
              </a:spcAft>
              <a:buClrTx/>
              <a:buSzTx/>
              <a:buFont typeface="Arial" panose="020B0604020202020204" pitchFamily="34" charset="0"/>
              <a:buNone/>
              <a:tabLst/>
              <a:defRPr kumimoji="0" b="1" i="0" u="none" strike="noStrike" cap="none" spc="-25" normalizeH="0" baseline="0">
                <a:ln>
                  <a:noFill/>
                </a:ln>
                <a:solidFill>
                  <a:srgbClr val="282830"/>
                </a:solidFill>
                <a:effectLst/>
                <a:uLnTx/>
                <a:uFillTx/>
                <a:latin typeface="AvenirNext LT Pro Bold" panose="020B0504020202020204" pitchFamily="34" charset="77"/>
                <a:cs typeface="Arial" panose="020B0604020202020204" pitchFamily="34" charset="0"/>
              </a:defRPr>
            </a:lvl1pPr>
            <a:lvl2pPr marL="1209600" indent="-561600" defTabSz="1828709">
              <a:lnSpc>
                <a:spcPct val="106000"/>
              </a:lnSpc>
              <a:spcBef>
                <a:spcPts val="2600"/>
              </a:spcBef>
              <a:spcAft>
                <a:spcPts val="0"/>
              </a:spcAft>
              <a:buSzPct val="80000"/>
              <a:buFont typeface="Courier New" panose="02070309020205020404" pitchFamily="49" charset="0"/>
              <a:buChar char="o"/>
              <a:tabLst/>
              <a:defRPr sz="3600" cap="none" spc="-50" baseline="0"/>
            </a:lvl2pPr>
            <a:lvl3pPr marL="0" indent="0" defTabSz="1828709">
              <a:lnSpc>
                <a:spcPct val="106000"/>
              </a:lnSpc>
              <a:spcBef>
                <a:spcPts val="0"/>
              </a:spcBef>
              <a:spcAft>
                <a:spcPts val="0"/>
              </a:spcAft>
              <a:buSzPct val="95000"/>
              <a:buFont typeface="System Font Regular"/>
              <a:buNone/>
              <a:tabLst/>
              <a:defRPr sz="3600" spc="-50" baseline="0"/>
            </a:lvl3pPr>
            <a:lvl4pPr marL="0" indent="0" defTabSz="1828709">
              <a:lnSpc>
                <a:spcPct val="106000"/>
              </a:lnSpc>
              <a:spcBef>
                <a:spcPts val="0"/>
              </a:spcBef>
              <a:spcAft>
                <a:spcPts val="0"/>
              </a:spcAft>
              <a:buFont typeface="Arial" panose="020B0604020202020204" pitchFamily="34" charset="0"/>
              <a:buNone/>
              <a:tabLst/>
              <a:defRPr sz="3600" spc="-50" baseline="0"/>
            </a:lvl4pPr>
            <a:lvl5pPr marL="0" indent="0" defTabSz="1828709">
              <a:lnSpc>
                <a:spcPct val="106000"/>
              </a:lnSpc>
              <a:spcBef>
                <a:spcPts val="0"/>
              </a:spcBef>
              <a:spcAft>
                <a:spcPts val="0"/>
              </a:spcAft>
              <a:buFont typeface="System Font Regular"/>
              <a:buNone/>
              <a:tabLst/>
              <a:defRPr sz="3600" b="0" i="0" spc="-50" baseline="0">
                <a:cs typeface="Toyota Type Semibold" panose="020B0502020202020204" pitchFamily="34" charset="0"/>
              </a:defRPr>
            </a:lvl5pPr>
            <a:lvl6pPr marL="0" indent="0" defTabSz="1828709">
              <a:lnSpc>
                <a:spcPct val="117000"/>
              </a:lnSpc>
              <a:spcBef>
                <a:spcPts val="0"/>
              </a:spcBef>
              <a:spcAft>
                <a:spcPts val="0"/>
              </a:spcAft>
              <a:buFont typeface="Arial" panose="020B0604020202020204" pitchFamily="34" charset="0"/>
              <a:buNone/>
              <a:tabLst/>
              <a:defRPr sz="2200"/>
            </a:lvl6pPr>
            <a:lvl7pPr marL="0" indent="0" defTabSz="1828709">
              <a:lnSpc>
                <a:spcPct val="117000"/>
              </a:lnSpc>
              <a:spcBef>
                <a:spcPts val="0"/>
              </a:spcBef>
              <a:spcAft>
                <a:spcPts val="0"/>
              </a:spcAft>
              <a:buFont typeface="Arial" panose="020B0604020202020204" pitchFamily="34" charset="0"/>
              <a:buNone/>
              <a:tabLst/>
              <a:defRPr sz="2200"/>
            </a:lvl7pPr>
            <a:lvl8pPr marL="0" indent="0" defTabSz="1828709">
              <a:lnSpc>
                <a:spcPct val="117000"/>
              </a:lnSpc>
              <a:spcBef>
                <a:spcPts val="0"/>
              </a:spcBef>
              <a:spcAft>
                <a:spcPts val="0"/>
              </a:spcAft>
              <a:buFont typeface="Arial" panose="020B0604020202020204" pitchFamily="34" charset="0"/>
              <a:buNone/>
              <a:tabLst/>
              <a:defRPr sz="2200"/>
            </a:lvl8pPr>
            <a:lvl9pPr marL="0" indent="0" defTabSz="1828709">
              <a:lnSpc>
                <a:spcPct val="117000"/>
              </a:lnSpc>
              <a:spcBef>
                <a:spcPts val="0"/>
              </a:spcBef>
              <a:spcAft>
                <a:spcPts val="0"/>
              </a:spcAft>
              <a:buFont typeface="Arial" panose="020B0604020202020204" pitchFamily="34" charset="0"/>
              <a:buNone/>
              <a:tabLst/>
              <a:defRPr sz="2200"/>
            </a:lvl9pPr>
          </a:lstStyle>
          <a:p>
            <a:r>
              <a:rPr lang="en-BE">
                <a:latin typeface="Avenir Next LT Pro" panose="020B0504020202020204" pitchFamily="34" charset="77"/>
              </a:rPr>
              <a:t>Relevant experience</a:t>
            </a:r>
          </a:p>
        </p:txBody>
      </p:sp>
      <p:pic>
        <p:nvPicPr>
          <p:cNvPr id="15" name="Picture 14">
            <a:extLst>
              <a:ext uri="{FF2B5EF4-FFF2-40B4-BE49-F238E27FC236}">
                <a16:creationId xmlns:a16="http://schemas.microsoft.com/office/drawing/2014/main" id="{A629747E-1B40-4DC5-FF87-B4C56CFAC8C2}"/>
              </a:ext>
            </a:extLst>
          </p:cNvPr>
          <p:cNvPicPr>
            <a:picLocks noChangeAspect="1"/>
          </p:cNvPicPr>
          <p:nvPr/>
        </p:nvPicPr>
        <p:blipFill>
          <a:blip r:embed="rId3"/>
          <a:stretch>
            <a:fillRect/>
          </a:stretch>
        </p:blipFill>
        <p:spPr>
          <a:xfrm>
            <a:off x="3793896" y="4924830"/>
            <a:ext cx="228600" cy="228600"/>
          </a:xfrm>
          <a:prstGeom prst="rect">
            <a:avLst/>
          </a:prstGeom>
        </p:spPr>
      </p:pic>
      <p:sp>
        <p:nvSpPr>
          <p:cNvPr id="16" name="Text Placeholder 4">
            <a:extLst>
              <a:ext uri="{FF2B5EF4-FFF2-40B4-BE49-F238E27FC236}">
                <a16:creationId xmlns:a16="http://schemas.microsoft.com/office/drawing/2014/main" id="{DACEC355-50AE-CE22-5777-31A9BDC1E451}"/>
              </a:ext>
            </a:extLst>
          </p:cNvPr>
          <p:cNvSpPr>
            <a:spLocks noGrp="1"/>
          </p:cNvSpPr>
          <p:nvPr>
            <p:ph type="body" sz="quarter" idx="13"/>
          </p:nvPr>
        </p:nvSpPr>
        <p:spPr>
          <a:xfrm>
            <a:off x="467441" y="3567907"/>
            <a:ext cx="3024311" cy="1988344"/>
          </a:xfrm>
        </p:spPr>
        <p:txBody>
          <a:bodyPr/>
          <a:lstStyle/>
          <a:p>
            <a:r>
              <a:rPr lang="en-GB">
                <a:latin typeface="Avenir Next LT Pro" panose="020B0504020202020204" pitchFamily="34" charset="77"/>
              </a:rPr>
              <a:t>“Generating </a:t>
            </a:r>
            <a:r>
              <a:rPr lang="en-GB">
                <a:gradFill>
                  <a:gsLst>
                    <a:gs pos="100000">
                      <a:srgbClr val="B79E60"/>
                    </a:gs>
                    <a:gs pos="0">
                      <a:srgbClr val="B79E60"/>
                    </a:gs>
                    <a:gs pos="54000">
                      <a:srgbClr val="DFCF84"/>
                    </a:gs>
                  </a:gsLst>
                  <a:lin ang="2700000" scaled="0"/>
                </a:gradFill>
                <a:latin typeface="Avenir Next LT Pro" panose="020B0504020202020204" pitchFamily="34" charset="77"/>
              </a:rPr>
              <a:t>happiness</a:t>
            </a:r>
            <a:r>
              <a:rPr lang="en-GB">
                <a:latin typeface="Avenir Next LT Pro" panose="020B0504020202020204" pitchFamily="34" charset="77"/>
              </a:rPr>
              <a:t> is </a:t>
            </a:r>
            <a:br>
              <a:rPr lang="en-GB">
                <a:latin typeface="Avenir Next LT Pro" panose="020B0504020202020204" pitchFamily="34" charset="77"/>
              </a:rPr>
            </a:br>
            <a:r>
              <a:rPr lang="en-GB">
                <a:latin typeface="Avenir Next LT Pro" panose="020B0504020202020204" pitchFamily="34" charset="77"/>
              </a:rPr>
              <a:t>the way to memorable and effective work”</a:t>
            </a:r>
          </a:p>
        </p:txBody>
      </p:sp>
      <p:pic>
        <p:nvPicPr>
          <p:cNvPr id="10" name="Picture Placeholder 20">
            <a:extLst>
              <a:ext uri="{FF2B5EF4-FFF2-40B4-BE49-F238E27FC236}">
                <a16:creationId xmlns:a16="http://schemas.microsoft.com/office/drawing/2014/main" id="{C27285D2-A669-925C-D1A5-17FD503ADCE0}"/>
              </a:ext>
            </a:extLst>
          </p:cNvPr>
          <p:cNvPicPr>
            <a:picLocks noGrp="1" noChangeAspect="1"/>
          </p:cNvPicPr>
          <p:nvPr>
            <p:ph type="pic" sz="quarter" idx="10"/>
          </p:nvPr>
        </p:nvPicPr>
        <p:blipFill>
          <a:blip r:embed="rId4" cstate="screen">
            <a:extLst>
              <a:ext uri="{28A0092B-C50C-407E-A947-70E740481C1C}">
                <a14:useLocalDpi xmlns:a14="http://schemas.microsoft.com/office/drawing/2010/main"/>
              </a:ext>
            </a:extLst>
          </a:blip>
          <a:srcRect/>
          <a:stretch/>
        </p:blipFill>
        <p:spPr>
          <a:xfrm>
            <a:off x="592321" y="560957"/>
            <a:ext cx="2774553" cy="2774373"/>
          </a:xfrm>
        </p:spPr>
      </p:pic>
    </p:spTree>
    <p:extLst>
      <p:ext uri="{BB962C8B-B14F-4D97-AF65-F5344CB8AC3E}">
        <p14:creationId xmlns:p14="http://schemas.microsoft.com/office/powerpoint/2010/main" val="19152007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20">
            <a:extLst>
              <a:ext uri="{FF2B5EF4-FFF2-40B4-BE49-F238E27FC236}">
                <a16:creationId xmlns:a16="http://schemas.microsoft.com/office/drawing/2014/main" id="{3691C34C-385B-4293-9FA2-F7106EE7EBDE}"/>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406A0D3E-F0CD-B0D5-5DC5-FFA8E38B370B}"/>
              </a:ext>
            </a:extLst>
          </p:cNvPr>
          <p:cNvSpPr>
            <a:spLocks noGrp="1"/>
          </p:cNvSpPr>
          <p:nvPr>
            <p:ph type="body" sz="quarter" idx="11"/>
          </p:nvPr>
        </p:nvSpPr>
        <p:spPr>
          <a:xfrm>
            <a:off x="3793896" y="560957"/>
            <a:ext cx="5886552" cy="654844"/>
          </a:xfrm>
        </p:spPr>
        <p:txBody>
          <a:bodyPr lIns="91440" tIns="45720" rIns="91440" bIns="45720" anchor="t"/>
          <a:lstStyle/>
          <a:p>
            <a:r>
              <a:rPr lang="en-GB">
                <a:latin typeface="AvenirNext LT Pro Bold"/>
                <a:cs typeface="Arial"/>
              </a:rPr>
              <a:t>Meet </a:t>
            </a:r>
            <a:r>
              <a:rPr lang="en-GB" sz="4800" b="0">
                <a:gradFill>
                  <a:gsLst>
                    <a:gs pos="100000">
                      <a:srgbClr val="B79E60"/>
                    </a:gs>
                    <a:gs pos="0">
                      <a:srgbClr val="B79E60"/>
                    </a:gs>
                    <a:gs pos="54000">
                      <a:srgbClr val="DFCF84"/>
                    </a:gs>
                  </a:gsLst>
                  <a:lin ang="2700000" scaled="0"/>
                </a:gradFill>
                <a:latin typeface="Bodoni MT"/>
                <a:cs typeface="Arial"/>
              </a:rPr>
              <a:t>Iris Minnema</a:t>
            </a:r>
          </a:p>
        </p:txBody>
      </p:sp>
      <p:sp>
        <p:nvSpPr>
          <p:cNvPr id="4" name="Text Placeholder 3">
            <a:extLst>
              <a:ext uri="{FF2B5EF4-FFF2-40B4-BE49-F238E27FC236}">
                <a16:creationId xmlns:a16="http://schemas.microsoft.com/office/drawing/2014/main" id="{08CC71B1-EF61-5341-080B-8119A61CA33E}"/>
              </a:ext>
            </a:extLst>
          </p:cNvPr>
          <p:cNvSpPr>
            <a:spLocks noGrp="1"/>
          </p:cNvSpPr>
          <p:nvPr>
            <p:ph type="body" sz="quarter" idx="12"/>
          </p:nvPr>
        </p:nvSpPr>
        <p:spPr/>
        <p:txBody>
          <a:bodyPr/>
          <a:lstStyle/>
          <a:p>
            <a:r>
              <a:rPr lang="en-GB">
                <a:latin typeface="Avenir Next LT Pro" panose="020B0504020202020204" pitchFamily="34" charset="77"/>
              </a:rPr>
              <a:t>CEO &amp; Co-Founder</a:t>
            </a:r>
          </a:p>
        </p:txBody>
      </p:sp>
      <p:sp>
        <p:nvSpPr>
          <p:cNvPr id="5" name="TextBox 4">
            <a:extLst>
              <a:ext uri="{FF2B5EF4-FFF2-40B4-BE49-F238E27FC236}">
                <a16:creationId xmlns:a16="http://schemas.microsoft.com/office/drawing/2014/main" id="{23296222-F7A6-B066-453A-02B3501EA073}"/>
              </a:ext>
            </a:extLst>
          </p:cNvPr>
          <p:cNvSpPr txBox="1"/>
          <p:nvPr/>
        </p:nvSpPr>
        <p:spPr>
          <a:xfrm>
            <a:off x="3777187" y="1619625"/>
            <a:ext cx="8072943" cy="600164"/>
          </a:xfrm>
          <a:prstGeom prst="rect">
            <a:avLst/>
          </a:prstGeom>
          <a:noFill/>
        </p:spPr>
        <p:txBody>
          <a:bodyPr wrap="square" lIns="91440" tIns="45720" rIns="91440" bIns="45720" anchor="t">
            <a:spAutoFit/>
          </a:bodyPr>
          <a:lstStyle/>
          <a:p>
            <a:pPr>
              <a:defRPr>
                <a:solidFill>
                  <a:srgbClr val="000000"/>
                </a:solidFill>
              </a:defRPr>
            </a:pPr>
            <a:r>
              <a:rPr lang="en-GB" sz="1100">
                <a:latin typeface="Avenir Next LT Pro" panose="020B0504020202020204" pitchFamily="34" charset="77"/>
              </a:rPr>
              <a:t>Iris is a realistic optimist with a drive for building brands with strong creative ideas and solutions. She is a people person, a team builder &amp; team player, loves to simplify complex issues and processes, is a motivator, business sparring partner, efficiency driver and happy cat mom.</a:t>
            </a:r>
          </a:p>
        </p:txBody>
      </p:sp>
      <p:sp>
        <p:nvSpPr>
          <p:cNvPr id="2" name="Happiness Amsterdam…">
            <a:extLst>
              <a:ext uri="{FF2B5EF4-FFF2-40B4-BE49-F238E27FC236}">
                <a16:creationId xmlns:a16="http://schemas.microsoft.com/office/drawing/2014/main" id="{AE544F9B-EB11-C09E-7F66-5ACA37E5FEF8}"/>
              </a:ext>
            </a:extLst>
          </p:cNvPr>
          <p:cNvSpPr txBox="1"/>
          <p:nvPr/>
        </p:nvSpPr>
        <p:spPr>
          <a:xfrm>
            <a:off x="4079519" y="2719559"/>
            <a:ext cx="3565949" cy="2256594"/>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numCol="1" anchor="t">
            <a:spAutoFit/>
          </a:bodyPr>
          <a:lstStyle/>
          <a:p>
            <a:pPr>
              <a:defRPr sz="1600" b="1">
                <a:latin typeface="Avenir Next Regular"/>
                <a:ea typeface="Avenir Next Regular"/>
                <a:cs typeface="Avenir Next Regular"/>
                <a:sym typeface="Avenir Next Regular"/>
              </a:defRPr>
            </a:pPr>
            <a:r>
              <a:rPr sz="1100">
                <a:latin typeface="Avenir Next LT Pro" panose="020B0504020202020204" pitchFamily="34" charset="77"/>
              </a:rPr>
              <a:t>Happiness Amsterdam</a:t>
            </a:r>
          </a:p>
          <a:p>
            <a:pPr>
              <a:defRPr sz="1600">
                <a:latin typeface="Avenir Next Regular"/>
                <a:ea typeface="Avenir Next Regular"/>
                <a:cs typeface="Avenir Next Regular"/>
                <a:sym typeface="Avenir Next Regular"/>
              </a:defRPr>
            </a:pPr>
            <a:r>
              <a:rPr sz="1100">
                <a:latin typeface="Avenir Next LT Pro" panose="020B0504020202020204" pitchFamily="34" charset="77"/>
              </a:rPr>
              <a:t>CEO</a:t>
            </a:r>
            <a:r>
              <a:rPr lang="nl-NL" sz="1100">
                <a:latin typeface="Avenir Next LT Pro" panose="020B0504020202020204" pitchFamily="34" charset="77"/>
              </a:rPr>
              <a:t> &amp; Co-</a:t>
            </a:r>
            <a:r>
              <a:rPr lang="nl-NL" sz="1100" err="1">
                <a:latin typeface="Avenir Next LT Pro" panose="020B0504020202020204" pitchFamily="34" charset="77"/>
              </a:rPr>
              <a:t>Founder</a:t>
            </a:r>
            <a:r>
              <a:rPr lang="nl-NL" sz="1100">
                <a:latin typeface="Avenir Next LT Pro" panose="020B0504020202020204" pitchFamily="34" charset="77"/>
              </a:rPr>
              <a:t> </a:t>
            </a:r>
            <a:r>
              <a:rPr sz="1100">
                <a:latin typeface="Avenir Next LT Pro" panose="020B0504020202020204" pitchFamily="34" charset="77"/>
              </a:rPr>
              <a:t>/ Jan 2023 - present</a:t>
            </a:r>
          </a:p>
          <a:p>
            <a:pPr>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defRPr sz="1600" b="1">
                <a:latin typeface="Avenir Next Regular"/>
                <a:ea typeface="Avenir Next Regular"/>
                <a:cs typeface="Avenir Next Regular"/>
                <a:sym typeface="Avenir Next Regular"/>
              </a:defRPr>
            </a:pPr>
            <a:r>
              <a:rPr sz="1100">
                <a:latin typeface="Avenir Next LT Pro" panose="020B0504020202020204" pitchFamily="34" charset="77"/>
              </a:rPr>
              <a:t>DDB Unlimited Amsterdam</a:t>
            </a:r>
          </a:p>
          <a:p>
            <a:pPr>
              <a:defRPr sz="1600">
                <a:latin typeface="Avenir Next Regular"/>
                <a:ea typeface="Avenir Next Regular"/>
                <a:cs typeface="Avenir Next Regular"/>
                <a:sym typeface="Avenir Next Regular"/>
              </a:defRPr>
            </a:pPr>
            <a:r>
              <a:rPr sz="1100">
                <a:latin typeface="Avenir Next LT Pro" panose="020B0504020202020204" pitchFamily="34" charset="77"/>
              </a:rPr>
              <a:t>Global Business Director / May 2019 - Dec 2022</a:t>
            </a:r>
          </a:p>
          <a:p>
            <a:pPr>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defRPr sz="1600" b="1">
                <a:latin typeface="Avenir Next Regular"/>
                <a:ea typeface="Avenir Next Regular"/>
                <a:cs typeface="Avenir Next Regular"/>
                <a:sym typeface="Avenir Next Regular"/>
              </a:defRPr>
            </a:pPr>
            <a:r>
              <a:rPr sz="1100">
                <a:latin typeface="Avenir Next LT Pro" panose="020B0504020202020204" pitchFamily="34" charset="77"/>
              </a:rPr>
              <a:t>DDB Dubai</a:t>
            </a:r>
          </a:p>
          <a:p>
            <a:pPr>
              <a:defRPr sz="1600">
                <a:latin typeface="Avenir Next Regular"/>
                <a:ea typeface="Avenir Next Regular"/>
                <a:cs typeface="Avenir Next Regular"/>
                <a:sym typeface="Avenir Next Regular"/>
              </a:defRPr>
            </a:pPr>
            <a:r>
              <a:rPr sz="1100">
                <a:latin typeface="Avenir Next LT Pro" panose="020B0504020202020204" pitchFamily="34" charset="77"/>
              </a:rPr>
              <a:t>Managing Director / June 2017 - April 2019</a:t>
            </a:r>
          </a:p>
          <a:p>
            <a:pPr>
              <a:defRPr sz="1600">
                <a:latin typeface="Avenir Next Regular"/>
                <a:ea typeface="Avenir Next Regular"/>
                <a:cs typeface="Avenir Next Regular"/>
                <a:sym typeface="Avenir Next Regular"/>
              </a:defRPr>
            </a:pPr>
            <a:r>
              <a:rPr sz="1100">
                <a:latin typeface="Avenir Next LT Pro" panose="020B0504020202020204" pitchFamily="34" charset="77"/>
              </a:rPr>
              <a:t>Business Director / Feb 2014 - June 2017</a:t>
            </a:r>
          </a:p>
          <a:p>
            <a:pPr>
              <a:defRPr sz="1600">
                <a:latin typeface="Avenir Next Regular"/>
                <a:ea typeface="Avenir Next Regular"/>
                <a:cs typeface="Avenir Next Regular"/>
                <a:sym typeface="Avenir Next Regular"/>
              </a:defRPr>
            </a:pPr>
            <a:r>
              <a:rPr sz="1100">
                <a:latin typeface="Avenir Next LT Pro" panose="020B0504020202020204" pitchFamily="34" charset="77"/>
              </a:rPr>
              <a:t>Group Account Director/ July 2013 - Feb 2014</a:t>
            </a:r>
          </a:p>
          <a:p>
            <a:pPr>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defRPr sz="1600" b="1">
                <a:latin typeface="Avenir Next Regular"/>
                <a:ea typeface="Avenir Next Regular"/>
                <a:cs typeface="Avenir Next Regular"/>
                <a:sym typeface="Avenir Next Regular"/>
              </a:defRPr>
            </a:pPr>
            <a:r>
              <a:rPr sz="1100">
                <a:latin typeface="Avenir Next LT Pro" panose="020B0504020202020204" pitchFamily="34" charset="77"/>
              </a:rPr>
              <a:t>Face to Face UAE</a:t>
            </a:r>
          </a:p>
          <a:p>
            <a:pPr>
              <a:defRPr sz="1600">
                <a:latin typeface="Avenir Next Regular"/>
                <a:ea typeface="Avenir Next Regular"/>
                <a:cs typeface="Avenir Next Regular"/>
                <a:sym typeface="Avenir Next Regular"/>
              </a:defRPr>
            </a:pPr>
            <a:r>
              <a:rPr sz="1100">
                <a:latin typeface="Avenir Next LT Pro" panose="020B0504020202020204" pitchFamily="34" charset="77"/>
              </a:rPr>
              <a:t>Group Account Director AI /March 2013 - Jul</a:t>
            </a:r>
            <a:r>
              <a:rPr lang="nl-NL" sz="1100">
                <a:latin typeface="Avenir Next LT Pro" panose="020B0504020202020204" pitchFamily="34" charset="77"/>
              </a:rPr>
              <a:t>y</a:t>
            </a:r>
            <a:r>
              <a:rPr sz="1100">
                <a:latin typeface="Avenir Next LT Pro" panose="020B0504020202020204" pitchFamily="34" charset="77"/>
              </a:rPr>
              <a:t> 2013</a:t>
            </a:r>
          </a:p>
        </p:txBody>
      </p:sp>
      <p:sp>
        <p:nvSpPr>
          <p:cNvPr id="7" name="DDB Amsterdam…">
            <a:extLst>
              <a:ext uri="{FF2B5EF4-FFF2-40B4-BE49-F238E27FC236}">
                <a16:creationId xmlns:a16="http://schemas.microsoft.com/office/drawing/2014/main" id="{B8EB4B87-A029-990C-98E3-FA0736AB8EC7}"/>
              </a:ext>
            </a:extLst>
          </p:cNvPr>
          <p:cNvSpPr txBox="1"/>
          <p:nvPr/>
        </p:nvSpPr>
        <p:spPr>
          <a:xfrm>
            <a:off x="7628666" y="2716441"/>
            <a:ext cx="3797004" cy="2087317"/>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numCol="1" anchor="t">
            <a:spAutoFit/>
          </a:bodyPr>
          <a:lstStyle/>
          <a:p>
            <a:pPr>
              <a:defRPr sz="1600" b="1">
                <a:latin typeface="Avenir Next Regular"/>
                <a:ea typeface="Avenir Next Regular"/>
                <a:cs typeface="Avenir Next Regular"/>
                <a:sym typeface="Avenir Next Regular"/>
              </a:defRPr>
            </a:pPr>
            <a:r>
              <a:rPr sz="1100">
                <a:latin typeface="Avenir Next LT Pro" panose="020B0504020202020204" pitchFamily="34" charset="77"/>
              </a:rPr>
              <a:t>DDB Amsterdam</a:t>
            </a:r>
          </a:p>
          <a:p>
            <a:pPr>
              <a:defRPr sz="1600">
                <a:latin typeface="Avenir Next Regular"/>
                <a:ea typeface="Avenir Next Regular"/>
                <a:cs typeface="Avenir Next Regular"/>
                <a:sym typeface="Avenir Next Regular"/>
              </a:defRPr>
            </a:pPr>
            <a:r>
              <a:rPr sz="1100">
                <a:latin typeface="Avenir Next LT Pro" panose="020B0504020202020204" pitchFamily="34" charset="77"/>
              </a:rPr>
              <a:t>Account Director &amp; Sr Account Manager / Feb 2007 - Sept 2012</a:t>
            </a:r>
          </a:p>
          <a:p>
            <a:pPr>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defRPr sz="1600" b="1">
                <a:latin typeface="Avenir Next Regular"/>
                <a:ea typeface="Avenir Next Regular"/>
                <a:cs typeface="Avenir Next Regular"/>
                <a:sym typeface="Avenir Next Regular"/>
              </a:defRPr>
            </a:pPr>
            <a:r>
              <a:rPr sz="1100">
                <a:latin typeface="Avenir Next LT Pro" panose="020B0504020202020204" pitchFamily="34" charset="77"/>
              </a:rPr>
              <a:t>Grey Amsterdam</a:t>
            </a:r>
          </a:p>
          <a:p>
            <a:pPr>
              <a:defRPr sz="1600">
                <a:latin typeface="Avenir Next Regular"/>
                <a:ea typeface="Avenir Next Regular"/>
                <a:cs typeface="Avenir Next Regular"/>
                <a:sym typeface="Avenir Next Regular"/>
              </a:defRPr>
            </a:pPr>
            <a:r>
              <a:rPr sz="1100">
                <a:latin typeface="Avenir Next LT Pro" panose="020B0504020202020204" pitchFamily="34" charset="77"/>
              </a:rPr>
              <a:t>Account Manager / Sept 2004 - Feb 2007</a:t>
            </a:r>
          </a:p>
          <a:p>
            <a:pPr>
              <a:defRPr sz="1600" b="1">
                <a:latin typeface="Avenir Next Regular"/>
                <a:ea typeface="Avenir Next Regular"/>
                <a:cs typeface="Avenir Next Regular"/>
                <a:sym typeface="Avenir Next Regular"/>
              </a:defRPr>
            </a:pPr>
            <a:endParaRPr sz="1100">
              <a:latin typeface="Avenir Next LT Pro" panose="020B0504020202020204" pitchFamily="34" charset="77"/>
            </a:endParaRPr>
          </a:p>
          <a:p>
            <a:pPr>
              <a:defRPr sz="1600" b="1">
                <a:latin typeface="Avenir Next Regular"/>
                <a:ea typeface="Avenir Next Regular"/>
                <a:cs typeface="Avenir Next Regular"/>
                <a:sym typeface="Avenir Next Regular"/>
              </a:defRPr>
            </a:pPr>
            <a:r>
              <a:rPr sz="1100">
                <a:latin typeface="Avenir Next LT Pro" panose="020B0504020202020204" pitchFamily="34" charset="77"/>
              </a:rPr>
              <a:t>The Communication Company (TCC) Amsterdam</a:t>
            </a:r>
          </a:p>
          <a:p>
            <a:pPr>
              <a:defRPr sz="1600">
                <a:latin typeface="Avenir Next Regular"/>
                <a:ea typeface="Avenir Next Regular"/>
                <a:cs typeface="Avenir Next Regular"/>
                <a:sym typeface="Avenir Next Regular"/>
              </a:defRPr>
            </a:pPr>
            <a:r>
              <a:rPr sz="1100">
                <a:latin typeface="Avenir Next LT Pro" panose="020B0504020202020204" pitchFamily="34" charset="77"/>
              </a:rPr>
              <a:t>Account Manager &amp; AE / Nov 2001 - Sept 2004</a:t>
            </a:r>
          </a:p>
          <a:p>
            <a:pPr>
              <a:defRPr sz="1600" b="1">
                <a:latin typeface="Avenir Next Regular"/>
                <a:ea typeface="Avenir Next Regular"/>
                <a:cs typeface="Avenir Next Regular"/>
                <a:sym typeface="Avenir Next Regular"/>
              </a:defRPr>
            </a:pPr>
            <a:endParaRPr sz="1100">
              <a:latin typeface="Avenir Next LT Pro" panose="020B0504020202020204" pitchFamily="34" charset="77"/>
            </a:endParaRPr>
          </a:p>
          <a:p>
            <a:pPr>
              <a:defRPr sz="1600" b="1">
                <a:latin typeface="Avenir Next Regular"/>
                <a:ea typeface="Avenir Next Regular"/>
                <a:cs typeface="Avenir Next Regular"/>
                <a:sym typeface="Avenir Next Regular"/>
              </a:defRPr>
            </a:pPr>
            <a:r>
              <a:rPr sz="1100">
                <a:latin typeface="Avenir Next LT Pro" panose="020B0504020202020204" pitchFamily="34" charset="77"/>
              </a:rPr>
              <a:t>Van Soelen Advertising - Hoorn</a:t>
            </a:r>
          </a:p>
          <a:p>
            <a:pPr>
              <a:defRPr sz="1600">
                <a:latin typeface="Avenir Next Regular"/>
                <a:ea typeface="Avenir Next Regular"/>
                <a:cs typeface="Avenir Next Regular"/>
                <a:sym typeface="Avenir Next Regular"/>
              </a:defRPr>
            </a:pPr>
            <a:r>
              <a:rPr sz="1100">
                <a:latin typeface="Avenir Next LT Pro" panose="020B0504020202020204" pitchFamily="34" charset="77"/>
              </a:rPr>
              <a:t>Account Executive/ Nov 2000 - Nov 2001</a:t>
            </a:r>
          </a:p>
        </p:txBody>
      </p:sp>
      <p:sp>
        <p:nvSpPr>
          <p:cNvPr id="8" name="Text Placeholder 11">
            <a:extLst>
              <a:ext uri="{FF2B5EF4-FFF2-40B4-BE49-F238E27FC236}">
                <a16:creationId xmlns:a16="http://schemas.microsoft.com/office/drawing/2014/main" id="{5EE29D63-012F-F5C3-B78B-95C01AA4BA16}"/>
              </a:ext>
            </a:extLst>
          </p:cNvPr>
          <p:cNvSpPr txBox="1">
            <a:spLocks/>
          </p:cNvSpPr>
          <p:nvPr/>
        </p:nvSpPr>
        <p:spPr>
          <a:xfrm>
            <a:off x="3997096" y="2317190"/>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BE" sz="1800" b="1" i="0" u="none" strike="noStrike" kern="1200" cap="none" spc="-25" normalizeH="0" baseline="0" noProof="0">
                <a:ln>
                  <a:noFill/>
                </a:ln>
                <a:solidFill>
                  <a:srgbClr val="282830"/>
                </a:solidFill>
                <a:effectLst/>
                <a:uLnTx/>
                <a:uFillTx/>
                <a:latin typeface="Avenir Next LT Pro" panose="020B0504020202020204" pitchFamily="34" charset="77"/>
              </a:rPr>
              <a:t>Work experience</a:t>
            </a:r>
          </a:p>
        </p:txBody>
      </p:sp>
      <p:pic>
        <p:nvPicPr>
          <p:cNvPr id="9" name="Picture 8">
            <a:extLst>
              <a:ext uri="{FF2B5EF4-FFF2-40B4-BE49-F238E27FC236}">
                <a16:creationId xmlns:a16="http://schemas.microsoft.com/office/drawing/2014/main" id="{1EF991FB-F048-AA9A-D3A9-87675CB90404}"/>
              </a:ext>
            </a:extLst>
          </p:cNvPr>
          <p:cNvPicPr>
            <a:picLocks noChangeAspect="1"/>
          </p:cNvPicPr>
          <p:nvPr/>
        </p:nvPicPr>
        <p:blipFill>
          <a:blip r:embed="rId4"/>
          <a:stretch>
            <a:fillRect/>
          </a:stretch>
        </p:blipFill>
        <p:spPr>
          <a:xfrm>
            <a:off x="3777187" y="2417522"/>
            <a:ext cx="203200" cy="165100"/>
          </a:xfrm>
          <a:prstGeom prst="rect">
            <a:avLst/>
          </a:prstGeom>
        </p:spPr>
      </p:pic>
      <p:sp>
        <p:nvSpPr>
          <p:cNvPr id="12" name="Iris has worked on brands across (almost) all sectors: Fashion Retailer (C&amp;A), FMCG (PepsiCo, Unilever, P&amp;G, GSK, J&amp;J), Petfood (Royal Canin), Healthcare (Valiant Clinic, Leo Pharma), Automotive (VW), luxury (Sephora), Fast Food/QSR (McDonald’s), Leisure">
            <a:extLst>
              <a:ext uri="{FF2B5EF4-FFF2-40B4-BE49-F238E27FC236}">
                <a16:creationId xmlns:a16="http://schemas.microsoft.com/office/drawing/2014/main" id="{4C47337D-A5F5-0C7E-B5CE-73F7CC38C1EE}"/>
              </a:ext>
            </a:extLst>
          </p:cNvPr>
          <p:cNvSpPr txBox="1"/>
          <p:nvPr/>
        </p:nvSpPr>
        <p:spPr>
          <a:xfrm>
            <a:off x="4140755" y="5559362"/>
            <a:ext cx="7446217" cy="56382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nchor="t">
            <a:spAutoFit/>
          </a:bodyPr>
          <a:lstStyle>
            <a:lvl1pPr defTabSz="457200">
              <a:defRPr sz="2000">
                <a:latin typeface="Avenir Next Regular"/>
                <a:ea typeface="Avenir Next Regular"/>
                <a:cs typeface="Avenir Next Regular"/>
                <a:sym typeface="Avenir Next Regular"/>
              </a:defRPr>
            </a:lvl1pPr>
          </a:lstStyle>
          <a:p>
            <a:r>
              <a:rPr lang="nl-NL" sz="1100" err="1">
                <a:solidFill>
                  <a:schemeClr val="tx1">
                    <a:lumMod val="95000"/>
                    <a:lumOff val="5000"/>
                  </a:schemeClr>
                </a:solidFill>
                <a:latin typeface="Avenir Next LT Pro"/>
              </a:rPr>
              <a:t>With</a:t>
            </a:r>
            <a:r>
              <a:rPr lang="nl-NL" sz="1100">
                <a:solidFill>
                  <a:schemeClr val="tx1">
                    <a:lumMod val="95000"/>
                    <a:lumOff val="5000"/>
                  </a:schemeClr>
                </a:solidFill>
                <a:latin typeface="Avenir Next LT Pro"/>
              </a:rPr>
              <a:t> over 20 </a:t>
            </a:r>
            <a:r>
              <a:rPr lang="nl-NL" sz="1100" err="1">
                <a:solidFill>
                  <a:schemeClr val="tx1">
                    <a:lumMod val="95000"/>
                    <a:lumOff val="5000"/>
                  </a:schemeClr>
                </a:solidFill>
                <a:latin typeface="Avenir Next LT Pro"/>
              </a:rPr>
              <a:t>years</a:t>
            </a:r>
            <a:r>
              <a:rPr lang="nl-NL" sz="1100">
                <a:solidFill>
                  <a:schemeClr val="tx1">
                    <a:lumMod val="95000"/>
                    <a:lumOff val="5000"/>
                  </a:schemeClr>
                </a:solidFill>
                <a:latin typeface="Avenir Next LT Pro"/>
              </a:rPr>
              <a:t> of </a:t>
            </a:r>
            <a:r>
              <a:rPr lang="nl-NL" sz="1100" err="1">
                <a:solidFill>
                  <a:schemeClr val="tx1">
                    <a:lumMod val="95000"/>
                    <a:lumOff val="5000"/>
                  </a:schemeClr>
                </a:solidFill>
                <a:latin typeface="Avenir Next LT Pro"/>
              </a:rPr>
              <a:t>experience</a:t>
            </a:r>
            <a:r>
              <a:rPr lang="nl-NL" sz="1100">
                <a:solidFill>
                  <a:schemeClr val="tx1">
                    <a:lumMod val="95000"/>
                    <a:lumOff val="5000"/>
                  </a:schemeClr>
                </a:solidFill>
                <a:latin typeface="Avenir Next LT Pro"/>
              </a:rPr>
              <a:t>, Iris has </a:t>
            </a:r>
            <a:r>
              <a:rPr lang="nl-NL" sz="1100" err="1">
                <a:solidFill>
                  <a:schemeClr val="tx1">
                    <a:lumMod val="95000"/>
                    <a:lumOff val="5000"/>
                  </a:schemeClr>
                </a:solidFill>
                <a:latin typeface="Avenir Next LT Pro"/>
              </a:rPr>
              <a:t>worked</a:t>
            </a:r>
            <a:r>
              <a:rPr lang="nl-NL" sz="1100">
                <a:solidFill>
                  <a:schemeClr val="tx1">
                    <a:lumMod val="95000"/>
                    <a:lumOff val="5000"/>
                  </a:schemeClr>
                </a:solidFill>
                <a:latin typeface="Avenir Next LT Pro"/>
              </a:rPr>
              <a:t> on Global, </a:t>
            </a:r>
            <a:r>
              <a:rPr lang="nl-NL" sz="1100" err="1">
                <a:solidFill>
                  <a:schemeClr val="tx1">
                    <a:lumMod val="95000"/>
                    <a:lumOff val="5000"/>
                  </a:schemeClr>
                </a:solidFill>
                <a:latin typeface="Avenir Next LT Pro"/>
              </a:rPr>
              <a:t>Regional</a:t>
            </a:r>
            <a:r>
              <a:rPr lang="nl-NL" sz="1100">
                <a:solidFill>
                  <a:schemeClr val="tx1">
                    <a:lumMod val="95000"/>
                    <a:lumOff val="5000"/>
                  </a:schemeClr>
                </a:solidFill>
                <a:latin typeface="Avenir Next LT Pro"/>
              </a:rPr>
              <a:t> </a:t>
            </a:r>
            <a:r>
              <a:rPr lang="nl-NL" sz="1100" err="1">
                <a:solidFill>
                  <a:schemeClr val="tx1">
                    <a:lumMod val="95000"/>
                    <a:lumOff val="5000"/>
                  </a:schemeClr>
                </a:solidFill>
                <a:latin typeface="Avenir Next LT Pro"/>
              </a:rPr>
              <a:t>and</a:t>
            </a:r>
            <a:r>
              <a:rPr lang="nl-NL" sz="1100">
                <a:solidFill>
                  <a:schemeClr val="tx1">
                    <a:lumMod val="95000"/>
                    <a:lumOff val="5000"/>
                  </a:schemeClr>
                </a:solidFill>
                <a:latin typeface="Avenir Next LT Pro"/>
              </a:rPr>
              <a:t> </a:t>
            </a:r>
            <a:r>
              <a:rPr lang="nl-NL" sz="1100" err="1">
                <a:solidFill>
                  <a:schemeClr val="tx1">
                    <a:lumMod val="95000"/>
                    <a:lumOff val="5000"/>
                  </a:schemeClr>
                </a:solidFill>
                <a:latin typeface="Avenir Next LT Pro"/>
              </a:rPr>
              <a:t>local</a:t>
            </a:r>
            <a:r>
              <a:rPr lang="nl-NL" sz="1100">
                <a:solidFill>
                  <a:schemeClr val="tx1">
                    <a:lumMod val="95000"/>
                    <a:lumOff val="5000"/>
                  </a:schemeClr>
                </a:solidFill>
                <a:latin typeface="Avenir Next LT Pro"/>
              </a:rPr>
              <a:t> </a:t>
            </a:r>
            <a:r>
              <a:rPr lang="nl-NL" sz="1100" err="1">
                <a:solidFill>
                  <a:schemeClr val="tx1">
                    <a:lumMod val="95000"/>
                    <a:lumOff val="5000"/>
                  </a:schemeClr>
                </a:solidFill>
                <a:latin typeface="Avenir Next LT Pro"/>
              </a:rPr>
              <a:t>brands</a:t>
            </a:r>
            <a:r>
              <a:rPr lang="nl-NL" sz="1100">
                <a:solidFill>
                  <a:schemeClr val="tx1">
                    <a:lumMod val="95000"/>
                    <a:lumOff val="5000"/>
                  </a:schemeClr>
                </a:solidFill>
                <a:latin typeface="Avenir Next LT Pro"/>
              </a:rPr>
              <a:t> in </a:t>
            </a:r>
            <a:r>
              <a:rPr lang="nl-NL" sz="1100" err="1">
                <a:solidFill>
                  <a:schemeClr val="tx1">
                    <a:lumMod val="95000"/>
                    <a:lumOff val="5000"/>
                  </a:schemeClr>
                </a:solidFill>
                <a:latin typeface="Avenir Next LT Pro"/>
              </a:rPr>
              <a:t>all</a:t>
            </a:r>
            <a:r>
              <a:rPr lang="nl-NL" sz="1100">
                <a:solidFill>
                  <a:schemeClr val="tx1">
                    <a:lumMod val="95000"/>
                    <a:lumOff val="5000"/>
                  </a:schemeClr>
                </a:solidFill>
                <a:latin typeface="Avenir Next LT Pro"/>
              </a:rPr>
              <a:t> </a:t>
            </a:r>
            <a:r>
              <a:rPr lang="nl-NL" sz="1100" err="1">
                <a:solidFill>
                  <a:schemeClr val="tx1">
                    <a:lumMod val="95000"/>
                    <a:lumOff val="5000"/>
                  </a:schemeClr>
                </a:solidFill>
                <a:latin typeface="Avenir Next LT Pro"/>
              </a:rPr>
              <a:t>possible</a:t>
            </a:r>
            <a:r>
              <a:rPr lang="nl-NL" sz="1100">
                <a:solidFill>
                  <a:schemeClr val="tx1">
                    <a:lumMod val="95000"/>
                    <a:lumOff val="5000"/>
                  </a:schemeClr>
                </a:solidFill>
                <a:latin typeface="Avenir Next LT Pro"/>
              </a:rPr>
              <a:t> sectors. </a:t>
            </a:r>
            <a:r>
              <a:rPr lang="nl-NL" sz="1100" err="1">
                <a:solidFill>
                  <a:schemeClr val="tx1">
                    <a:lumMod val="95000"/>
                    <a:lumOff val="5000"/>
                  </a:schemeClr>
                </a:solidFill>
                <a:latin typeface="Avenir Next LT Pro"/>
              </a:rPr>
              <a:t>She</a:t>
            </a:r>
            <a:r>
              <a:rPr lang="nl-NL" sz="1100">
                <a:solidFill>
                  <a:schemeClr val="tx1">
                    <a:lumMod val="95000"/>
                    <a:lumOff val="5000"/>
                  </a:schemeClr>
                </a:solidFill>
                <a:latin typeface="Avenir Next LT Pro"/>
              </a:rPr>
              <a:t> has a lot of FMCG </a:t>
            </a:r>
            <a:r>
              <a:rPr lang="nl-NL" sz="1100" err="1">
                <a:solidFill>
                  <a:schemeClr val="tx1">
                    <a:lumMod val="95000"/>
                    <a:lumOff val="5000"/>
                  </a:schemeClr>
                </a:solidFill>
                <a:latin typeface="Avenir Next LT Pro"/>
              </a:rPr>
              <a:t>experience</a:t>
            </a:r>
            <a:r>
              <a:rPr lang="nl-NL" sz="1100">
                <a:solidFill>
                  <a:schemeClr val="tx1">
                    <a:lumMod val="95000"/>
                    <a:lumOff val="5000"/>
                  </a:schemeClr>
                </a:solidFill>
                <a:latin typeface="Avenir Next LT Pro"/>
              </a:rPr>
              <a:t> (P&amp;G, Unilever, GSK), but her most relevant Beauty &amp; Fashion </a:t>
            </a:r>
            <a:r>
              <a:rPr lang="nl-NL" sz="1100" err="1">
                <a:solidFill>
                  <a:schemeClr val="tx1">
                    <a:lumMod val="95000"/>
                    <a:lumOff val="5000"/>
                  </a:schemeClr>
                </a:solidFill>
                <a:latin typeface="Avenir Next LT Pro"/>
              </a:rPr>
              <a:t>experience</a:t>
            </a:r>
            <a:r>
              <a:rPr lang="nl-NL" sz="1100">
                <a:solidFill>
                  <a:schemeClr val="tx1">
                    <a:lumMod val="95000"/>
                    <a:lumOff val="5000"/>
                  </a:schemeClr>
                </a:solidFill>
                <a:latin typeface="Avenir Next LT Pro"/>
              </a:rPr>
              <a:t> is </a:t>
            </a:r>
            <a:r>
              <a:rPr lang="nl-NL" sz="1100" err="1">
                <a:solidFill>
                  <a:schemeClr val="tx1">
                    <a:lumMod val="95000"/>
                    <a:lumOff val="5000"/>
                  </a:schemeClr>
                </a:solidFill>
                <a:latin typeface="Avenir Next LT Pro"/>
              </a:rPr>
              <a:t>for</a:t>
            </a:r>
            <a:r>
              <a:rPr lang="nl-NL" sz="1100">
                <a:solidFill>
                  <a:schemeClr val="tx1">
                    <a:lumMod val="95000"/>
                    <a:lumOff val="5000"/>
                  </a:schemeClr>
                </a:solidFill>
                <a:latin typeface="Avenir Next LT Pro"/>
              </a:rPr>
              <a:t>: </a:t>
            </a:r>
            <a:r>
              <a:rPr lang="nl-NL" sz="1100" err="1">
                <a:solidFill>
                  <a:schemeClr val="tx1">
                    <a:lumMod val="95000"/>
                    <a:lumOff val="5000"/>
                  </a:schemeClr>
                </a:solidFill>
                <a:latin typeface="Avenir Next LT Pro"/>
              </a:rPr>
              <a:t>Sephora</a:t>
            </a:r>
            <a:r>
              <a:rPr lang="nl-NL" sz="1100">
                <a:solidFill>
                  <a:schemeClr val="tx1">
                    <a:lumMod val="95000"/>
                    <a:lumOff val="5000"/>
                  </a:schemeClr>
                </a:solidFill>
                <a:latin typeface="Avenir Next LT Pro"/>
              </a:rPr>
              <a:t>, Johnson &amp; Johnson (</a:t>
            </a:r>
            <a:r>
              <a:rPr lang="nl-NL" sz="1100" err="1">
                <a:solidFill>
                  <a:schemeClr val="tx1">
                    <a:lumMod val="95000"/>
                    <a:lumOff val="5000"/>
                  </a:schemeClr>
                </a:solidFill>
                <a:latin typeface="Avenir Next LT Pro"/>
              </a:rPr>
              <a:t>Neutrogena</a:t>
            </a:r>
            <a:r>
              <a:rPr lang="nl-NL" sz="1100">
                <a:solidFill>
                  <a:schemeClr val="tx1">
                    <a:lumMod val="95000"/>
                    <a:lumOff val="5000"/>
                  </a:schemeClr>
                </a:solidFill>
                <a:latin typeface="Avenir Next LT Pro"/>
              </a:rPr>
              <a:t>, Clean &amp; </a:t>
            </a:r>
            <a:r>
              <a:rPr lang="nl-NL" sz="1100" err="1">
                <a:solidFill>
                  <a:schemeClr val="tx1">
                    <a:lumMod val="95000"/>
                    <a:lumOff val="5000"/>
                  </a:schemeClr>
                </a:solidFill>
                <a:latin typeface="Avenir Next LT Pro"/>
              </a:rPr>
              <a:t>Clear</a:t>
            </a:r>
            <a:r>
              <a:rPr lang="nl-NL" sz="1100">
                <a:solidFill>
                  <a:schemeClr val="tx1">
                    <a:lumMod val="95000"/>
                    <a:lumOff val="5000"/>
                  </a:schemeClr>
                </a:solidFill>
                <a:latin typeface="Avenir Next LT Pro"/>
              </a:rPr>
              <a:t>) </a:t>
            </a:r>
            <a:r>
              <a:rPr lang="nl-NL" sz="1100" err="1">
                <a:solidFill>
                  <a:schemeClr val="tx1">
                    <a:lumMod val="95000"/>
                    <a:lumOff val="5000"/>
                  </a:schemeClr>
                </a:solidFill>
                <a:latin typeface="Avenir Next LT Pro"/>
              </a:rPr>
              <a:t>and</a:t>
            </a:r>
            <a:r>
              <a:rPr lang="nl-NL" sz="1100">
                <a:solidFill>
                  <a:schemeClr val="tx1">
                    <a:lumMod val="95000"/>
                    <a:lumOff val="5000"/>
                  </a:schemeClr>
                </a:solidFill>
                <a:latin typeface="Avenir Next LT Pro"/>
              </a:rPr>
              <a:t> </a:t>
            </a:r>
            <a:r>
              <a:rPr lang="nl-NL" sz="1100" err="1">
                <a:solidFill>
                  <a:schemeClr val="tx1">
                    <a:lumMod val="95000"/>
                    <a:lumOff val="5000"/>
                  </a:schemeClr>
                </a:solidFill>
                <a:latin typeface="Avenir Next LT Pro"/>
              </a:rPr>
              <a:t>the</a:t>
            </a:r>
            <a:r>
              <a:rPr lang="nl-NL" sz="1100">
                <a:solidFill>
                  <a:schemeClr val="tx1">
                    <a:lumMod val="95000"/>
                    <a:lumOff val="5000"/>
                  </a:schemeClr>
                </a:solidFill>
                <a:latin typeface="Avenir Next LT Pro"/>
              </a:rPr>
              <a:t> </a:t>
            </a:r>
            <a:r>
              <a:rPr sz="1100">
                <a:solidFill>
                  <a:schemeClr val="tx1">
                    <a:lumMod val="95000"/>
                    <a:lumOff val="5000"/>
                  </a:schemeClr>
                </a:solidFill>
                <a:latin typeface="Avenir Next LT Pro"/>
              </a:rPr>
              <a:t>Fashion Retailer C&amp;A</a:t>
            </a:r>
            <a:r>
              <a:rPr lang="en-GB" sz="1100">
                <a:solidFill>
                  <a:schemeClr val="tx1">
                    <a:lumMod val="95000"/>
                    <a:lumOff val="5000"/>
                  </a:schemeClr>
                </a:solidFill>
                <a:latin typeface="Avenir Next LT Pro"/>
              </a:rPr>
              <a:t>. </a:t>
            </a:r>
            <a:endParaRPr sz="1100">
              <a:solidFill>
                <a:schemeClr val="tx1">
                  <a:lumMod val="95000"/>
                  <a:lumOff val="5000"/>
                </a:schemeClr>
              </a:solidFill>
              <a:latin typeface="Avenir Next LT Pro"/>
            </a:endParaRPr>
          </a:p>
        </p:txBody>
      </p:sp>
      <p:sp>
        <p:nvSpPr>
          <p:cNvPr id="14" name="Text Placeholder 11">
            <a:extLst>
              <a:ext uri="{FF2B5EF4-FFF2-40B4-BE49-F238E27FC236}">
                <a16:creationId xmlns:a16="http://schemas.microsoft.com/office/drawing/2014/main" id="{4180CB5B-83A3-2664-5C76-355A35423BFA}"/>
              </a:ext>
            </a:extLst>
          </p:cNvPr>
          <p:cNvSpPr txBox="1">
            <a:spLocks/>
          </p:cNvSpPr>
          <p:nvPr/>
        </p:nvSpPr>
        <p:spPr>
          <a:xfrm>
            <a:off x="4022496" y="5164634"/>
            <a:ext cx="3997446" cy="198272"/>
          </a:xfrm>
          <a:prstGeom prst="rect">
            <a:avLst/>
          </a:prstGeom>
        </p:spPr>
        <p:txBody>
          <a:bodyPr/>
          <a:lstStyle>
            <a:defPPr>
              <a:defRPr lang="en-BE"/>
            </a:defPPr>
            <a:lvl1pPr marR="0" lvl="0" indent="0" defTabSz="914355" fontAlgn="auto">
              <a:lnSpc>
                <a:spcPct val="106000"/>
              </a:lnSpc>
              <a:spcBef>
                <a:spcPts val="0"/>
              </a:spcBef>
              <a:spcAft>
                <a:spcPts val="0"/>
              </a:spcAft>
              <a:buClrTx/>
              <a:buSzTx/>
              <a:buFont typeface="Arial" panose="020B0604020202020204" pitchFamily="34" charset="0"/>
              <a:buNone/>
              <a:tabLst/>
              <a:defRPr kumimoji="0" b="1" i="0" u="none" strike="noStrike" cap="none" spc="-25" normalizeH="0" baseline="0">
                <a:ln>
                  <a:noFill/>
                </a:ln>
                <a:solidFill>
                  <a:srgbClr val="282830"/>
                </a:solidFill>
                <a:effectLst/>
                <a:uLnTx/>
                <a:uFillTx/>
                <a:latin typeface="AvenirNext LT Pro Bold" panose="020B0504020202020204" pitchFamily="34" charset="77"/>
                <a:cs typeface="Arial" panose="020B0604020202020204" pitchFamily="34" charset="0"/>
              </a:defRPr>
            </a:lvl1pPr>
            <a:lvl2pPr marL="1209600" indent="-561600" defTabSz="1828709">
              <a:lnSpc>
                <a:spcPct val="106000"/>
              </a:lnSpc>
              <a:spcBef>
                <a:spcPts val="2600"/>
              </a:spcBef>
              <a:spcAft>
                <a:spcPts val="0"/>
              </a:spcAft>
              <a:buSzPct val="80000"/>
              <a:buFont typeface="Courier New" panose="02070309020205020404" pitchFamily="49" charset="0"/>
              <a:buChar char="o"/>
              <a:tabLst/>
              <a:defRPr sz="3600" cap="none" spc="-50" baseline="0"/>
            </a:lvl2pPr>
            <a:lvl3pPr marL="0" indent="0" defTabSz="1828709">
              <a:lnSpc>
                <a:spcPct val="106000"/>
              </a:lnSpc>
              <a:spcBef>
                <a:spcPts val="0"/>
              </a:spcBef>
              <a:spcAft>
                <a:spcPts val="0"/>
              </a:spcAft>
              <a:buSzPct val="95000"/>
              <a:buFont typeface="System Font Regular"/>
              <a:buNone/>
              <a:tabLst/>
              <a:defRPr sz="3600" spc="-50" baseline="0"/>
            </a:lvl3pPr>
            <a:lvl4pPr marL="0" indent="0" defTabSz="1828709">
              <a:lnSpc>
                <a:spcPct val="106000"/>
              </a:lnSpc>
              <a:spcBef>
                <a:spcPts val="0"/>
              </a:spcBef>
              <a:spcAft>
                <a:spcPts val="0"/>
              </a:spcAft>
              <a:buFont typeface="Arial" panose="020B0604020202020204" pitchFamily="34" charset="0"/>
              <a:buNone/>
              <a:tabLst/>
              <a:defRPr sz="3600" spc="-50" baseline="0"/>
            </a:lvl4pPr>
            <a:lvl5pPr marL="0" indent="0" defTabSz="1828709">
              <a:lnSpc>
                <a:spcPct val="106000"/>
              </a:lnSpc>
              <a:spcBef>
                <a:spcPts val="0"/>
              </a:spcBef>
              <a:spcAft>
                <a:spcPts val="0"/>
              </a:spcAft>
              <a:buFont typeface="System Font Regular"/>
              <a:buNone/>
              <a:tabLst/>
              <a:defRPr sz="3600" b="0" i="0" spc="-50" baseline="0">
                <a:cs typeface="Toyota Type Semibold" panose="020B0502020202020204" pitchFamily="34" charset="0"/>
              </a:defRPr>
            </a:lvl5pPr>
            <a:lvl6pPr marL="0" indent="0" defTabSz="1828709">
              <a:lnSpc>
                <a:spcPct val="117000"/>
              </a:lnSpc>
              <a:spcBef>
                <a:spcPts val="0"/>
              </a:spcBef>
              <a:spcAft>
                <a:spcPts val="0"/>
              </a:spcAft>
              <a:buFont typeface="Arial" panose="020B0604020202020204" pitchFamily="34" charset="0"/>
              <a:buNone/>
              <a:tabLst/>
              <a:defRPr sz="2200"/>
            </a:lvl6pPr>
            <a:lvl7pPr marL="0" indent="0" defTabSz="1828709">
              <a:lnSpc>
                <a:spcPct val="117000"/>
              </a:lnSpc>
              <a:spcBef>
                <a:spcPts val="0"/>
              </a:spcBef>
              <a:spcAft>
                <a:spcPts val="0"/>
              </a:spcAft>
              <a:buFont typeface="Arial" panose="020B0604020202020204" pitchFamily="34" charset="0"/>
              <a:buNone/>
              <a:tabLst/>
              <a:defRPr sz="2200"/>
            </a:lvl7pPr>
            <a:lvl8pPr marL="0" indent="0" defTabSz="1828709">
              <a:lnSpc>
                <a:spcPct val="117000"/>
              </a:lnSpc>
              <a:spcBef>
                <a:spcPts val="0"/>
              </a:spcBef>
              <a:spcAft>
                <a:spcPts val="0"/>
              </a:spcAft>
              <a:buFont typeface="Arial" panose="020B0604020202020204" pitchFamily="34" charset="0"/>
              <a:buNone/>
              <a:tabLst/>
              <a:defRPr sz="2200"/>
            </a:lvl8pPr>
            <a:lvl9pPr marL="0" indent="0" defTabSz="1828709">
              <a:lnSpc>
                <a:spcPct val="117000"/>
              </a:lnSpc>
              <a:spcBef>
                <a:spcPts val="0"/>
              </a:spcBef>
              <a:spcAft>
                <a:spcPts val="0"/>
              </a:spcAft>
              <a:buFont typeface="Arial" panose="020B0604020202020204" pitchFamily="34" charset="0"/>
              <a:buNone/>
              <a:tabLst/>
              <a:defRPr sz="2200"/>
            </a:lvl9pPr>
          </a:lstStyle>
          <a:p>
            <a:r>
              <a:rPr lang="en-BE">
                <a:latin typeface="Avenir Next LT Pro" panose="020B0504020202020204" pitchFamily="34" charset="77"/>
              </a:rPr>
              <a:t>Relevant experience</a:t>
            </a:r>
          </a:p>
        </p:txBody>
      </p:sp>
      <p:pic>
        <p:nvPicPr>
          <p:cNvPr id="15" name="Picture 14">
            <a:extLst>
              <a:ext uri="{FF2B5EF4-FFF2-40B4-BE49-F238E27FC236}">
                <a16:creationId xmlns:a16="http://schemas.microsoft.com/office/drawing/2014/main" id="{A629747E-1B40-4DC5-FF87-B4C56CFAC8C2}"/>
              </a:ext>
            </a:extLst>
          </p:cNvPr>
          <p:cNvPicPr>
            <a:picLocks noChangeAspect="1"/>
          </p:cNvPicPr>
          <p:nvPr/>
        </p:nvPicPr>
        <p:blipFill>
          <a:blip r:embed="rId5"/>
          <a:stretch>
            <a:fillRect/>
          </a:stretch>
        </p:blipFill>
        <p:spPr>
          <a:xfrm>
            <a:off x="3793896" y="5225911"/>
            <a:ext cx="228600" cy="228600"/>
          </a:xfrm>
          <a:prstGeom prst="rect">
            <a:avLst/>
          </a:prstGeom>
        </p:spPr>
      </p:pic>
      <p:sp>
        <p:nvSpPr>
          <p:cNvPr id="16" name="Text Placeholder 4">
            <a:extLst>
              <a:ext uri="{FF2B5EF4-FFF2-40B4-BE49-F238E27FC236}">
                <a16:creationId xmlns:a16="http://schemas.microsoft.com/office/drawing/2014/main" id="{DACEC355-50AE-CE22-5777-31A9BDC1E451}"/>
              </a:ext>
            </a:extLst>
          </p:cNvPr>
          <p:cNvSpPr>
            <a:spLocks noGrp="1"/>
          </p:cNvSpPr>
          <p:nvPr>
            <p:ph type="body" sz="quarter" idx="13"/>
          </p:nvPr>
        </p:nvSpPr>
        <p:spPr>
          <a:xfrm>
            <a:off x="467441" y="3567907"/>
            <a:ext cx="3024311" cy="1988344"/>
          </a:xfrm>
        </p:spPr>
        <p:txBody>
          <a:bodyPr/>
          <a:lstStyle/>
          <a:p>
            <a:r>
              <a:rPr lang="en-GB">
                <a:latin typeface="Avenir Next LT Pro" panose="020B0504020202020204" pitchFamily="34" charset="77"/>
              </a:rPr>
              <a:t>“Happiness is about your </a:t>
            </a:r>
            <a:r>
              <a:rPr lang="en-GB">
                <a:solidFill>
                  <a:srgbClr val="DAC97F"/>
                </a:solidFill>
                <a:latin typeface="Avenir Next LT Pro" panose="020B0504020202020204" pitchFamily="34" charset="77"/>
              </a:rPr>
              <a:t>mindset</a:t>
            </a:r>
            <a:r>
              <a:rPr lang="en-GB">
                <a:latin typeface="Avenir Next LT Pro" panose="020B0504020202020204" pitchFamily="34" charset="77"/>
              </a:rPr>
              <a:t> and </a:t>
            </a:r>
            <a:r>
              <a:rPr lang="en-GB">
                <a:solidFill>
                  <a:srgbClr val="DAC97F"/>
                </a:solidFill>
                <a:latin typeface="Avenir Next LT Pro" panose="020B0504020202020204" pitchFamily="34" charset="77"/>
              </a:rPr>
              <a:t>appreciation</a:t>
            </a:r>
            <a:r>
              <a:rPr lang="en-GB">
                <a:latin typeface="Avenir Next LT Pro" panose="020B0504020202020204" pitchFamily="34" charset="77"/>
              </a:rPr>
              <a:t> of the people you surround yourself with”</a:t>
            </a:r>
          </a:p>
        </p:txBody>
      </p:sp>
      <mc:AlternateContent xmlns:mc="http://schemas.openxmlformats.org/markup-compatibility/2006">
        <mc:Choice xmlns:p14="http://schemas.microsoft.com/office/powerpoint/2010/main" Requires="p14">
          <p:contentPart p14:bwMode="auto" r:id="rId6">
            <p14:nvContentPartPr>
              <p14:cNvPr id="6" name="Inkt 5">
                <a:extLst>
                  <a:ext uri="{FF2B5EF4-FFF2-40B4-BE49-F238E27FC236}">
                    <a16:creationId xmlns:a16="http://schemas.microsoft.com/office/drawing/2014/main" id="{838DF938-710C-A7A2-A606-5A4174899604}"/>
                  </a:ext>
                </a:extLst>
              </p14:cNvPr>
              <p14:cNvContentPartPr/>
              <p14:nvPr/>
            </p14:nvContentPartPr>
            <p14:xfrm>
              <a:off x="5106789" y="1376790"/>
              <a:ext cx="13368" cy="13368"/>
            </p14:xfrm>
          </p:contentPart>
        </mc:Choice>
        <mc:Fallback>
          <p:pic>
            <p:nvPicPr>
              <p:cNvPr id="6" name="Inkt 5">
                <a:extLst>
                  <a:ext uri="{FF2B5EF4-FFF2-40B4-BE49-F238E27FC236}">
                    <a16:creationId xmlns:a16="http://schemas.microsoft.com/office/drawing/2014/main" id="{838DF938-710C-A7A2-A606-5A4174899604}"/>
                  </a:ext>
                </a:extLst>
              </p:cNvPr>
              <p:cNvPicPr/>
              <p:nvPr/>
            </p:nvPicPr>
            <p:blipFill>
              <a:blip r:embed="rId7"/>
              <a:stretch>
                <a:fillRect/>
              </a:stretch>
            </p:blipFill>
            <p:spPr>
              <a:xfrm>
                <a:off x="4438389" y="708390"/>
                <a:ext cx="1336800" cy="133680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10" name="Inkt 9">
                <a:extLst>
                  <a:ext uri="{FF2B5EF4-FFF2-40B4-BE49-F238E27FC236}">
                    <a16:creationId xmlns:a16="http://schemas.microsoft.com/office/drawing/2014/main" id="{49C3A992-C080-1C91-5A4A-30BCF68DC625}"/>
                  </a:ext>
                </a:extLst>
              </p14:cNvPr>
              <p14:cNvContentPartPr/>
              <p14:nvPr/>
            </p14:nvContentPartPr>
            <p14:xfrm>
              <a:off x="5069856" y="2411972"/>
              <a:ext cx="13368" cy="13368"/>
            </p14:xfrm>
          </p:contentPart>
        </mc:Choice>
        <mc:Fallback>
          <p:pic>
            <p:nvPicPr>
              <p:cNvPr id="10" name="Inkt 9">
                <a:extLst>
                  <a:ext uri="{FF2B5EF4-FFF2-40B4-BE49-F238E27FC236}">
                    <a16:creationId xmlns:a16="http://schemas.microsoft.com/office/drawing/2014/main" id="{49C3A992-C080-1C91-5A4A-30BCF68DC625}"/>
                  </a:ext>
                </a:extLst>
              </p:cNvPr>
              <p:cNvPicPr/>
              <p:nvPr/>
            </p:nvPicPr>
            <p:blipFill>
              <a:blip r:embed="rId9"/>
              <a:stretch>
                <a:fillRect/>
              </a:stretch>
            </p:blipFill>
            <p:spPr>
              <a:xfrm>
                <a:off x="4847056" y="2328422"/>
                <a:ext cx="454512" cy="178797"/>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11" name="Inkt 10">
                <a:extLst>
                  <a:ext uri="{FF2B5EF4-FFF2-40B4-BE49-F238E27FC236}">
                    <a16:creationId xmlns:a16="http://schemas.microsoft.com/office/drawing/2014/main" id="{F93DC9DE-E725-CAC5-3886-0845DE069C64}"/>
                  </a:ext>
                </a:extLst>
              </p14:cNvPr>
              <p14:cNvContentPartPr/>
              <p14:nvPr/>
            </p14:nvContentPartPr>
            <p14:xfrm>
              <a:off x="5050330" y="2525732"/>
              <a:ext cx="13368" cy="13368"/>
            </p14:xfrm>
          </p:contentPart>
        </mc:Choice>
        <mc:Fallback>
          <p:pic>
            <p:nvPicPr>
              <p:cNvPr id="11" name="Inkt 10">
                <a:extLst>
                  <a:ext uri="{FF2B5EF4-FFF2-40B4-BE49-F238E27FC236}">
                    <a16:creationId xmlns:a16="http://schemas.microsoft.com/office/drawing/2014/main" id="{F93DC9DE-E725-CAC5-3886-0845DE069C64}"/>
                  </a:ext>
                </a:extLst>
              </p:cNvPr>
              <p:cNvPicPr/>
              <p:nvPr/>
            </p:nvPicPr>
            <p:blipFill>
              <a:blip r:embed="rId11"/>
              <a:stretch>
                <a:fillRect/>
              </a:stretch>
            </p:blipFill>
            <p:spPr>
              <a:xfrm>
                <a:off x="4989566" y="2470032"/>
                <a:ext cx="133680" cy="123654"/>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13" name="Inkt 12">
                <a:extLst>
                  <a:ext uri="{FF2B5EF4-FFF2-40B4-BE49-F238E27FC236}">
                    <a16:creationId xmlns:a16="http://schemas.microsoft.com/office/drawing/2014/main" id="{2144DE1D-94C5-5C7E-3400-72974CD479BC}"/>
                  </a:ext>
                </a:extLst>
              </p14:cNvPr>
              <p14:cNvContentPartPr/>
              <p14:nvPr/>
            </p14:nvContentPartPr>
            <p14:xfrm>
              <a:off x="4815817" y="3451630"/>
              <a:ext cx="13368" cy="13368"/>
            </p14:xfrm>
          </p:contentPart>
        </mc:Choice>
        <mc:Fallback>
          <p:pic>
            <p:nvPicPr>
              <p:cNvPr id="13" name="Inkt 12">
                <a:extLst>
                  <a:ext uri="{FF2B5EF4-FFF2-40B4-BE49-F238E27FC236}">
                    <a16:creationId xmlns:a16="http://schemas.microsoft.com/office/drawing/2014/main" id="{2144DE1D-94C5-5C7E-3400-72974CD479BC}"/>
                  </a:ext>
                </a:extLst>
              </p:cNvPr>
              <p:cNvPicPr/>
              <p:nvPr/>
            </p:nvPicPr>
            <p:blipFill>
              <a:blip r:embed="rId13"/>
              <a:stretch>
                <a:fillRect/>
              </a:stretch>
            </p:blipFill>
            <p:spPr>
              <a:xfrm>
                <a:off x="4760117" y="3425922"/>
                <a:ext cx="123654" cy="64269"/>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17" name="Inkt 16">
                <a:extLst>
                  <a:ext uri="{FF2B5EF4-FFF2-40B4-BE49-F238E27FC236}">
                    <a16:creationId xmlns:a16="http://schemas.microsoft.com/office/drawing/2014/main" id="{755135C9-A5BB-14D4-2865-CCFAD0F686CF}"/>
                  </a:ext>
                </a:extLst>
              </p14:cNvPr>
              <p14:cNvContentPartPr/>
              <p14:nvPr/>
            </p14:nvContentPartPr>
            <p14:xfrm>
              <a:off x="-1133809" y="5078538"/>
              <a:ext cx="13368" cy="13368"/>
            </p14:xfrm>
          </p:contentPart>
        </mc:Choice>
        <mc:Fallback>
          <p:pic>
            <p:nvPicPr>
              <p:cNvPr id="17" name="Inkt 16">
                <a:extLst>
                  <a:ext uri="{FF2B5EF4-FFF2-40B4-BE49-F238E27FC236}">
                    <a16:creationId xmlns:a16="http://schemas.microsoft.com/office/drawing/2014/main" id="{755135C9-A5BB-14D4-2865-CCFAD0F686CF}"/>
                  </a:ext>
                </a:extLst>
              </p:cNvPr>
              <p:cNvPicPr/>
              <p:nvPr/>
            </p:nvPicPr>
            <p:blipFill>
              <a:blip r:embed="rId7"/>
              <a:stretch>
                <a:fillRect/>
              </a:stretch>
            </p:blipFill>
            <p:spPr>
              <a:xfrm>
                <a:off x="-1802209" y="4410138"/>
                <a:ext cx="1336800" cy="1336800"/>
              </a:xfrm>
              <a:prstGeom prst="rect">
                <a:avLst/>
              </a:prstGeom>
            </p:spPr>
          </p:pic>
        </mc:Fallback>
      </mc:AlternateContent>
    </p:spTree>
    <p:extLst>
      <p:ext uri="{BB962C8B-B14F-4D97-AF65-F5344CB8AC3E}">
        <p14:creationId xmlns:p14="http://schemas.microsoft.com/office/powerpoint/2010/main" val="1452127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58EBF30-AA74-94FB-6EEF-F3C8E982D276}"/>
              </a:ext>
            </a:extLst>
          </p:cNvPr>
          <p:cNvSpPr>
            <a:spLocks noGrp="1"/>
          </p:cNvSpPr>
          <p:nvPr>
            <p:ph type="body" sz="quarter" idx="18"/>
          </p:nvPr>
        </p:nvSpPr>
        <p:spPr/>
        <p:txBody>
          <a:bodyPr lIns="91440" tIns="45720" rIns="91440" bIns="45720" anchor="ctr"/>
          <a:lstStyle/>
          <a:p>
            <a:r>
              <a:rPr lang="nl-NL" sz="12000" b="0" i="1">
                <a:gradFill>
                  <a:gsLst>
                    <a:gs pos="100000">
                      <a:srgbClr val="B89B57"/>
                    </a:gs>
                    <a:gs pos="0">
                      <a:srgbClr val="B89B57"/>
                    </a:gs>
                    <a:gs pos="50000">
                      <a:srgbClr val="DCD081"/>
                    </a:gs>
                  </a:gsLst>
                  <a:lin ang="2700000" scaled="1"/>
                </a:gradFill>
                <a:latin typeface="Bodoni MT Black"/>
              </a:rPr>
              <a:t>Hallo!</a:t>
            </a:r>
          </a:p>
        </p:txBody>
      </p:sp>
    </p:spTree>
    <p:extLst>
      <p:ext uri="{BB962C8B-B14F-4D97-AF65-F5344CB8AC3E}">
        <p14:creationId xmlns:p14="http://schemas.microsoft.com/office/powerpoint/2010/main" val="34819296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39E62-B89D-5546-1139-5BA0ADB0423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A07B0460-A040-96BE-A5F0-9D2C485E11F8}"/>
              </a:ext>
            </a:extLst>
          </p:cNvPr>
          <p:cNvSpPr>
            <a:spLocks noGrp="1"/>
          </p:cNvSpPr>
          <p:nvPr>
            <p:ph type="body" sz="quarter" idx="11"/>
          </p:nvPr>
        </p:nvSpPr>
        <p:spPr>
          <a:xfrm>
            <a:off x="3793895" y="560957"/>
            <a:ext cx="7805783" cy="654844"/>
          </a:xfrm>
        </p:spPr>
        <p:txBody>
          <a:bodyPr lIns="91440" tIns="45720" rIns="91440" bIns="45720" anchor="t"/>
          <a:lstStyle/>
          <a:p>
            <a:r>
              <a:rPr lang="en-GB">
                <a:latin typeface="AvenirNext LT Pro Bold"/>
                <a:cs typeface="Arial"/>
              </a:rPr>
              <a:t>Meet </a:t>
            </a:r>
            <a:r>
              <a:rPr lang="en-GB" sz="4800" b="0">
                <a:gradFill>
                  <a:gsLst>
                    <a:gs pos="100000">
                      <a:srgbClr val="B79E60"/>
                    </a:gs>
                    <a:gs pos="0">
                      <a:srgbClr val="B79E60"/>
                    </a:gs>
                    <a:gs pos="54000">
                      <a:srgbClr val="DFCF84"/>
                    </a:gs>
                  </a:gsLst>
                  <a:lin ang="2700000" scaled="0"/>
                </a:gradFill>
                <a:latin typeface="Bodoni MT"/>
                <a:cs typeface="Arial"/>
              </a:rPr>
              <a:t>Mattias Vermeire</a:t>
            </a:r>
          </a:p>
        </p:txBody>
      </p:sp>
      <p:sp>
        <p:nvSpPr>
          <p:cNvPr id="4" name="Text Placeholder 3">
            <a:extLst>
              <a:ext uri="{FF2B5EF4-FFF2-40B4-BE49-F238E27FC236}">
                <a16:creationId xmlns:a16="http://schemas.microsoft.com/office/drawing/2014/main" id="{F3114F33-C696-9DCB-FCF9-F2184031CAD5}"/>
              </a:ext>
            </a:extLst>
          </p:cNvPr>
          <p:cNvSpPr>
            <a:spLocks noGrp="1"/>
          </p:cNvSpPr>
          <p:nvPr>
            <p:ph type="body" sz="quarter" idx="12"/>
          </p:nvPr>
        </p:nvSpPr>
        <p:spPr>
          <a:xfrm>
            <a:off x="3793897" y="1146962"/>
            <a:ext cx="8056233" cy="475343"/>
          </a:xfrm>
        </p:spPr>
        <p:txBody>
          <a:bodyPr/>
          <a:lstStyle/>
          <a:p>
            <a:r>
              <a:rPr lang="en-GB">
                <a:latin typeface="Avenir Next LT Pro" panose="020B0504020202020204" pitchFamily="34" charset="77"/>
              </a:rPr>
              <a:t>Business / Account Director &amp; Partner</a:t>
            </a:r>
          </a:p>
        </p:txBody>
      </p:sp>
      <p:sp>
        <p:nvSpPr>
          <p:cNvPr id="16" name="Text Placeholder 4">
            <a:extLst>
              <a:ext uri="{FF2B5EF4-FFF2-40B4-BE49-F238E27FC236}">
                <a16:creationId xmlns:a16="http://schemas.microsoft.com/office/drawing/2014/main" id="{641AAF74-0B5A-BEA1-04A7-4F98ECFC13D4}"/>
              </a:ext>
            </a:extLst>
          </p:cNvPr>
          <p:cNvSpPr>
            <a:spLocks noGrp="1"/>
          </p:cNvSpPr>
          <p:nvPr>
            <p:ph type="body" sz="quarter" idx="13"/>
          </p:nvPr>
        </p:nvSpPr>
        <p:spPr>
          <a:xfrm>
            <a:off x="184727" y="3567907"/>
            <a:ext cx="3307025" cy="1988344"/>
          </a:xfrm>
        </p:spPr>
        <p:txBody>
          <a:bodyPr/>
          <a:lstStyle/>
          <a:p>
            <a:r>
              <a:rPr lang="en-GB">
                <a:latin typeface="Avenir Next LT Pro" panose="020B0504020202020204" pitchFamily="34" charset="77"/>
              </a:rPr>
              <a:t>“Everything is </a:t>
            </a:r>
            <a:r>
              <a:rPr lang="en-GB">
                <a:solidFill>
                  <a:srgbClr val="DAC97F"/>
                </a:solidFill>
                <a:latin typeface="Avenir Next LT Pro" panose="020B0504020202020204" pitchFamily="34" charset="77"/>
              </a:rPr>
              <a:t>connected</a:t>
            </a:r>
            <a:r>
              <a:rPr lang="en-GB">
                <a:latin typeface="Avenir Next LT Pro" panose="020B0504020202020204" pitchFamily="34" charset="77"/>
              </a:rPr>
              <a:t>.”</a:t>
            </a:r>
          </a:p>
        </p:txBody>
      </p:sp>
      <p:pic>
        <p:nvPicPr>
          <p:cNvPr id="2" name="Picture Placeholder 20">
            <a:extLst>
              <a:ext uri="{FF2B5EF4-FFF2-40B4-BE49-F238E27FC236}">
                <a16:creationId xmlns:a16="http://schemas.microsoft.com/office/drawing/2014/main" id="{0CF354DD-73A0-2C04-C125-5B510E93A950}"/>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a:xfrm>
            <a:off x="592321" y="560957"/>
            <a:ext cx="2774553" cy="2774373"/>
          </a:xfrm>
        </p:spPr>
      </p:pic>
      <p:sp>
        <p:nvSpPr>
          <p:cNvPr id="40" name="Text Placeholder 17">
            <a:extLst>
              <a:ext uri="{FF2B5EF4-FFF2-40B4-BE49-F238E27FC236}">
                <a16:creationId xmlns:a16="http://schemas.microsoft.com/office/drawing/2014/main" id="{AE770019-F014-77D1-E932-0CF8EE275113}"/>
              </a:ext>
            </a:extLst>
          </p:cNvPr>
          <p:cNvSpPr txBox="1">
            <a:spLocks/>
          </p:cNvSpPr>
          <p:nvPr/>
        </p:nvSpPr>
        <p:spPr>
          <a:xfrm>
            <a:off x="4151829" y="2563384"/>
            <a:ext cx="3137263" cy="3282415"/>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None/>
              <a:tabLst>
                <a:tab pos="88107" algn="l"/>
              </a:tabLst>
              <a:defRPr/>
            </a:pPr>
            <a:r>
              <a:rPr kumimoji="0" lang="en-GB" sz="1200" b="1" i="0" u="none" strike="noStrike" kern="1200" cap="none" spc="0" normalizeH="0" baseline="0" noProof="0">
                <a:ln>
                  <a:noFill/>
                </a:ln>
                <a:solidFill>
                  <a:srgbClr val="282830"/>
                </a:solidFill>
                <a:effectLst/>
                <a:uLnTx/>
                <a:uFillTx/>
                <a:latin typeface="Avenir Next LT Pro" panose="020B0504020202020204" pitchFamily="34" charset="77"/>
              </a:rPr>
              <a:t>Business Director</a:t>
            </a:r>
          </a:p>
          <a:p>
            <a:pPr marL="0" marR="0" lvl="0" indent="0" algn="l" defTabSz="914355" rtl="0" eaLnBrk="1" fontAlgn="auto" latinLnBrk="0" hangingPunct="1">
              <a:lnSpc>
                <a:spcPct val="100000"/>
              </a:lnSpc>
              <a:spcBef>
                <a:spcPts val="0"/>
              </a:spcBef>
              <a:spcAft>
                <a:spcPts val="0"/>
              </a:spcAft>
              <a:buClr>
                <a:srgbClr val="FFFFFF"/>
              </a:buClr>
              <a:buSzTx/>
              <a:buNone/>
              <a:tabLst>
                <a:tab pos="88107" algn="l"/>
                <a:tab pos="172244" algn="l"/>
              </a:tabLst>
              <a:defRPr/>
            </a:pPr>
            <a:r>
              <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rPr>
              <a:t>2019 - present | Happiness</a:t>
            </a:r>
          </a:p>
          <a:p>
            <a:pPr marL="0" indent="0" defTabSz="914355">
              <a:lnSpc>
                <a:spcPct val="100000"/>
              </a:lnSpc>
              <a:buClr>
                <a:srgbClr val="FFFFFF"/>
              </a:buClr>
              <a:buNone/>
              <a:tabLst>
                <a:tab pos="88107" algn="l"/>
                <a:tab pos="172244" algn="l"/>
              </a:tabLst>
              <a:defRPr/>
            </a:pPr>
            <a:endParaRPr kumimoji="0" lang="en-GB" sz="11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marR="0" lvl="0" indent="0" algn="l" defTabSz="914355" rtl="0" eaLnBrk="1" fontAlgn="auto" latinLnBrk="0" hangingPunct="1">
              <a:lnSpc>
                <a:spcPct val="100000"/>
              </a:lnSpc>
              <a:spcBef>
                <a:spcPts val="0"/>
              </a:spcBef>
              <a:spcAft>
                <a:spcPts val="0"/>
              </a:spcAft>
              <a:buClrTx/>
              <a:buSzTx/>
              <a:buNone/>
              <a:tabLst>
                <a:tab pos="88107" algn="l"/>
              </a:tabLst>
              <a:defRPr/>
            </a:pPr>
            <a:r>
              <a:rPr kumimoji="0" lang="en-GB" sz="1200" b="1" i="0" u="none" strike="noStrike" kern="1200" cap="none" spc="0" normalizeH="0" baseline="0" noProof="0">
                <a:ln>
                  <a:noFill/>
                </a:ln>
                <a:solidFill>
                  <a:srgbClr val="282830"/>
                </a:solidFill>
                <a:effectLst/>
                <a:uLnTx/>
                <a:uFillTx/>
                <a:latin typeface="Avenir Next LT Pro" panose="020B0504020202020204" pitchFamily="34" charset="77"/>
              </a:rPr>
              <a:t>Account Director</a:t>
            </a:r>
          </a:p>
          <a:p>
            <a:pPr marL="0" marR="0" lvl="0" indent="0" algn="l" defTabSz="914355" rtl="0" eaLnBrk="1" fontAlgn="auto" latinLnBrk="0" hangingPunct="1">
              <a:lnSpc>
                <a:spcPct val="100000"/>
              </a:lnSpc>
              <a:spcBef>
                <a:spcPts val="0"/>
              </a:spcBef>
              <a:spcAft>
                <a:spcPts val="0"/>
              </a:spcAft>
              <a:buClr>
                <a:srgbClr val="FFFFFF"/>
              </a:buClr>
              <a:buSzTx/>
              <a:buNone/>
              <a:tabLst>
                <a:tab pos="88107" algn="l"/>
                <a:tab pos="172244" algn="l"/>
              </a:tabLst>
              <a:defRPr/>
            </a:pPr>
            <a:r>
              <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rPr>
              <a:t>2015 - 2019 | Publicis Brussels</a:t>
            </a:r>
            <a:br>
              <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rPr>
            </a:br>
            <a:endPar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marR="0" lvl="0" indent="0" algn="l" defTabSz="914355" rtl="0" eaLnBrk="1" fontAlgn="auto" latinLnBrk="0" hangingPunct="1">
              <a:lnSpc>
                <a:spcPct val="100000"/>
              </a:lnSpc>
              <a:spcBef>
                <a:spcPts val="0"/>
              </a:spcBef>
              <a:spcAft>
                <a:spcPts val="0"/>
              </a:spcAft>
              <a:buClrTx/>
              <a:buSzTx/>
              <a:buNone/>
              <a:tabLst>
                <a:tab pos="88107" algn="l"/>
              </a:tabLst>
              <a:defRPr/>
            </a:pPr>
            <a:r>
              <a:rPr kumimoji="0" lang="en-GB" sz="1200" b="1" i="0" u="none" strike="noStrike" kern="1200" cap="none" spc="0" normalizeH="0" baseline="0" noProof="0">
                <a:ln>
                  <a:noFill/>
                </a:ln>
                <a:solidFill>
                  <a:srgbClr val="282830"/>
                </a:solidFill>
                <a:effectLst/>
                <a:uLnTx/>
                <a:uFillTx/>
                <a:latin typeface="Avenir Next LT Pro" panose="020B0504020202020204" pitchFamily="34" charset="77"/>
              </a:rPr>
              <a:t>International Client Manager</a:t>
            </a:r>
          </a:p>
          <a:p>
            <a:pPr marL="0" marR="0" lvl="0" indent="0" algn="l" defTabSz="914355" rtl="0" eaLnBrk="1" fontAlgn="auto" latinLnBrk="0" hangingPunct="1">
              <a:lnSpc>
                <a:spcPct val="100000"/>
              </a:lnSpc>
              <a:spcBef>
                <a:spcPts val="0"/>
              </a:spcBef>
              <a:spcAft>
                <a:spcPts val="0"/>
              </a:spcAft>
              <a:buClr>
                <a:srgbClr val="FFFFFF"/>
              </a:buClr>
              <a:buSzTx/>
              <a:buNone/>
              <a:tabLst>
                <a:tab pos="88107" algn="l"/>
                <a:tab pos="172244" algn="l"/>
              </a:tabLst>
              <a:defRPr/>
            </a:pPr>
            <a:r>
              <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rPr>
              <a:t>2012 - 2015 | </a:t>
            </a:r>
            <a:r>
              <a:rPr kumimoji="0" lang="en-GB" sz="1200" b="0" i="0" u="none" strike="noStrike" kern="1200" cap="none" spc="0" normalizeH="0" baseline="0" noProof="0" err="1">
                <a:ln>
                  <a:noFill/>
                </a:ln>
                <a:solidFill>
                  <a:srgbClr val="8A8B90"/>
                </a:solidFill>
                <a:effectLst/>
                <a:uLnTx/>
                <a:uFillTx/>
                <a:latin typeface="Avenir Next LT Pro" panose="020B0504020202020204" pitchFamily="34" charset="77"/>
              </a:rPr>
              <a:t>Emakina</a:t>
            </a:r>
            <a:br>
              <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rPr>
            </a:br>
            <a:endPar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marR="0" lvl="0" indent="0" algn="l" defTabSz="914355" rtl="0" eaLnBrk="1" fontAlgn="auto" latinLnBrk="0" hangingPunct="1">
              <a:lnSpc>
                <a:spcPct val="100000"/>
              </a:lnSpc>
              <a:spcBef>
                <a:spcPts val="0"/>
              </a:spcBef>
              <a:spcAft>
                <a:spcPts val="0"/>
              </a:spcAft>
              <a:buClrTx/>
              <a:buSzTx/>
              <a:buNone/>
              <a:tabLst>
                <a:tab pos="88107" algn="l"/>
              </a:tabLst>
              <a:defRPr/>
            </a:pPr>
            <a:r>
              <a:rPr kumimoji="0" lang="en-GB" sz="1200" b="1" i="0" u="none" strike="noStrike" kern="1200" cap="none" spc="0" normalizeH="0" baseline="0" noProof="0">
                <a:ln>
                  <a:noFill/>
                </a:ln>
                <a:solidFill>
                  <a:srgbClr val="282830"/>
                </a:solidFill>
                <a:effectLst/>
                <a:uLnTx/>
                <a:uFillTx/>
                <a:latin typeface="Avenir Next LT Pro" panose="020B0504020202020204" pitchFamily="34" charset="77"/>
              </a:rPr>
              <a:t>Account Manager </a:t>
            </a:r>
          </a:p>
          <a:p>
            <a:pPr marL="0" marR="0" lvl="0" indent="0" algn="l" defTabSz="914355" rtl="0" eaLnBrk="1" fontAlgn="auto" latinLnBrk="0" hangingPunct="1">
              <a:lnSpc>
                <a:spcPct val="100000"/>
              </a:lnSpc>
              <a:spcBef>
                <a:spcPts val="0"/>
              </a:spcBef>
              <a:spcAft>
                <a:spcPts val="0"/>
              </a:spcAft>
              <a:buClr>
                <a:srgbClr val="FFFFFF"/>
              </a:buClr>
              <a:buSzTx/>
              <a:buNone/>
              <a:tabLst>
                <a:tab pos="88107" algn="l"/>
                <a:tab pos="172244" algn="l"/>
              </a:tabLst>
              <a:defRPr/>
            </a:pPr>
            <a:r>
              <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rPr>
              <a:t>2011 - 2012 | </a:t>
            </a:r>
            <a:r>
              <a:rPr kumimoji="0" lang="en-GB" sz="1200" b="0" i="0" u="none" strike="noStrike" kern="1200" cap="none" spc="0" normalizeH="0" baseline="0" noProof="0" err="1">
                <a:ln>
                  <a:noFill/>
                </a:ln>
                <a:solidFill>
                  <a:srgbClr val="8A8B90"/>
                </a:solidFill>
                <a:effectLst/>
                <a:uLnTx/>
                <a:uFillTx/>
                <a:latin typeface="Avenir Next LT Pro" panose="020B0504020202020204" pitchFamily="34" charset="77"/>
              </a:rPr>
              <a:t>Kunstmaan</a:t>
            </a:r>
            <a:br>
              <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rPr>
            </a:br>
            <a:endPar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marR="0" lvl="0" indent="0" algn="l" defTabSz="914355" rtl="0" eaLnBrk="1" fontAlgn="auto" latinLnBrk="0" hangingPunct="1">
              <a:lnSpc>
                <a:spcPct val="100000"/>
              </a:lnSpc>
              <a:spcBef>
                <a:spcPts val="0"/>
              </a:spcBef>
              <a:spcAft>
                <a:spcPts val="0"/>
              </a:spcAft>
              <a:buClrTx/>
              <a:buSzTx/>
              <a:buNone/>
              <a:tabLst>
                <a:tab pos="88107" algn="l"/>
              </a:tabLst>
              <a:defRPr/>
            </a:pPr>
            <a:r>
              <a:rPr kumimoji="0" lang="en-GB" sz="1200" b="1" i="0" u="none" strike="noStrike" kern="1200" cap="none" spc="0" normalizeH="0" baseline="0" noProof="0">
                <a:ln>
                  <a:noFill/>
                </a:ln>
                <a:solidFill>
                  <a:srgbClr val="282830"/>
                </a:solidFill>
                <a:effectLst/>
                <a:uLnTx/>
                <a:uFillTx/>
                <a:latin typeface="Avenir Next LT Pro" panose="020B0504020202020204" pitchFamily="34" charset="77"/>
              </a:rPr>
              <a:t>Account Manager </a:t>
            </a:r>
          </a:p>
          <a:p>
            <a:pPr marL="0" marR="0" lvl="0" indent="0" algn="l" defTabSz="914355" rtl="0" eaLnBrk="1" fontAlgn="auto" latinLnBrk="0" hangingPunct="1">
              <a:lnSpc>
                <a:spcPct val="100000"/>
              </a:lnSpc>
              <a:spcBef>
                <a:spcPts val="0"/>
              </a:spcBef>
              <a:spcAft>
                <a:spcPts val="0"/>
              </a:spcAft>
              <a:buClr>
                <a:srgbClr val="FFFFFF"/>
              </a:buClr>
              <a:buSzTx/>
              <a:buNone/>
              <a:tabLst>
                <a:tab pos="88107" algn="l"/>
                <a:tab pos="172244" algn="l"/>
              </a:tabLst>
              <a:defRPr/>
            </a:pPr>
            <a:r>
              <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rPr>
              <a:t>2007 - 2011 | </a:t>
            </a:r>
            <a:r>
              <a:rPr kumimoji="0" lang="en-GB" sz="1200" b="0" i="0" u="none" strike="noStrike" kern="1200" cap="none" spc="0" normalizeH="0" baseline="0" noProof="0" err="1">
                <a:ln>
                  <a:noFill/>
                </a:ln>
                <a:solidFill>
                  <a:srgbClr val="8A8B90"/>
                </a:solidFill>
                <a:effectLst/>
                <a:uLnTx/>
                <a:uFillTx/>
                <a:latin typeface="Avenir Next LT Pro" panose="020B0504020202020204" pitchFamily="34" charset="77"/>
              </a:rPr>
              <a:t>Wanabe</a:t>
            </a:r>
            <a:br>
              <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rPr>
            </a:br>
            <a:r>
              <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rPr>
              <a:t> </a:t>
            </a:r>
          </a:p>
          <a:p>
            <a:pPr marL="0" marR="0" lvl="0" indent="0" algn="l" defTabSz="914355" rtl="0" eaLnBrk="1" fontAlgn="auto" latinLnBrk="0" hangingPunct="1">
              <a:lnSpc>
                <a:spcPct val="100000"/>
              </a:lnSpc>
              <a:spcBef>
                <a:spcPts val="0"/>
              </a:spcBef>
              <a:spcAft>
                <a:spcPts val="0"/>
              </a:spcAft>
              <a:buClrTx/>
              <a:buSzTx/>
              <a:buNone/>
              <a:tabLst>
                <a:tab pos="88107" algn="l"/>
              </a:tabLst>
              <a:defRPr/>
            </a:pPr>
            <a:r>
              <a:rPr kumimoji="0" lang="en-GB" sz="1200" b="1" i="0" u="none" strike="noStrike" kern="1200" cap="none" spc="0" normalizeH="0" baseline="0" noProof="0">
                <a:ln>
                  <a:noFill/>
                </a:ln>
                <a:solidFill>
                  <a:srgbClr val="282830"/>
                </a:solidFill>
                <a:effectLst/>
                <a:uLnTx/>
                <a:uFillTx/>
                <a:latin typeface="Avenir Next LT Pro" panose="020B0504020202020204" pitchFamily="34" charset="77"/>
              </a:rPr>
              <a:t>Account Executive </a:t>
            </a:r>
          </a:p>
          <a:p>
            <a:pPr marL="0" marR="0" lvl="0" indent="0" algn="l" defTabSz="914355" rtl="0" eaLnBrk="1" fontAlgn="auto" latinLnBrk="0" hangingPunct="1">
              <a:lnSpc>
                <a:spcPct val="100000"/>
              </a:lnSpc>
              <a:spcBef>
                <a:spcPts val="0"/>
              </a:spcBef>
              <a:spcAft>
                <a:spcPts val="0"/>
              </a:spcAft>
              <a:buClr>
                <a:srgbClr val="FFFFFF"/>
              </a:buClr>
              <a:buSzTx/>
              <a:buNone/>
              <a:tabLst>
                <a:tab pos="88107" algn="l"/>
                <a:tab pos="172244" algn="l"/>
              </a:tabLst>
              <a:defRPr/>
            </a:pPr>
            <a:r>
              <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rPr>
              <a:t>2006 - 2007 | ARC Worldwide </a:t>
            </a:r>
          </a:p>
          <a:p>
            <a:pPr marL="0" marR="0" lvl="0" indent="0" algn="l" defTabSz="914355" rtl="0" eaLnBrk="1" fontAlgn="auto" latinLnBrk="0" hangingPunct="1">
              <a:lnSpc>
                <a:spcPct val="100000"/>
              </a:lnSpc>
              <a:spcBef>
                <a:spcPts val="0"/>
              </a:spcBef>
              <a:spcAft>
                <a:spcPts val="0"/>
              </a:spcAft>
              <a:buClr>
                <a:srgbClr val="FFFFFF"/>
              </a:buClr>
              <a:buSzTx/>
              <a:buNone/>
              <a:tabLst>
                <a:tab pos="88107" algn="l"/>
                <a:tab pos="172244" algn="l"/>
              </a:tabLst>
              <a:defRPr/>
            </a:pPr>
            <a:endPar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indent="0" defTabSz="914355">
              <a:lnSpc>
                <a:spcPct val="100000"/>
              </a:lnSpc>
              <a:buClr>
                <a:srgbClr val="FFFFFF"/>
              </a:buClr>
              <a:buNone/>
              <a:tabLst>
                <a:tab pos="88107" algn="l"/>
                <a:tab pos="172244" algn="l"/>
              </a:tabLst>
              <a:defRPr/>
            </a:pPr>
            <a:endPar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marR="0" lvl="0" indent="0" algn="l" defTabSz="914355" rtl="0" eaLnBrk="1" fontAlgn="auto" latinLnBrk="0" hangingPunct="1">
              <a:lnSpc>
                <a:spcPct val="100000"/>
              </a:lnSpc>
              <a:spcBef>
                <a:spcPts val="0"/>
              </a:spcBef>
              <a:spcAft>
                <a:spcPts val="0"/>
              </a:spcAft>
              <a:buClr>
                <a:srgbClr val="FFFFFF"/>
              </a:buClr>
              <a:buSzTx/>
              <a:buNone/>
              <a:tabLst>
                <a:tab pos="88107" algn="l"/>
                <a:tab pos="172244" algn="l"/>
              </a:tabLst>
              <a:defRPr/>
            </a:pPr>
            <a:endPar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marR="0" lvl="0" indent="0" algn="l" defTabSz="914355" rtl="0" eaLnBrk="1" fontAlgn="auto" latinLnBrk="0" hangingPunct="1">
              <a:lnSpc>
                <a:spcPct val="100000"/>
              </a:lnSpc>
              <a:spcBef>
                <a:spcPts val="0"/>
              </a:spcBef>
              <a:spcAft>
                <a:spcPts val="0"/>
              </a:spcAft>
              <a:buClr>
                <a:srgbClr val="FFFFFF"/>
              </a:buClr>
              <a:buSzTx/>
              <a:buNone/>
              <a:tabLst>
                <a:tab pos="88107" algn="l"/>
                <a:tab pos="172244" algn="l"/>
              </a:tabLst>
              <a:defRPr/>
            </a:pPr>
            <a:endPar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indent="0" defTabSz="914355">
              <a:lnSpc>
                <a:spcPct val="100000"/>
              </a:lnSpc>
              <a:buClr>
                <a:srgbClr val="FFFFFF"/>
              </a:buClr>
              <a:buNone/>
              <a:tabLst>
                <a:tab pos="88107" algn="l"/>
                <a:tab pos="172244" algn="l"/>
              </a:tabLst>
              <a:defRPr/>
            </a:pPr>
            <a:endPar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marR="0" lvl="0" indent="0" algn="l" defTabSz="914355" rtl="0" eaLnBrk="1" fontAlgn="auto" latinLnBrk="0" hangingPunct="1">
              <a:lnSpc>
                <a:spcPct val="100000"/>
              </a:lnSpc>
              <a:spcBef>
                <a:spcPts val="0"/>
              </a:spcBef>
              <a:spcAft>
                <a:spcPts val="0"/>
              </a:spcAft>
              <a:buClr>
                <a:srgbClr val="FFFFFF"/>
              </a:buClr>
              <a:buSzTx/>
              <a:buNone/>
              <a:tabLst>
                <a:tab pos="88107" algn="l"/>
                <a:tab pos="172244" algn="l"/>
              </a:tabLst>
              <a:defRPr/>
            </a:pPr>
            <a:endParaRPr kumimoji="0" lang="en-GB" sz="11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marR="0" lvl="0" indent="0" algn="l" defTabSz="914355" rtl="0" eaLnBrk="1" fontAlgn="auto" latinLnBrk="0" hangingPunct="1">
              <a:lnSpc>
                <a:spcPct val="100000"/>
              </a:lnSpc>
              <a:spcBef>
                <a:spcPts val="0"/>
              </a:spcBef>
              <a:spcAft>
                <a:spcPts val="0"/>
              </a:spcAft>
              <a:buClr>
                <a:srgbClr val="FFFFFF"/>
              </a:buClr>
              <a:buSzTx/>
              <a:buNone/>
              <a:tabLst>
                <a:tab pos="88107" algn="l"/>
                <a:tab pos="172244" algn="l"/>
              </a:tabLst>
              <a:defRPr/>
            </a:pPr>
            <a:endParaRPr kumimoji="0" lang="en-GB" sz="1300" b="1" i="0" u="none" strike="noStrike" kern="1200" cap="none" spc="0" normalizeH="0" baseline="0" noProof="0">
              <a:ln>
                <a:noFill/>
              </a:ln>
              <a:solidFill>
                <a:srgbClr val="282830"/>
              </a:solidFill>
              <a:effectLst/>
              <a:uLnTx/>
              <a:uFillTx/>
              <a:latin typeface="Avenir Next LT Pro" panose="020B0504020202020204" pitchFamily="34" charset="77"/>
            </a:endParaRPr>
          </a:p>
        </p:txBody>
      </p:sp>
      <p:sp>
        <p:nvSpPr>
          <p:cNvPr id="41" name="Text Placeholder 17">
            <a:extLst>
              <a:ext uri="{FF2B5EF4-FFF2-40B4-BE49-F238E27FC236}">
                <a16:creationId xmlns:a16="http://schemas.microsoft.com/office/drawing/2014/main" id="{2191F93D-554D-91F5-E12A-E2C3A48FBFF3}"/>
              </a:ext>
            </a:extLst>
          </p:cNvPr>
          <p:cNvSpPr txBox="1">
            <a:spLocks/>
          </p:cNvSpPr>
          <p:nvPr/>
        </p:nvSpPr>
        <p:spPr>
          <a:xfrm>
            <a:off x="7568967" y="2575556"/>
            <a:ext cx="2870087" cy="1755019"/>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tab pos="88107" algn="l"/>
              </a:tabLst>
              <a:defRPr/>
            </a:pPr>
            <a: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t>Mattias is fluent in Dutch, French </a:t>
            </a:r>
            <a:b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br>
            <a: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t>and English</a:t>
            </a:r>
          </a:p>
        </p:txBody>
      </p:sp>
      <p:sp>
        <p:nvSpPr>
          <p:cNvPr id="42" name="Text Placeholder 17">
            <a:extLst>
              <a:ext uri="{FF2B5EF4-FFF2-40B4-BE49-F238E27FC236}">
                <a16:creationId xmlns:a16="http://schemas.microsoft.com/office/drawing/2014/main" id="{6CC51049-A68D-5835-A65E-9F605B19E208}"/>
              </a:ext>
            </a:extLst>
          </p:cNvPr>
          <p:cNvSpPr txBox="1">
            <a:spLocks/>
          </p:cNvSpPr>
          <p:nvPr/>
        </p:nvSpPr>
        <p:spPr>
          <a:xfrm>
            <a:off x="7568967" y="3369406"/>
            <a:ext cx="3971506" cy="455194"/>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tab pos="88107" algn="l"/>
              </a:tabLst>
              <a:defRPr/>
            </a:pPr>
            <a: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t>1 Silver Effie – long term behavioural campaign</a:t>
            </a:r>
          </a:p>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tab pos="88107" algn="l"/>
              </a:tabLst>
              <a:defRPr/>
            </a:pPr>
            <a: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t>2 Cannes Lions</a:t>
            </a:r>
          </a:p>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tab pos="88107" algn="l"/>
              </a:tabLst>
              <a:defRPr/>
            </a:pPr>
            <a: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t>6 </a:t>
            </a:r>
            <a:r>
              <a:rPr kumimoji="0" lang="en-GB" sz="1200" b="0" i="0" u="none" strike="noStrike" kern="1200" cap="none" spc="0" normalizeH="0" baseline="0" noProof="0" err="1">
                <a:ln>
                  <a:noFill/>
                </a:ln>
                <a:solidFill>
                  <a:srgbClr val="282830"/>
                </a:solidFill>
                <a:effectLst/>
                <a:uLnTx/>
                <a:uFillTx/>
                <a:latin typeface="Avenir Next LT Pro" panose="020B0504020202020204" pitchFamily="34" charset="77"/>
              </a:rPr>
              <a:t>Mixx</a:t>
            </a:r>
            <a: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t> Awards </a:t>
            </a:r>
          </a:p>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tab pos="88107" algn="l"/>
              </a:tabLst>
              <a:defRPr/>
            </a:pPr>
            <a: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t>7 </a:t>
            </a:r>
            <a:r>
              <a:rPr kumimoji="0" lang="en-GB" sz="1200" b="0" i="0" u="none" strike="noStrike" kern="1200" cap="none" spc="0" normalizeH="0" baseline="0" noProof="0" err="1">
                <a:ln>
                  <a:noFill/>
                </a:ln>
                <a:solidFill>
                  <a:srgbClr val="282830"/>
                </a:solidFill>
                <a:effectLst/>
                <a:uLnTx/>
                <a:uFillTx/>
                <a:latin typeface="Avenir Next LT Pro" panose="020B0504020202020204" pitchFamily="34" charset="77"/>
              </a:rPr>
              <a:t>Eurobest</a:t>
            </a:r>
            <a: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t> Awards</a:t>
            </a:r>
          </a:p>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tab pos="88107" algn="l"/>
              </a:tabLst>
              <a:defRPr/>
            </a:pPr>
            <a:r>
              <a:rPr lang="en-GB" sz="1200" b="0" spc="0">
                <a:solidFill>
                  <a:srgbClr val="282830"/>
                </a:solidFill>
                <a:latin typeface="Avenir Next LT Pro" panose="020B0504020202020204" pitchFamily="34" charset="77"/>
              </a:rPr>
              <a:t>1 Gold Boa</a:t>
            </a:r>
            <a: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t> Award</a:t>
            </a:r>
          </a:p>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tab pos="88107" algn="l"/>
              </a:tabLst>
              <a:defRPr/>
            </a:pPr>
            <a:r>
              <a:rPr lang="en-GB" sz="1200" b="0" spc="0">
                <a:solidFill>
                  <a:srgbClr val="282830"/>
                </a:solidFill>
                <a:latin typeface="Avenir Next LT Pro" panose="020B0504020202020204" pitchFamily="34" charset="77"/>
              </a:rPr>
              <a:t>1 </a:t>
            </a:r>
            <a:r>
              <a:rPr lang="en-GB" sz="1200" b="0" spc="0" err="1">
                <a:solidFill>
                  <a:srgbClr val="282830"/>
                </a:solidFill>
                <a:latin typeface="Avenir Next LT Pro" panose="020B0504020202020204" pitchFamily="34" charset="77"/>
              </a:rPr>
              <a:t>Gerety</a:t>
            </a:r>
            <a:r>
              <a:rPr lang="en-GB" sz="1200" b="0" spc="0">
                <a:solidFill>
                  <a:srgbClr val="282830"/>
                </a:solidFill>
                <a:latin typeface="Avenir Next LT Pro" panose="020B0504020202020204" pitchFamily="34" charset="77"/>
              </a:rPr>
              <a:t> Award</a:t>
            </a:r>
            <a:br>
              <a:rPr lang="en-GB" sz="1200" b="0" spc="0">
                <a:solidFill>
                  <a:srgbClr val="282830"/>
                </a:solidFill>
                <a:latin typeface="Avenir Next LT Pro" panose="020B0504020202020204" pitchFamily="34" charset="77"/>
              </a:rPr>
            </a:br>
            <a:endPar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endParaRPr>
          </a:p>
        </p:txBody>
      </p:sp>
      <p:sp>
        <p:nvSpPr>
          <p:cNvPr id="44" name="Text Placeholder 11">
            <a:extLst>
              <a:ext uri="{FF2B5EF4-FFF2-40B4-BE49-F238E27FC236}">
                <a16:creationId xmlns:a16="http://schemas.microsoft.com/office/drawing/2014/main" id="{B6327D59-D9A9-7446-49B2-D8D214596700}"/>
              </a:ext>
            </a:extLst>
          </p:cNvPr>
          <p:cNvSpPr txBox="1">
            <a:spLocks/>
          </p:cNvSpPr>
          <p:nvPr/>
        </p:nvSpPr>
        <p:spPr>
          <a:xfrm>
            <a:off x="4112919" y="2113243"/>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BE" sz="1800" b="1" i="0" u="none" strike="noStrike" kern="1200" cap="none" spc="-25" normalizeH="0" baseline="0" noProof="0">
                <a:ln>
                  <a:noFill/>
                </a:ln>
                <a:solidFill>
                  <a:srgbClr val="282830"/>
                </a:solidFill>
                <a:effectLst/>
                <a:uLnTx/>
                <a:uFillTx/>
                <a:latin typeface="Avenir Next LT Pro" panose="020B0504020202020204" pitchFamily="34" charset="77"/>
              </a:rPr>
              <a:t>Work experience</a:t>
            </a:r>
          </a:p>
        </p:txBody>
      </p:sp>
      <p:pic>
        <p:nvPicPr>
          <p:cNvPr id="45" name="Picture 44">
            <a:extLst>
              <a:ext uri="{FF2B5EF4-FFF2-40B4-BE49-F238E27FC236}">
                <a16:creationId xmlns:a16="http://schemas.microsoft.com/office/drawing/2014/main" id="{A8729A0C-ABEB-7B25-F395-E62D39A6E5E1}"/>
              </a:ext>
            </a:extLst>
          </p:cNvPr>
          <p:cNvPicPr>
            <a:picLocks noChangeAspect="1"/>
          </p:cNvPicPr>
          <p:nvPr/>
        </p:nvPicPr>
        <p:blipFill>
          <a:blip r:embed="rId3"/>
          <a:stretch>
            <a:fillRect/>
          </a:stretch>
        </p:blipFill>
        <p:spPr>
          <a:xfrm>
            <a:off x="3875669" y="2225315"/>
            <a:ext cx="203200" cy="165100"/>
          </a:xfrm>
          <a:prstGeom prst="rect">
            <a:avLst/>
          </a:prstGeom>
        </p:spPr>
      </p:pic>
      <p:sp>
        <p:nvSpPr>
          <p:cNvPr id="46" name="Text Placeholder 11">
            <a:extLst>
              <a:ext uri="{FF2B5EF4-FFF2-40B4-BE49-F238E27FC236}">
                <a16:creationId xmlns:a16="http://schemas.microsoft.com/office/drawing/2014/main" id="{22880B60-2D11-8CC6-E9B3-7856DEFE0641}"/>
              </a:ext>
            </a:extLst>
          </p:cNvPr>
          <p:cNvSpPr txBox="1">
            <a:spLocks/>
          </p:cNvSpPr>
          <p:nvPr/>
        </p:nvSpPr>
        <p:spPr>
          <a:xfrm>
            <a:off x="7543027" y="2149163"/>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GB" sz="1800" b="1" i="0" u="none" strike="noStrike" kern="1200" cap="none" spc="-25" normalizeH="0" baseline="0" noProof="0">
                <a:ln>
                  <a:noFill/>
                </a:ln>
                <a:solidFill>
                  <a:srgbClr val="282830"/>
                </a:solidFill>
                <a:effectLst/>
                <a:uLnTx/>
                <a:uFillTx/>
                <a:latin typeface="Avenir Next LT Pro" panose="020B0504020202020204" pitchFamily="34" charset="77"/>
              </a:rPr>
              <a:t>Languages </a:t>
            </a:r>
          </a:p>
        </p:txBody>
      </p:sp>
      <p:sp>
        <p:nvSpPr>
          <p:cNvPr id="47" name="Text Placeholder 11">
            <a:extLst>
              <a:ext uri="{FF2B5EF4-FFF2-40B4-BE49-F238E27FC236}">
                <a16:creationId xmlns:a16="http://schemas.microsoft.com/office/drawing/2014/main" id="{C4A33D27-B1D2-0D10-8890-9C33E38DAD4C}"/>
              </a:ext>
            </a:extLst>
          </p:cNvPr>
          <p:cNvSpPr txBox="1">
            <a:spLocks/>
          </p:cNvSpPr>
          <p:nvPr/>
        </p:nvSpPr>
        <p:spPr>
          <a:xfrm>
            <a:off x="7543027" y="3017293"/>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GB" sz="1800" b="1" i="0" u="none" strike="noStrike" kern="1200" cap="none" spc="-25" normalizeH="0" baseline="0" noProof="0">
                <a:ln>
                  <a:noFill/>
                </a:ln>
                <a:solidFill>
                  <a:srgbClr val="282830"/>
                </a:solidFill>
                <a:effectLst/>
                <a:uLnTx/>
                <a:uFillTx/>
                <a:latin typeface="Avenir Next LT Pro" panose="020B0504020202020204" pitchFamily="34" charset="77"/>
              </a:rPr>
              <a:t>Awards</a:t>
            </a:r>
          </a:p>
        </p:txBody>
      </p:sp>
      <p:pic>
        <p:nvPicPr>
          <p:cNvPr id="48" name="Picture 47">
            <a:extLst>
              <a:ext uri="{FF2B5EF4-FFF2-40B4-BE49-F238E27FC236}">
                <a16:creationId xmlns:a16="http://schemas.microsoft.com/office/drawing/2014/main" id="{C1D0B24A-903C-4FCA-462C-C311FD4CD721}"/>
              </a:ext>
            </a:extLst>
          </p:cNvPr>
          <p:cNvPicPr>
            <a:picLocks noChangeAspect="1"/>
          </p:cNvPicPr>
          <p:nvPr/>
        </p:nvPicPr>
        <p:blipFill>
          <a:blip r:embed="rId4"/>
          <a:stretch>
            <a:fillRect/>
          </a:stretch>
        </p:blipFill>
        <p:spPr>
          <a:xfrm>
            <a:off x="7305777" y="2256155"/>
            <a:ext cx="203200" cy="196850"/>
          </a:xfrm>
          <a:prstGeom prst="rect">
            <a:avLst/>
          </a:prstGeom>
        </p:spPr>
      </p:pic>
      <p:sp>
        <p:nvSpPr>
          <p:cNvPr id="49" name="Text Placeholder 11">
            <a:extLst>
              <a:ext uri="{FF2B5EF4-FFF2-40B4-BE49-F238E27FC236}">
                <a16:creationId xmlns:a16="http://schemas.microsoft.com/office/drawing/2014/main" id="{C3A84D2E-7129-18B3-59D2-CFC665630605}"/>
              </a:ext>
            </a:extLst>
          </p:cNvPr>
          <p:cNvSpPr txBox="1">
            <a:spLocks/>
          </p:cNvSpPr>
          <p:nvPr/>
        </p:nvSpPr>
        <p:spPr>
          <a:xfrm>
            <a:off x="7543027" y="4625140"/>
            <a:ext cx="3997446" cy="198272"/>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GB" sz="1800" b="1" i="0" u="none" strike="noStrike" kern="1200" cap="none" spc="-25" normalizeH="0" baseline="0" noProof="0">
                <a:ln>
                  <a:noFill/>
                </a:ln>
                <a:solidFill>
                  <a:srgbClr val="282830"/>
                </a:solidFill>
                <a:effectLst/>
                <a:uLnTx/>
                <a:uFillTx/>
                <a:latin typeface="Avenir Next LT Pro" panose="020B0504020202020204" pitchFamily="34" charset="77"/>
              </a:rPr>
              <a:t>Relevant experience </a:t>
            </a:r>
          </a:p>
        </p:txBody>
      </p:sp>
      <p:pic>
        <p:nvPicPr>
          <p:cNvPr id="50" name="Picture 49">
            <a:extLst>
              <a:ext uri="{FF2B5EF4-FFF2-40B4-BE49-F238E27FC236}">
                <a16:creationId xmlns:a16="http://schemas.microsoft.com/office/drawing/2014/main" id="{1FB3B186-4039-3AE2-C16A-46A6567DA477}"/>
              </a:ext>
            </a:extLst>
          </p:cNvPr>
          <p:cNvPicPr>
            <a:picLocks noChangeAspect="1"/>
          </p:cNvPicPr>
          <p:nvPr/>
        </p:nvPicPr>
        <p:blipFill>
          <a:blip r:embed="rId5"/>
          <a:stretch>
            <a:fillRect/>
          </a:stretch>
        </p:blipFill>
        <p:spPr>
          <a:xfrm>
            <a:off x="7305777" y="4705463"/>
            <a:ext cx="228600" cy="228600"/>
          </a:xfrm>
          <a:prstGeom prst="rect">
            <a:avLst/>
          </a:prstGeom>
        </p:spPr>
      </p:pic>
      <p:pic>
        <p:nvPicPr>
          <p:cNvPr id="51" name="Picture 50">
            <a:extLst>
              <a:ext uri="{FF2B5EF4-FFF2-40B4-BE49-F238E27FC236}">
                <a16:creationId xmlns:a16="http://schemas.microsoft.com/office/drawing/2014/main" id="{6BE49593-952D-A631-C277-F2BE07F399E2}"/>
              </a:ext>
            </a:extLst>
          </p:cNvPr>
          <p:cNvPicPr>
            <a:picLocks noChangeAspect="1"/>
          </p:cNvPicPr>
          <p:nvPr/>
        </p:nvPicPr>
        <p:blipFill>
          <a:blip r:embed="rId6"/>
          <a:stretch>
            <a:fillRect/>
          </a:stretch>
        </p:blipFill>
        <p:spPr>
          <a:xfrm>
            <a:off x="7343877" y="3104608"/>
            <a:ext cx="152400" cy="222250"/>
          </a:xfrm>
          <a:prstGeom prst="rect">
            <a:avLst/>
          </a:prstGeom>
        </p:spPr>
      </p:pic>
      <p:sp>
        <p:nvSpPr>
          <p:cNvPr id="52" name="Text Placeholder 11">
            <a:extLst>
              <a:ext uri="{FF2B5EF4-FFF2-40B4-BE49-F238E27FC236}">
                <a16:creationId xmlns:a16="http://schemas.microsoft.com/office/drawing/2014/main" id="{BC23DB49-23F9-E9C4-AC65-1F57FC7E0C3A}"/>
              </a:ext>
            </a:extLst>
          </p:cNvPr>
          <p:cNvSpPr txBox="1">
            <a:spLocks/>
          </p:cNvSpPr>
          <p:nvPr/>
        </p:nvSpPr>
        <p:spPr>
          <a:xfrm>
            <a:off x="4135144" y="5802652"/>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GB" sz="1800" b="1" i="0" u="none" strike="noStrike" kern="1200" cap="none" spc="-25" normalizeH="0" baseline="0" noProof="0">
                <a:ln>
                  <a:noFill/>
                </a:ln>
                <a:solidFill>
                  <a:srgbClr val="282830"/>
                </a:solidFill>
                <a:effectLst/>
                <a:uLnTx/>
                <a:uFillTx/>
                <a:latin typeface="Avenir Next LT Pro" panose="020B0504020202020204" pitchFamily="34" charset="77"/>
              </a:rPr>
              <a:t>Education</a:t>
            </a:r>
          </a:p>
        </p:txBody>
      </p:sp>
      <p:pic>
        <p:nvPicPr>
          <p:cNvPr id="53" name="Picture 52">
            <a:extLst>
              <a:ext uri="{FF2B5EF4-FFF2-40B4-BE49-F238E27FC236}">
                <a16:creationId xmlns:a16="http://schemas.microsoft.com/office/drawing/2014/main" id="{DBA25A85-A8C0-D09D-5415-6D4F424825AB}"/>
              </a:ext>
            </a:extLst>
          </p:cNvPr>
          <p:cNvPicPr>
            <a:picLocks noChangeAspect="1"/>
          </p:cNvPicPr>
          <p:nvPr/>
        </p:nvPicPr>
        <p:blipFill>
          <a:blip r:embed="rId7"/>
          <a:stretch>
            <a:fillRect/>
          </a:stretch>
        </p:blipFill>
        <p:spPr>
          <a:xfrm>
            <a:off x="3875669" y="5911995"/>
            <a:ext cx="247650" cy="152400"/>
          </a:xfrm>
          <a:prstGeom prst="rect">
            <a:avLst/>
          </a:prstGeom>
        </p:spPr>
      </p:pic>
      <p:sp>
        <p:nvSpPr>
          <p:cNvPr id="54" name="Text Placeholder 17">
            <a:extLst>
              <a:ext uri="{FF2B5EF4-FFF2-40B4-BE49-F238E27FC236}">
                <a16:creationId xmlns:a16="http://schemas.microsoft.com/office/drawing/2014/main" id="{D2D76356-9041-F8D3-6563-77F6F36DE880}"/>
              </a:ext>
            </a:extLst>
          </p:cNvPr>
          <p:cNvSpPr txBox="1">
            <a:spLocks/>
          </p:cNvSpPr>
          <p:nvPr/>
        </p:nvSpPr>
        <p:spPr>
          <a:xfrm>
            <a:off x="4174054" y="6218274"/>
            <a:ext cx="2870087" cy="603643"/>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defTabSz="914355" rtl="0" eaLnBrk="1" fontAlgn="auto" latinLnBrk="0" hangingPunct="1">
              <a:lnSpc>
                <a:spcPct val="100000"/>
              </a:lnSpc>
              <a:spcBef>
                <a:spcPts val="0"/>
              </a:spcBef>
              <a:spcAft>
                <a:spcPts val="0"/>
              </a:spcAft>
              <a:buClrTx/>
              <a:buSzTx/>
              <a:buNone/>
              <a:tabLst>
                <a:tab pos="88107" algn="l"/>
              </a:tabLst>
              <a:defRPr/>
            </a:pPr>
            <a:r>
              <a:rPr kumimoji="0" lang="en-GB" sz="1200" b="1" i="0" u="none" strike="noStrike" kern="1200" cap="none" spc="0" normalizeH="0" baseline="0" noProof="0" err="1">
                <a:ln>
                  <a:noFill/>
                </a:ln>
                <a:solidFill>
                  <a:srgbClr val="282830"/>
                </a:solidFill>
                <a:effectLst/>
                <a:uLnTx/>
                <a:uFillTx/>
                <a:latin typeface="Avenir Next LT Pro" panose="020B0504020202020204" pitchFamily="34" charset="77"/>
              </a:rPr>
              <a:t>Marketingcommunication</a:t>
            </a:r>
            <a:br>
              <a:rPr kumimoji="0" lang="en-GB" sz="1200" b="1" i="0" u="none" strike="noStrike" kern="1200" cap="none" spc="0" normalizeH="0" baseline="0" noProof="0">
                <a:ln>
                  <a:noFill/>
                </a:ln>
                <a:solidFill>
                  <a:srgbClr val="282830"/>
                </a:solidFill>
                <a:effectLst/>
                <a:uLnTx/>
                <a:uFillTx/>
                <a:latin typeface="Avenir Next LT Pro" panose="020B0504020202020204" pitchFamily="34" charset="77"/>
              </a:rPr>
            </a:br>
            <a:r>
              <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rPr>
              <a:t>Erasmus </a:t>
            </a:r>
            <a:r>
              <a:rPr kumimoji="0" lang="en-GB" sz="1200" b="0" i="0" u="none" strike="noStrike" kern="1200" cap="none" spc="0" normalizeH="0" baseline="0" noProof="0" err="1">
                <a:ln>
                  <a:noFill/>
                </a:ln>
                <a:solidFill>
                  <a:srgbClr val="8A8B90"/>
                </a:solidFill>
                <a:effectLst/>
                <a:uLnTx/>
                <a:uFillTx/>
                <a:latin typeface="Avenir Next LT Pro" panose="020B0504020202020204" pitchFamily="34" charset="77"/>
              </a:rPr>
              <a:t>Hogeschool</a:t>
            </a:r>
            <a:r>
              <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rPr>
              <a:t> Brussels</a:t>
            </a:r>
          </a:p>
        </p:txBody>
      </p:sp>
      <p:sp>
        <p:nvSpPr>
          <p:cNvPr id="64" name="Text Placeholder 17">
            <a:extLst>
              <a:ext uri="{FF2B5EF4-FFF2-40B4-BE49-F238E27FC236}">
                <a16:creationId xmlns:a16="http://schemas.microsoft.com/office/drawing/2014/main" id="{261DC368-5826-9673-AFB5-C9DD9101DA68}"/>
              </a:ext>
            </a:extLst>
          </p:cNvPr>
          <p:cNvSpPr txBox="1">
            <a:spLocks/>
          </p:cNvSpPr>
          <p:nvPr/>
        </p:nvSpPr>
        <p:spPr>
          <a:xfrm>
            <a:off x="7597455" y="5028739"/>
            <a:ext cx="3137263" cy="516708"/>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tab pos="88107" algn="l"/>
              </a:tabLst>
              <a:defRPr/>
            </a:pPr>
            <a: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t>Mattias’ experience in Sales promotions &amp; activations, combined with his communication &amp; digital background, allow him to be relevant in every step of your customer journey as he has done for </a:t>
            </a:r>
            <a:r>
              <a:rPr kumimoji="0" lang="en-GB" sz="1200" b="0" i="0" u="none" strike="noStrike" kern="1200" cap="none" spc="0" normalizeH="0" baseline="0" noProof="0" err="1">
                <a:ln>
                  <a:noFill/>
                </a:ln>
                <a:solidFill>
                  <a:srgbClr val="282830"/>
                </a:solidFill>
                <a:effectLst/>
                <a:uLnTx/>
                <a:uFillTx/>
                <a:latin typeface="Avenir Next LT Pro" panose="020B0504020202020204" pitchFamily="34" charset="77"/>
              </a:rPr>
              <a:t>Danon</a:t>
            </a:r>
            <a:r>
              <a:rPr lang="en-GB" sz="1200" b="0" spc="0">
                <a:solidFill>
                  <a:srgbClr val="282830"/>
                </a:solidFill>
                <a:latin typeface="Avenir Next LT Pro" panose="020B0504020202020204" pitchFamily="34" charset="77"/>
              </a:rPr>
              <a:t>e (</a:t>
            </a:r>
            <a:r>
              <a:rPr lang="en-GB" sz="1200" b="0" spc="0" err="1">
                <a:solidFill>
                  <a:srgbClr val="282830"/>
                </a:solidFill>
                <a:latin typeface="Avenir Next LT Pro" panose="020B0504020202020204" pitchFamily="34" charset="77"/>
              </a:rPr>
              <a:t>Activia</a:t>
            </a:r>
            <a:r>
              <a:rPr lang="en-GB" sz="1200" b="0" spc="0">
                <a:solidFill>
                  <a:srgbClr val="282830"/>
                </a:solidFill>
                <a:latin typeface="Avenir Next LT Pro" panose="020B0504020202020204" pitchFamily="34" charset="77"/>
              </a:rPr>
              <a:t>), Kellogg’s (Special K), Unilever (Dove, </a:t>
            </a:r>
            <a:r>
              <a:rPr lang="en-GB" sz="1200" b="0" spc="0" err="1">
                <a:solidFill>
                  <a:srgbClr val="282830"/>
                </a:solidFill>
                <a:latin typeface="Avenir Next LT Pro" panose="020B0504020202020204" pitchFamily="34" charset="77"/>
              </a:rPr>
              <a:t>Yunomi</a:t>
            </a:r>
            <a:r>
              <a:rPr lang="en-GB" sz="1200" b="0" spc="0">
                <a:solidFill>
                  <a:srgbClr val="282830"/>
                </a:solidFill>
                <a:latin typeface="Avenir Next LT Pro" panose="020B0504020202020204" pitchFamily="34" charset="77"/>
              </a:rPr>
              <a:t>, VO5, Neutral …), Procter &amp; Gamble,… and many more.</a:t>
            </a:r>
            <a:endPar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endParaRPr>
          </a:p>
        </p:txBody>
      </p:sp>
      <p:sp>
        <p:nvSpPr>
          <p:cNvPr id="65" name="TextBox 64">
            <a:extLst>
              <a:ext uri="{FF2B5EF4-FFF2-40B4-BE49-F238E27FC236}">
                <a16:creationId xmlns:a16="http://schemas.microsoft.com/office/drawing/2014/main" id="{0A509FB1-9178-93A2-E519-2A34541A2A34}"/>
              </a:ext>
            </a:extLst>
          </p:cNvPr>
          <p:cNvSpPr txBox="1"/>
          <p:nvPr/>
        </p:nvSpPr>
        <p:spPr>
          <a:xfrm>
            <a:off x="3777187" y="1578875"/>
            <a:ext cx="8072943" cy="600164"/>
          </a:xfrm>
          <a:prstGeom prst="rect">
            <a:avLst/>
          </a:prstGeom>
          <a:noFill/>
        </p:spPr>
        <p:txBody>
          <a:bodyPr wrap="square" lIns="91440" tIns="45720" rIns="91440" bIns="45720" anchor="t">
            <a:spAutoFit/>
          </a:bodyPr>
          <a:lstStyle/>
          <a:p>
            <a:pPr>
              <a:defRPr>
                <a:solidFill>
                  <a:srgbClr val="000000"/>
                </a:solidFill>
              </a:defRPr>
            </a:pPr>
            <a:r>
              <a:rPr lang="en-GB" sz="1100">
                <a:latin typeface="Avenir Next LT Pro" panose="020B0504020202020204" pitchFamily="34" charset="77"/>
              </a:rPr>
              <a:t>Mattias is the geek of our bunch. He’s always interested in the newest tech &amp; innovations, while his heart beats for real good creation &amp; communications. Mattias is a real team player, loves to take people by the hand and share his experience in activations &amp; digital.</a:t>
            </a:r>
          </a:p>
        </p:txBody>
      </p:sp>
      <p:pic>
        <p:nvPicPr>
          <p:cNvPr id="66" name="Picture 65">
            <a:extLst>
              <a:ext uri="{FF2B5EF4-FFF2-40B4-BE49-F238E27FC236}">
                <a16:creationId xmlns:a16="http://schemas.microsoft.com/office/drawing/2014/main" id="{9182B57C-488C-F3B6-EAE8-3934D244E54F}"/>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874714" y="5414933"/>
            <a:ext cx="986875" cy="1217503"/>
          </a:xfrm>
          <a:prstGeom prst="rect">
            <a:avLst/>
          </a:prstGeom>
          <a:solidFill>
            <a:schemeClr val="bg1"/>
          </a:solidFill>
        </p:spPr>
      </p:pic>
    </p:spTree>
    <p:extLst>
      <p:ext uri="{BB962C8B-B14F-4D97-AF65-F5344CB8AC3E}">
        <p14:creationId xmlns:p14="http://schemas.microsoft.com/office/powerpoint/2010/main" val="17222884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06A0D3E-F0CD-B0D5-5DC5-FFA8E38B370B}"/>
              </a:ext>
            </a:extLst>
          </p:cNvPr>
          <p:cNvSpPr>
            <a:spLocks noGrp="1"/>
          </p:cNvSpPr>
          <p:nvPr>
            <p:ph type="body" sz="quarter" idx="11"/>
          </p:nvPr>
        </p:nvSpPr>
        <p:spPr/>
        <p:txBody>
          <a:bodyPr lIns="91440" tIns="45720" rIns="91440" bIns="45720" anchor="t"/>
          <a:lstStyle/>
          <a:p>
            <a:r>
              <a:rPr lang="en-GB">
                <a:latin typeface="AvenirNext LT Pro Bold"/>
                <a:cs typeface="Arial"/>
              </a:rPr>
              <a:t>Meet </a:t>
            </a:r>
            <a:r>
              <a:rPr lang="en-GB" sz="4800" b="0">
                <a:gradFill>
                  <a:gsLst>
                    <a:gs pos="100000">
                      <a:srgbClr val="B79E60"/>
                    </a:gs>
                    <a:gs pos="0">
                      <a:srgbClr val="B79E60"/>
                    </a:gs>
                    <a:gs pos="54000">
                      <a:srgbClr val="DFCF84"/>
                    </a:gs>
                  </a:gsLst>
                  <a:lin ang="2700000" scaled="0"/>
                </a:gradFill>
                <a:latin typeface="Bodoni MT"/>
                <a:cs typeface="Arial"/>
              </a:rPr>
              <a:t>Nik </a:t>
            </a:r>
            <a:r>
              <a:rPr lang="en-GB" sz="4800" b="0" err="1">
                <a:gradFill>
                  <a:gsLst>
                    <a:gs pos="100000">
                      <a:srgbClr val="B79E60"/>
                    </a:gs>
                    <a:gs pos="0">
                      <a:srgbClr val="B79E60"/>
                    </a:gs>
                    <a:gs pos="54000">
                      <a:srgbClr val="DFCF84"/>
                    </a:gs>
                  </a:gsLst>
                  <a:lin ang="2700000" scaled="0"/>
                </a:gradFill>
                <a:latin typeface="Bodoni MT"/>
                <a:cs typeface="Arial"/>
              </a:rPr>
              <a:t>Sluijs</a:t>
            </a:r>
            <a:endParaRPr lang="en-GB" sz="4800" b="0">
              <a:gradFill>
                <a:gsLst>
                  <a:gs pos="100000">
                    <a:srgbClr val="B79E60"/>
                  </a:gs>
                  <a:gs pos="0">
                    <a:srgbClr val="B79E60"/>
                  </a:gs>
                  <a:gs pos="54000">
                    <a:srgbClr val="DFCF84"/>
                  </a:gs>
                </a:gsLst>
                <a:lin ang="2700000" scaled="0"/>
              </a:gradFill>
              <a:latin typeface="Bodoni MT"/>
              <a:cs typeface="Arial"/>
            </a:endParaRPr>
          </a:p>
        </p:txBody>
      </p:sp>
      <p:sp>
        <p:nvSpPr>
          <p:cNvPr id="4" name="Text Placeholder 3">
            <a:extLst>
              <a:ext uri="{FF2B5EF4-FFF2-40B4-BE49-F238E27FC236}">
                <a16:creationId xmlns:a16="http://schemas.microsoft.com/office/drawing/2014/main" id="{08CC71B1-EF61-5341-080B-8119A61CA33E}"/>
              </a:ext>
            </a:extLst>
          </p:cNvPr>
          <p:cNvSpPr>
            <a:spLocks noGrp="1"/>
          </p:cNvSpPr>
          <p:nvPr>
            <p:ph type="body" sz="quarter" idx="12"/>
          </p:nvPr>
        </p:nvSpPr>
        <p:spPr>
          <a:xfrm>
            <a:off x="3793897" y="1146962"/>
            <a:ext cx="8056233" cy="475343"/>
          </a:xfrm>
        </p:spPr>
        <p:txBody>
          <a:bodyPr/>
          <a:lstStyle/>
          <a:p>
            <a:r>
              <a:rPr lang="en-GB">
                <a:latin typeface="Avenir Next LT Pro" panose="020B0504020202020204" pitchFamily="34" charset="77"/>
              </a:rPr>
              <a:t>Creative Partner &amp; Co-Founder</a:t>
            </a:r>
          </a:p>
        </p:txBody>
      </p:sp>
      <p:sp>
        <p:nvSpPr>
          <p:cNvPr id="5" name="TextBox 4">
            <a:extLst>
              <a:ext uri="{FF2B5EF4-FFF2-40B4-BE49-F238E27FC236}">
                <a16:creationId xmlns:a16="http://schemas.microsoft.com/office/drawing/2014/main" id="{23296222-F7A6-B066-453A-02B3501EA073}"/>
              </a:ext>
            </a:extLst>
          </p:cNvPr>
          <p:cNvSpPr txBox="1"/>
          <p:nvPr/>
        </p:nvSpPr>
        <p:spPr>
          <a:xfrm>
            <a:off x="3793897" y="1619625"/>
            <a:ext cx="8056234" cy="430887"/>
          </a:xfrm>
          <a:prstGeom prst="rect">
            <a:avLst/>
          </a:prstGeom>
          <a:noFill/>
        </p:spPr>
        <p:txBody>
          <a:bodyPr wrap="square">
            <a:spAutoFit/>
          </a:bodyPr>
          <a:lstStyle/>
          <a:p>
            <a:pPr>
              <a:defRPr>
                <a:solidFill>
                  <a:srgbClr val="000000"/>
                </a:solidFill>
              </a:defRPr>
            </a:pPr>
            <a:r>
              <a:rPr lang="en-GB" sz="1100">
                <a:latin typeface="Avenir Next LT Pro" panose="020B0504020202020204" pitchFamily="34" charset="77"/>
              </a:rPr>
              <a:t>Nik dropped out of TU Delft Architecture to become an internationally awarded creative. Still applying the same analytical and creative problem solving skills, except without having to calculate whether his creations will actually defy physics.</a:t>
            </a:r>
          </a:p>
        </p:txBody>
      </p:sp>
      <p:sp>
        <p:nvSpPr>
          <p:cNvPr id="8" name="Text Placeholder 11">
            <a:extLst>
              <a:ext uri="{FF2B5EF4-FFF2-40B4-BE49-F238E27FC236}">
                <a16:creationId xmlns:a16="http://schemas.microsoft.com/office/drawing/2014/main" id="{5EE29D63-012F-F5C3-B78B-95C01AA4BA16}"/>
              </a:ext>
            </a:extLst>
          </p:cNvPr>
          <p:cNvSpPr txBox="1">
            <a:spLocks/>
          </p:cNvSpPr>
          <p:nvPr/>
        </p:nvSpPr>
        <p:spPr>
          <a:xfrm>
            <a:off x="3997096" y="2248522"/>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BE" sz="1800" b="1" i="0" u="none" strike="noStrike" kern="1200" cap="none" spc="-25" normalizeH="0" baseline="0" noProof="0">
                <a:ln>
                  <a:noFill/>
                </a:ln>
                <a:solidFill>
                  <a:srgbClr val="282830"/>
                </a:solidFill>
                <a:effectLst/>
                <a:uLnTx/>
                <a:uFillTx/>
                <a:latin typeface="Avenir Next LT Pro" panose="020B0504020202020204" pitchFamily="34" charset="77"/>
              </a:rPr>
              <a:t>Work experience</a:t>
            </a:r>
          </a:p>
        </p:txBody>
      </p:sp>
      <p:pic>
        <p:nvPicPr>
          <p:cNvPr id="9" name="Picture 8">
            <a:extLst>
              <a:ext uri="{FF2B5EF4-FFF2-40B4-BE49-F238E27FC236}">
                <a16:creationId xmlns:a16="http://schemas.microsoft.com/office/drawing/2014/main" id="{1EF991FB-F048-AA9A-D3A9-87675CB90404}"/>
              </a:ext>
            </a:extLst>
          </p:cNvPr>
          <p:cNvPicPr>
            <a:picLocks noChangeAspect="1"/>
          </p:cNvPicPr>
          <p:nvPr/>
        </p:nvPicPr>
        <p:blipFill>
          <a:blip r:embed="rId2"/>
          <a:stretch>
            <a:fillRect/>
          </a:stretch>
        </p:blipFill>
        <p:spPr>
          <a:xfrm>
            <a:off x="3777187" y="2348854"/>
            <a:ext cx="203200" cy="165100"/>
          </a:xfrm>
          <a:prstGeom prst="rect">
            <a:avLst/>
          </a:prstGeom>
        </p:spPr>
      </p:pic>
      <p:sp>
        <p:nvSpPr>
          <p:cNvPr id="14" name="Text Placeholder 11">
            <a:extLst>
              <a:ext uri="{FF2B5EF4-FFF2-40B4-BE49-F238E27FC236}">
                <a16:creationId xmlns:a16="http://schemas.microsoft.com/office/drawing/2014/main" id="{4180CB5B-83A3-2664-5C76-355A35423BFA}"/>
              </a:ext>
            </a:extLst>
          </p:cNvPr>
          <p:cNvSpPr txBox="1">
            <a:spLocks/>
          </p:cNvSpPr>
          <p:nvPr/>
        </p:nvSpPr>
        <p:spPr>
          <a:xfrm>
            <a:off x="4022496" y="5156848"/>
            <a:ext cx="3997446" cy="198272"/>
          </a:xfrm>
          <a:prstGeom prst="rect">
            <a:avLst/>
          </a:prstGeom>
        </p:spPr>
        <p:txBody>
          <a:bodyPr/>
          <a:lstStyle>
            <a:defPPr>
              <a:defRPr lang="en-BE"/>
            </a:defPPr>
            <a:lvl1pPr marR="0" lvl="0" indent="0" defTabSz="914355" fontAlgn="auto">
              <a:lnSpc>
                <a:spcPct val="106000"/>
              </a:lnSpc>
              <a:spcBef>
                <a:spcPts val="0"/>
              </a:spcBef>
              <a:spcAft>
                <a:spcPts val="0"/>
              </a:spcAft>
              <a:buClrTx/>
              <a:buSzTx/>
              <a:buFont typeface="Arial" panose="020B0604020202020204" pitchFamily="34" charset="0"/>
              <a:buNone/>
              <a:tabLst/>
              <a:defRPr kumimoji="0" b="1" i="0" u="none" strike="noStrike" cap="none" spc="-25" normalizeH="0" baseline="0">
                <a:ln>
                  <a:noFill/>
                </a:ln>
                <a:solidFill>
                  <a:srgbClr val="282830"/>
                </a:solidFill>
                <a:effectLst/>
                <a:uLnTx/>
                <a:uFillTx/>
                <a:latin typeface="AvenirNext LT Pro Bold" panose="020B0504020202020204" pitchFamily="34" charset="77"/>
                <a:cs typeface="Arial" panose="020B0604020202020204" pitchFamily="34" charset="0"/>
              </a:defRPr>
            </a:lvl1pPr>
            <a:lvl2pPr marL="1209600" indent="-561600" defTabSz="1828709">
              <a:lnSpc>
                <a:spcPct val="106000"/>
              </a:lnSpc>
              <a:spcBef>
                <a:spcPts val="2600"/>
              </a:spcBef>
              <a:spcAft>
                <a:spcPts val="0"/>
              </a:spcAft>
              <a:buSzPct val="80000"/>
              <a:buFont typeface="Courier New" panose="02070309020205020404" pitchFamily="49" charset="0"/>
              <a:buChar char="o"/>
              <a:tabLst/>
              <a:defRPr sz="3600" cap="none" spc="-50" baseline="0"/>
            </a:lvl2pPr>
            <a:lvl3pPr marL="0" indent="0" defTabSz="1828709">
              <a:lnSpc>
                <a:spcPct val="106000"/>
              </a:lnSpc>
              <a:spcBef>
                <a:spcPts val="0"/>
              </a:spcBef>
              <a:spcAft>
                <a:spcPts val="0"/>
              </a:spcAft>
              <a:buSzPct val="95000"/>
              <a:buFont typeface="System Font Regular"/>
              <a:buNone/>
              <a:tabLst/>
              <a:defRPr sz="3600" spc="-50" baseline="0"/>
            </a:lvl3pPr>
            <a:lvl4pPr marL="0" indent="0" defTabSz="1828709">
              <a:lnSpc>
                <a:spcPct val="106000"/>
              </a:lnSpc>
              <a:spcBef>
                <a:spcPts val="0"/>
              </a:spcBef>
              <a:spcAft>
                <a:spcPts val="0"/>
              </a:spcAft>
              <a:buFont typeface="Arial" panose="020B0604020202020204" pitchFamily="34" charset="0"/>
              <a:buNone/>
              <a:tabLst/>
              <a:defRPr sz="3600" spc="-50" baseline="0"/>
            </a:lvl4pPr>
            <a:lvl5pPr marL="0" indent="0" defTabSz="1828709">
              <a:lnSpc>
                <a:spcPct val="106000"/>
              </a:lnSpc>
              <a:spcBef>
                <a:spcPts val="0"/>
              </a:spcBef>
              <a:spcAft>
                <a:spcPts val="0"/>
              </a:spcAft>
              <a:buFont typeface="System Font Regular"/>
              <a:buNone/>
              <a:tabLst/>
              <a:defRPr sz="3600" b="0" i="0" spc="-50" baseline="0">
                <a:cs typeface="Toyota Type Semibold" panose="020B0502020202020204" pitchFamily="34" charset="0"/>
              </a:defRPr>
            </a:lvl5pPr>
            <a:lvl6pPr marL="0" indent="0" defTabSz="1828709">
              <a:lnSpc>
                <a:spcPct val="117000"/>
              </a:lnSpc>
              <a:spcBef>
                <a:spcPts val="0"/>
              </a:spcBef>
              <a:spcAft>
                <a:spcPts val="0"/>
              </a:spcAft>
              <a:buFont typeface="Arial" panose="020B0604020202020204" pitchFamily="34" charset="0"/>
              <a:buNone/>
              <a:tabLst/>
              <a:defRPr sz="2200"/>
            </a:lvl6pPr>
            <a:lvl7pPr marL="0" indent="0" defTabSz="1828709">
              <a:lnSpc>
                <a:spcPct val="117000"/>
              </a:lnSpc>
              <a:spcBef>
                <a:spcPts val="0"/>
              </a:spcBef>
              <a:spcAft>
                <a:spcPts val="0"/>
              </a:spcAft>
              <a:buFont typeface="Arial" panose="020B0604020202020204" pitchFamily="34" charset="0"/>
              <a:buNone/>
              <a:tabLst/>
              <a:defRPr sz="2200"/>
            </a:lvl7pPr>
            <a:lvl8pPr marL="0" indent="0" defTabSz="1828709">
              <a:lnSpc>
                <a:spcPct val="117000"/>
              </a:lnSpc>
              <a:spcBef>
                <a:spcPts val="0"/>
              </a:spcBef>
              <a:spcAft>
                <a:spcPts val="0"/>
              </a:spcAft>
              <a:buFont typeface="Arial" panose="020B0604020202020204" pitchFamily="34" charset="0"/>
              <a:buNone/>
              <a:tabLst/>
              <a:defRPr sz="2200"/>
            </a:lvl8pPr>
            <a:lvl9pPr marL="0" indent="0" defTabSz="1828709">
              <a:lnSpc>
                <a:spcPct val="117000"/>
              </a:lnSpc>
              <a:spcBef>
                <a:spcPts val="0"/>
              </a:spcBef>
              <a:spcAft>
                <a:spcPts val="0"/>
              </a:spcAft>
              <a:buFont typeface="Arial" panose="020B0604020202020204" pitchFamily="34" charset="0"/>
              <a:buNone/>
              <a:tabLst/>
              <a:defRPr sz="2200"/>
            </a:lvl9pPr>
          </a:lstStyle>
          <a:p>
            <a:r>
              <a:rPr lang="en-BE">
                <a:latin typeface="Avenir Next LT Pro" panose="020B0504020202020204" pitchFamily="34" charset="77"/>
              </a:rPr>
              <a:t>Relevant experience</a:t>
            </a:r>
          </a:p>
        </p:txBody>
      </p:sp>
      <p:pic>
        <p:nvPicPr>
          <p:cNvPr id="15" name="Picture 14">
            <a:extLst>
              <a:ext uri="{FF2B5EF4-FFF2-40B4-BE49-F238E27FC236}">
                <a16:creationId xmlns:a16="http://schemas.microsoft.com/office/drawing/2014/main" id="{A629747E-1B40-4DC5-FF87-B4C56CFAC8C2}"/>
              </a:ext>
            </a:extLst>
          </p:cNvPr>
          <p:cNvPicPr>
            <a:picLocks noChangeAspect="1"/>
          </p:cNvPicPr>
          <p:nvPr/>
        </p:nvPicPr>
        <p:blipFill>
          <a:blip r:embed="rId3"/>
          <a:stretch>
            <a:fillRect/>
          </a:stretch>
        </p:blipFill>
        <p:spPr>
          <a:xfrm>
            <a:off x="3793896" y="5218125"/>
            <a:ext cx="228600" cy="228600"/>
          </a:xfrm>
          <a:prstGeom prst="rect">
            <a:avLst/>
          </a:prstGeom>
        </p:spPr>
      </p:pic>
      <p:sp>
        <p:nvSpPr>
          <p:cNvPr id="16" name="Text Placeholder 4">
            <a:extLst>
              <a:ext uri="{FF2B5EF4-FFF2-40B4-BE49-F238E27FC236}">
                <a16:creationId xmlns:a16="http://schemas.microsoft.com/office/drawing/2014/main" id="{DACEC355-50AE-CE22-5777-31A9BDC1E451}"/>
              </a:ext>
            </a:extLst>
          </p:cNvPr>
          <p:cNvSpPr>
            <a:spLocks noGrp="1"/>
          </p:cNvSpPr>
          <p:nvPr>
            <p:ph type="body" sz="quarter" idx="13"/>
          </p:nvPr>
        </p:nvSpPr>
        <p:spPr>
          <a:xfrm>
            <a:off x="146305" y="3567907"/>
            <a:ext cx="3345448" cy="1988344"/>
          </a:xfrm>
        </p:spPr>
        <p:txBody>
          <a:bodyPr/>
          <a:lstStyle/>
          <a:p>
            <a:r>
              <a:rPr lang="en-GB">
                <a:latin typeface="Avenir Next LT Pro" panose="020B0504020202020204" pitchFamily="34" charset="77"/>
              </a:rPr>
              <a:t>“An ad can be anything, so why not add some happiness to people’s lives and make it </a:t>
            </a:r>
            <a:r>
              <a:rPr lang="en-GB">
                <a:solidFill>
                  <a:srgbClr val="DAC97F"/>
                </a:solidFill>
                <a:latin typeface="Avenir Next LT Pro" panose="020B0504020202020204" pitchFamily="34" charset="77"/>
              </a:rPr>
              <a:t>useful</a:t>
            </a:r>
            <a:r>
              <a:rPr lang="en-GB">
                <a:latin typeface="Avenir Next LT Pro" panose="020B0504020202020204" pitchFamily="34" charset="77"/>
              </a:rPr>
              <a:t> or </a:t>
            </a:r>
            <a:r>
              <a:rPr lang="en-GB">
                <a:solidFill>
                  <a:srgbClr val="DAC97F"/>
                </a:solidFill>
                <a:latin typeface="Avenir Next LT Pro" panose="020B0504020202020204" pitchFamily="34" charset="77"/>
              </a:rPr>
              <a:t>entertaining</a:t>
            </a:r>
            <a:r>
              <a:rPr lang="en-GB">
                <a:latin typeface="Avenir Next LT Pro" panose="020B0504020202020204" pitchFamily="34" charset="77"/>
              </a:rPr>
              <a:t>?”</a:t>
            </a:r>
          </a:p>
        </p:txBody>
      </p:sp>
      <p:sp>
        <p:nvSpPr>
          <p:cNvPr id="10" name="Happiness Amsterdam…">
            <a:extLst>
              <a:ext uri="{FF2B5EF4-FFF2-40B4-BE49-F238E27FC236}">
                <a16:creationId xmlns:a16="http://schemas.microsoft.com/office/drawing/2014/main" id="{2BE79707-3CF2-53C4-A852-4ED103C2B7C2}"/>
              </a:ext>
            </a:extLst>
          </p:cNvPr>
          <p:cNvSpPr txBox="1"/>
          <p:nvPr/>
        </p:nvSpPr>
        <p:spPr>
          <a:xfrm>
            <a:off x="4065716" y="2678723"/>
            <a:ext cx="3565949" cy="219311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Happiness Amsterdam</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Creative Partner &amp; Co-founder / March 2023 - present</a:t>
            </a: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Fitzroy Amsterdam</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Creative Director / May 2022 - Feb 2023</a:t>
            </a: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Wunderman Thompson Amsterdam</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Senior Creative / Jan 2020 - May 2022</a:t>
            </a: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INDIE Amsterdam</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Senior Creative / May 2017 - Jan 2020</a:t>
            </a: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Duval Guillaume Antwerp &amp; Brussels</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Senior Creative / Jun 2015 - May 2017</a:t>
            </a:r>
          </a:p>
        </p:txBody>
      </p:sp>
      <p:sp>
        <p:nvSpPr>
          <p:cNvPr id="13" name="Fitzroy Amsterdam…">
            <a:extLst>
              <a:ext uri="{FF2B5EF4-FFF2-40B4-BE49-F238E27FC236}">
                <a16:creationId xmlns:a16="http://schemas.microsoft.com/office/drawing/2014/main" id="{064DDDCC-FEDC-A9DC-97CF-427D8AE1AEB6}"/>
              </a:ext>
            </a:extLst>
          </p:cNvPr>
          <p:cNvSpPr txBox="1"/>
          <p:nvPr/>
        </p:nvSpPr>
        <p:spPr>
          <a:xfrm>
            <a:off x="7665495" y="2684567"/>
            <a:ext cx="3797004" cy="1888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Fitzroy Amsterdam</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Creative / Jan 2014 - Jun 2015</a:t>
            </a:r>
          </a:p>
          <a:p>
            <a:pPr>
              <a:lnSpc>
                <a:spcPct val="90000"/>
              </a:lnSpc>
              <a:defRPr sz="1600" b="1">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N=5 Amsterdam</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Junior Creative / Sep 2011 - Dec 2013</a:t>
            </a:r>
          </a:p>
          <a:p>
            <a:pPr>
              <a:lnSpc>
                <a:spcPct val="90000"/>
              </a:lnSpc>
              <a:defRPr sz="1600" b="1">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err="1">
                <a:latin typeface="Avenir Next LT Pro" panose="020B0504020202020204" pitchFamily="34" charset="77"/>
              </a:rPr>
              <a:t>Mortierbrigade</a:t>
            </a:r>
            <a:r>
              <a:rPr sz="1100">
                <a:latin typeface="Avenir Next LT Pro" panose="020B0504020202020204" pitchFamily="34" charset="77"/>
              </a:rPr>
              <a:t> Brussels</a:t>
            </a:r>
          </a:p>
          <a:p>
            <a:pPr>
              <a:lnSpc>
                <a:spcPct val="90000"/>
              </a:lnSpc>
              <a:defRPr sz="1600">
                <a:latin typeface="Avenir Next Regular"/>
                <a:ea typeface="Avenir Next Regular"/>
                <a:cs typeface="Avenir Next Regular"/>
                <a:sym typeface="Avenir Next Regular"/>
              </a:defRPr>
            </a:pPr>
            <a:r>
              <a:rPr lang="nl-NL" sz="1100">
                <a:latin typeface="Avenir Next LT Pro" panose="020B0504020202020204" pitchFamily="34" charset="77"/>
              </a:rPr>
              <a:t>Junior </a:t>
            </a:r>
            <a:r>
              <a:rPr sz="1100">
                <a:latin typeface="Avenir Next LT Pro" panose="020B0504020202020204" pitchFamily="34" charset="77"/>
              </a:rPr>
              <a:t>Creative / 2011</a:t>
            </a: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err="1">
                <a:latin typeface="Avenir Next LT Pro" panose="020B0504020202020204" pitchFamily="34" charset="77"/>
              </a:rPr>
              <a:t>Selmore</a:t>
            </a:r>
            <a:r>
              <a:rPr sz="1100">
                <a:latin typeface="Avenir Next LT Pro" panose="020B0504020202020204" pitchFamily="34" charset="77"/>
              </a:rPr>
              <a:t> Amsterdam</a:t>
            </a:r>
          </a:p>
          <a:p>
            <a:pPr>
              <a:lnSpc>
                <a:spcPct val="90000"/>
              </a:lnSpc>
              <a:defRPr sz="1600">
                <a:latin typeface="Avenir Next Regular"/>
                <a:ea typeface="Avenir Next Regular"/>
                <a:cs typeface="Avenir Next Regular"/>
                <a:sym typeface="Avenir Next Regular"/>
              </a:defRPr>
            </a:pPr>
            <a:r>
              <a:rPr lang="nl-NL" sz="1100">
                <a:latin typeface="Avenir Next LT Pro" panose="020B0504020202020204" pitchFamily="34" charset="77"/>
              </a:rPr>
              <a:t>Junior </a:t>
            </a:r>
            <a:r>
              <a:rPr sz="1100">
                <a:latin typeface="Avenir Next LT Pro" panose="020B0504020202020204" pitchFamily="34" charset="77"/>
              </a:rPr>
              <a:t>Creative / 2010</a:t>
            </a: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p:txBody>
      </p:sp>
      <p:pic>
        <p:nvPicPr>
          <p:cNvPr id="2" name="Picture Placeholder 20">
            <a:extLst>
              <a:ext uri="{FF2B5EF4-FFF2-40B4-BE49-F238E27FC236}">
                <a16:creationId xmlns:a16="http://schemas.microsoft.com/office/drawing/2014/main" id="{F5B67F8F-F788-00FA-AD0C-98CD09BDE7D2}"/>
              </a:ext>
            </a:extLst>
          </p:cNvPr>
          <p:cNvPicPr>
            <a:picLocks noGrp="1" noChangeAspect="1"/>
          </p:cNvPicPr>
          <p:nvPr>
            <p:ph type="pic" sz="quarter" idx="10"/>
          </p:nvPr>
        </p:nvPicPr>
        <p:blipFill>
          <a:blip r:embed="rId4" cstate="screen">
            <a:extLst>
              <a:ext uri="{28A0092B-C50C-407E-A947-70E740481C1C}">
                <a14:useLocalDpi xmlns:a14="http://schemas.microsoft.com/office/drawing/2010/main"/>
              </a:ext>
            </a:extLst>
          </a:blip>
          <a:srcRect/>
          <a:stretch/>
        </p:blipFill>
        <p:spPr>
          <a:xfrm>
            <a:off x="592321" y="560957"/>
            <a:ext cx="2774553" cy="2774373"/>
          </a:xfrm>
        </p:spPr>
      </p:pic>
      <p:sp>
        <p:nvSpPr>
          <p:cNvPr id="7" name="Iris has worked on brands across (almost) all sectors: Fashion Retailer (C&amp;A), FMCG (PepsiCo, Unilever, P&amp;G, GSK, J&amp;J), Petfood (Royal Canin), Healthcare (Valiant Clinic, Leo Pharma), Automotive (VW), luxury (Sephora), Fast Food/QSR (McDonald’s), Leisure">
            <a:extLst>
              <a:ext uri="{FF2B5EF4-FFF2-40B4-BE49-F238E27FC236}">
                <a16:creationId xmlns:a16="http://schemas.microsoft.com/office/drawing/2014/main" id="{7D11AA25-0D4D-806B-7135-115450EBDBD7}"/>
              </a:ext>
            </a:extLst>
          </p:cNvPr>
          <p:cNvSpPr txBox="1"/>
          <p:nvPr/>
        </p:nvSpPr>
        <p:spPr>
          <a:xfrm>
            <a:off x="4065716" y="5519433"/>
            <a:ext cx="6739816" cy="22526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nchor="t">
            <a:spAutoFit/>
          </a:bodyPr>
          <a:lstStyle>
            <a:lvl1pPr defTabSz="457200">
              <a:defRPr sz="2000">
                <a:latin typeface="Avenir Next Regular"/>
                <a:ea typeface="Avenir Next Regular"/>
                <a:cs typeface="Avenir Next Regular"/>
                <a:sym typeface="Avenir Next Regular"/>
              </a:defRPr>
            </a:lvl1pPr>
          </a:lstStyle>
          <a:p>
            <a:pPr defTabSz="277246">
              <a:defRPr sz="2000">
                <a:latin typeface="Avenir Next Regular"/>
                <a:ea typeface="Avenir Next Regular"/>
                <a:cs typeface="Avenir Next Regular"/>
                <a:sym typeface="Avenir Next Regular"/>
              </a:defRPr>
            </a:pPr>
            <a:r>
              <a:rPr lang="en-GB" sz="1100">
                <a:latin typeface="Avenir Next LT Pro"/>
              </a:rPr>
              <a:t>LO Care, Hero Baby, </a:t>
            </a:r>
            <a:r>
              <a:rPr lang="en-GB" sz="1100" err="1">
                <a:latin typeface="Avenir Next LT Pro"/>
              </a:rPr>
              <a:t>ByBorre</a:t>
            </a:r>
            <a:r>
              <a:rPr lang="en-GB" sz="1100">
                <a:latin typeface="Avenir Next LT Pro"/>
              </a:rPr>
              <a:t>, Puma Fragrances, among others</a:t>
            </a:r>
            <a:endParaRPr lang="en-GB" sz="1100">
              <a:latin typeface="Avenir Next LT Pro" panose="020B0504020202020204" pitchFamily="34" charset="77"/>
            </a:endParaRPr>
          </a:p>
        </p:txBody>
      </p:sp>
    </p:spTree>
    <p:extLst>
      <p:ext uri="{BB962C8B-B14F-4D97-AF65-F5344CB8AC3E}">
        <p14:creationId xmlns:p14="http://schemas.microsoft.com/office/powerpoint/2010/main" val="12121594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06A0D3E-F0CD-B0D5-5DC5-FFA8E38B370B}"/>
              </a:ext>
            </a:extLst>
          </p:cNvPr>
          <p:cNvSpPr>
            <a:spLocks noGrp="1"/>
          </p:cNvSpPr>
          <p:nvPr>
            <p:ph type="body" sz="quarter" idx="11"/>
          </p:nvPr>
        </p:nvSpPr>
        <p:spPr>
          <a:xfrm>
            <a:off x="3793896" y="560957"/>
            <a:ext cx="5228184" cy="654844"/>
          </a:xfrm>
        </p:spPr>
        <p:txBody>
          <a:bodyPr lIns="91440" tIns="45720" rIns="91440" bIns="45720" anchor="t"/>
          <a:lstStyle/>
          <a:p>
            <a:r>
              <a:rPr lang="en-GB">
                <a:latin typeface="AvenirNext LT Pro Bold"/>
                <a:cs typeface="Arial"/>
              </a:rPr>
              <a:t>Meet </a:t>
            </a:r>
            <a:r>
              <a:rPr lang="en-GB" sz="4800" b="0">
                <a:gradFill>
                  <a:gsLst>
                    <a:gs pos="100000">
                      <a:srgbClr val="B79E60"/>
                    </a:gs>
                    <a:gs pos="0">
                      <a:srgbClr val="B79E60"/>
                    </a:gs>
                    <a:gs pos="54000">
                      <a:srgbClr val="DFCF84"/>
                    </a:gs>
                  </a:gsLst>
                  <a:lin ang="2700000" scaled="0"/>
                </a:gradFill>
                <a:latin typeface="Bodoni MT"/>
                <a:cs typeface="Arial"/>
              </a:rPr>
              <a:t>Joey </a:t>
            </a:r>
            <a:r>
              <a:rPr lang="en-GB" sz="4800" b="0" err="1">
                <a:gradFill>
                  <a:gsLst>
                    <a:gs pos="100000">
                      <a:srgbClr val="B79E60"/>
                    </a:gs>
                    <a:gs pos="0">
                      <a:srgbClr val="B79E60"/>
                    </a:gs>
                    <a:gs pos="54000">
                      <a:srgbClr val="DFCF84"/>
                    </a:gs>
                  </a:gsLst>
                  <a:lin ang="2700000" scaled="0"/>
                </a:gradFill>
                <a:latin typeface="Bodoni MT"/>
                <a:cs typeface="Arial"/>
              </a:rPr>
              <a:t>Boeters</a:t>
            </a:r>
            <a:endParaRPr lang="en-GB" sz="4800" b="0">
              <a:gradFill>
                <a:gsLst>
                  <a:gs pos="100000">
                    <a:srgbClr val="B79E60"/>
                  </a:gs>
                  <a:gs pos="0">
                    <a:srgbClr val="B79E60"/>
                  </a:gs>
                  <a:gs pos="54000">
                    <a:srgbClr val="DFCF84"/>
                  </a:gs>
                </a:gsLst>
                <a:lin ang="2700000" scaled="0"/>
              </a:gradFill>
              <a:latin typeface="Bodoni MT"/>
              <a:cs typeface="Arial"/>
            </a:endParaRPr>
          </a:p>
        </p:txBody>
      </p:sp>
      <p:sp>
        <p:nvSpPr>
          <p:cNvPr id="4" name="Text Placeholder 3">
            <a:extLst>
              <a:ext uri="{FF2B5EF4-FFF2-40B4-BE49-F238E27FC236}">
                <a16:creationId xmlns:a16="http://schemas.microsoft.com/office/drawing/2014/main" id="{08CC71B1-EF61-5341-080B-8119A61CA33E}"/>
              </a:ext>
            </a:extLst>
          </p:cNvPr>
          <p:cNvSpPr>
            <a:spLocks noGrp="1"/>
          </p:cNvSpPr>
          <p:nvPr>
            <p:ph type="body" sz="quarter" idx="12"/>
          </p:nvPr>
        </p:nvSpPr>
        <p:spPr>
          <a:xfrm>
            <a:off x="3793897" y="1146962"/>
            <a:ext cx="8056233" cy="475343"/>
          </a:xfrm>
        </p:spPr>
        <p:txBody>
          <a:bodyPr/>
          <a:lstStyle/>
          <a:p>
            <a:r>
              <a:rPr lang="en-GB">
                <a:latin typeface="Avenir Next LT Pro" panose="020B0504020202020204" pitchFamily="34" charset="77"/>
              </a:rPr>
              <a:t>Creative Partner &amp; Co-Founder</a:t>
            </a:r>
          </a:p>
        </p:txBody>
      </p:sp>
      <p:sp>
        <p:nvSpPr>
          <p:cNvPr id="5" name="TextBox 4">
            <a:extLst>
              <a:ext uri="{FF2B5EF4-FFF2-40B4-BE49-F238E27FC236}">
                <a16:creationId xmlns:a16="http://schemas.microsoft.com/office/drawing/2014/main" id="{23296222-F7A6-B066-453A-02B3501EA073}"/>
              </a:ext>
            </a:extLst>
          </p:cNvPr>
          <p:cNvSpPr txBox="1"/>
          <p:nvPr/>
        </p:nvSpPr>
        <p:spPr>
          <a:xfrm>
            <a:off x="3793897" y="1619625"/>
            <a:ext cx="7805782" cy="769441"/>
          </a:xfrm>
          <a:prstGeom prst="rect">
            <a:avLst/>
          </a:prstGeom>
          <a:noFill/>
        </p:spPr>
        <p:txBody>
          <a:bodyPr wrap="square">
            <a:spAutoFit/>
          </a:bodyPr>
          <a:lstStyle/>
          <a:p>
            <a:pPr>
              <a:defRPr>
                <a:solidFill>
                  <a:srgbClr val="000000"/>
                </a:solidFill>
              </a:defRPr>
            </a:pPr>
            <a:r>
              <a:rPr lang="en-GB" sz="1100">
                <a:latin typeface="Avenir Next LT Pro" panose="020B0504020202020204" pitchFamily="34" charset="77"/>
              </a:rPr>
              <a:t>Growing up in the Tel Sell era, Joey always wanted to become an inventor. But after failing to invent the next Quick ’n </a:t>
            </a:r>
            <a:r>
              <a:rPr lang="en-GB" sz="1100" err="1">
                <a:latin typeface="Avenir Next LT Pro" panose="020B0504020202020204" pitchFamily="34" charset="77"/>
              </a:rPr>
              <a:t>Brite</a:t>
            </a:r>
            <a:r>
              <a:rPr lang="en-GB" sz="1100">
                <a:latin typeface="Avenir Next LT Pro" panose="020B0504020202020204" pitchFamily="34" charset="77"/>
              </a:rPr>
              <a:t> or </a:t>
            </a:r>
            <a:r>
              <a:rPr lang="en-GB" sz="1100" err="1">
                <a:latin typeface="Avenir Next LT Pro" panose="020B0504020202020204" pitchFamily="34" charset="77"/>
              </a:rPr>
              <a:t>Boogy</a:t>
            </a:r>
            <a:r>
              <a:rPr lang="en-GB" sz="1100">
                <a:latin typeface="Avenir Next LT Pro" panose="020B0504020202020204" pitchFamily="34" charset="77"/>
              </a:rPr>
              <a:t> Bass, he guided his creativity elsewhere: Advertising. Joey aims to do advertising like Dennis </a:t>
            </a:r>
            <a:r>
              <a:rPr lang="en-GB" sz="1100" err="1">
                <a:latin typeface="Avenir Next LT Pro" panose="020B0504020202020204" pitchFamily="34" charset="77"/>
              </a:rPr>
              <a:t>Bergkamp</a:t>
            </a:r>
            <a:r>
              <a:rPr lang="en-GB" sz="1100">
                <a:latin typeface="Avenir Next LT Pro" panose="020B0504020202020204" pitchFamily="34" charset="77"/>
              </a:rPr>
              <a:t> did football. Because solving problems makes people content, but solving problems in a creative and surprising way makes people happy.</a:t>
            </a:r>
          </a:p>
        </p:txBody>
      </p:sp>
      <p:sp>
        <p:nvSpPr>
          <p:cNvPr id="8" name="Text Placeholder 11">
            <a:extLst>
              <a:ext uri="{FF2B5EF4-FFF2-40B4-BE49-F238E27FC236}">
                <a16:creationId xmlns:a16="http://schemas.microsoft.com/office/drawing/2014/main" id="{5EE29D63-012F-F5C3-B78B-95C01AA4BA16}"/>
              </a:ext>
            </a:extLst>
          </p:cNvPr>
          <p:cNvSpPr txBox="1">
            <a:spLocks/>
          </p:cNvSpPr>
          <p:nvPr/>
        </p:nvSpPr>
        <p:spPr>
          <a:xfrm>
            <a:off x="3997096" y="2425683"/>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BE" sz="1800" b="1" i="0" u="none" strike="noStrike" kern="1200" cap="none" spc="-25" normalizeH="0" baseline="0" noProof="0">
                <a:ln>
                  <a:noFill/>
                </a:ln>
                <a:solidFill>
                  <a:srgbClr val="282830"/>
                </a:solidFill>
                <a:effectLst/>
                <a:uLnTx/>
                <a:uFillTx/>
                <a:latin typeface="Avenir Next LT Pro" panose="020B0504020202020204" pitchFamily="34" charset="77"/>
              </a:rPr>
              <a:t>Work experience</a:t>
            </a:r>
          </a:p>
        </p:txBody>
      </p:sp>
      <p:pic>
        <p:nvPicPr>
          <p:cNvPr id="9" name="Picture 8">
            <a:extLst>
              <a:ext uri="{FF2B5EF4-FFF2-40B4-BE49-F238E27FC236}">
                <a16:creationId xmlns:a16="http://schemas.microsoft.com/office/drawing/2014/main" id="{1EF991FB-F048-AA9A-D3A9-87675CB90404}"/>
              </a:ext>
            </a:extLst>
          </p:cNvPr>
          <p:cNvPicPr>
            <a:picLocks noChangeAspect="1"/>
          </p:cNvPicPr>
          <p:nvPr/>
        </p:nvPicPr>
        <p:blipFill>
          <a:blip r:embed="rId2"/>
          <a:stretch>
            <a:fillRect/>
          </a:stretch>
        </p:blipFill>
        <p:spPr>
          <a:xfrm>
            <a:off x="3777187" y="2526015"/>
            <a:ext cx="203200" cy="165100"/>
          </a:xfrm>
          <a:prstGeom prst="rect">
            <a:avLst/>
          </a:prstGeom>
        </p:spPr>
      </p:pic>
      <p:sp>
        <p:nvSpPr>
          <p:cNvPr id="14" name="Text Placeholder 11">
            <a:extLst>
              <a:ext uri="{FF2B5EF4-FFF2-40B4-BE49-F238E27FC236}">
                <a16:creationId xmlns:a16="http://schemas.microsoft.com/office/drawing/2014/main" id="{4180CB5B-83A3-2664-5C76-355A35423BFA}"/>
              </a:ext>
            </a:extLst>
          </p:cNvPr>
          <p:cNvSpPr txBox="1">
            <a:spLocks/>
          </p:cNvSpPr>
          <p:nvPr/>
        </p:nvSpPr>
        <p:spPr>
          <a:xfrm>
            <a:off x="4022496" y="5120030"/>
            <a:ext cx="3997446" cy="198272"/>
          </a:xfrm>
          <a:prstGeom prst="rect">
            <a:avLst/>
          </a:prstGeom>
        </p:spPr>
        <p:txBody>
          <a:bodyPr/>
          <a:lstStyle>
            <a:defPPr>
              <a:defRPr lang="en-BE"/>
            </a:defPPr>
            <a:lvl1pPr marR="0" lvl="0" indent="0" defTabSz="914355" fontAlgn="auto">
              <a:lnSpc>
                <a:spcPct val="106000"/>
              </a:lnSpc>
              <a:spcBef>
                <a:spcPts val="0"/>
              </a:spcBef>
              <a:spcAft>
                <a:spcPts val="0"/>
              </a:spcAft>
              <a:buClrTx/>
              <a:buSzTx/>
              <a:buFont typeface="Arial" panose="020B0604020202020204" pitchFamily="34" charset="0"/>
              <a:buNone/>
              <a:tabLst/>
              <a:defRPr kumimoji="0" b="1" i="0" u="none" strike="noStrike" cap="none" spc="-25" normalizeH="0" baseline="0">
                <a:ln>
                  <a:noFill/>
                </a:ln>
                <a:solidFill>
                  <a:srgbClr val="282830"/>
                </a:solidFill>
                <a:effectLst/>
                <a:uLnTx/>
                <a:uFillTx/>
                <a:latin typeface="AvenirNext LT Pro Bold" panose="020B0504020202020204" pitchFamily="34" charset="77"/>
                <a:cs typeface="Arial" panose="020B0604020202020204" pitchFamily="34" charset="0"/>
              </a:defRPr>
            </a:lvl1pPr>
            <a:lvl2pPr marL="1209600" indent="-561600" defTabSz="1828709">
              <a:lnSpc>
                <a:spcPct val="106000"/>
              </a:lnSpc>
              <a:spcBef>
                <a:spcPts val="2600"/>
              </a:spcBef>
              <a:spcAft>
                <a:spcPts val="0"/>
              </a:spcAft>
              <a:buSzPct val="80000"/>
              <a:buFont typeface="Courier New" panose="02070309020205020404" pitchFamily="49" charset="0"/>
              <a:buChar char="o"/>
              <a:tabLst/>
              <a:defRPr sz="3600" cap="none" spc="-50" baseline="0"/>
            </a:lvl2pPr>
            <a:lvl3pPr marL="0" indent="0" defTabSz="1828709">
              <a:lnSpc>
                <a:spcPct val="106000"/>
              </a:lnSpc>
              <a:spcBef>
                <a:spcPts val="0"/>
              </a:spcBef>
              <a:spcAft>
                <a:spcPts val="0"/>
              </a:spcAft>
              <a:buSzPct val="95000"/>
              <a:buFont typeface="System Font Regular"/>
              <a:buNone/>
              <a:tabLst/>
              <a:defRPr sz="3600" spc="-50" baseline="0"/>
            </a:lvl3pPr>
            <a:lvl4pPr marL="0" indent="0" defTabSz="1828709">
              <a:lnSpc>
                <a:spcPct val="106000"/>
              </a:lnSpc>
              <a:spcBef>
                <a:spcPts val="0"/>
              </a:spcBef>
              <a:spcAft>
                <a:spcPts val="0"/>
              </a:spcAft>
              <a:buFont typeface="Arial" panose="020B0604020202020204" pitchFamily="34" charset="0"/>
              <a:buNone/>
              <a:tabLst/>
              <a:defRPr sz="3600" spc="-50" baseline="0"/>
            </a:lvl4pPr>
            <a:lvl5pPr marL="0" indent="0" defTabSz="1828709">
              <a:lnSpc>
                <a:spcPct val="106000"/>
              </a:lnSpc>
              <a:spcBef>
                <a:spcPts val="0"/>
              </a:spcBef>
              <a:spcAft>
                <a:spcPts val="0"/>
              </a:spcAft>
              <a:buFont typeface="System Font Regular"/>
              <a:buNone/>
              <a:tabLst/>
              <a:defRPr sz="3600" b="0" i="0" spc="-50" baseline="0">
                <a:cs typeface="Toyota Type Semibold" panose="020B0502020202020204" pitchFamily="34" charset="0"/>
              </a:defRPr>
            </a:lvl5pPr>
            <a:lvl6pPr marL="0" indent="0" defTabSz="1828709">
              <a:lnSpc>
                <a:spcPct val="117000"/>
              </a:lnSpc>
              <a:spcBef>
                <a:spcPts val="0"/>
              </a:spcBef>
              <a:spcAft>
                <a:spcPts val="0"/>
              </a:spcAft>
              <a:buFont typeface="Arial" panose="020B0604020202020204" pitchFamily="34" charset="0"/>
              <a:buNone/>
              <a:tabLst/>
              <a:defRPr sz="2200"/>
            </a:lvl6pPr>
            <a:lvl7pPr marL="0" indent="0" defTabSz="1828709">
              <a:lnSpc>
                <a:spcPct val="117000"/>
              </a:lnSpc>
              <a:spcBef>
                <a:spcPts val="0"/>
              </a:spcBef>
              <a:spcAft>
                <a:spcPts val="0"/>
              </a:spcAft>
              <a:buFont typeface="Arial" panose="020B0604020202020204" pitchFamily="34" charset="0"/>
              <a:buNone/>
              <a:tabLst/>
              <a:defRPr sz="2200"/>
            </a:lvl7pPr>
            <a:lvl8pPr marL="0" indent="0" defTabSz="1828709">
              <a:lnSpc>
                <a:spcPct val="117000"/>
              </a:lnSpc>
              <a:spcBef>
                <a:spcPts val="0"/>
              </a:spcBef>
              <a:spcAft>
                <a:spcPts val="0"/>
              </a:spcAft>
              <a:buFont typeface="Arial" panose="020B0604020202020204" pitchFamily="34" charset="0"/>
              <a:buNone/>
              <a:tabLst/>
              <a:defRPr sz="2200"/>
            </a:lvl8pPr>
            <a:lvl9pPr marL="0" indent="0" defTabSz="1828709">
              <a:lnSpc>
                <a:spcPct val="117000"/>
              </a:lnSpc>
              <a:spcBef>
                <a:spcPts val="0"/>
              </a:spcBef>
              <a:spcAft>
                <a:spcPts val="0"/>
              </a:spcAft>
              <a:buFont typeface="Arial" panose="020B0604020202020204" pitchFamily="34" charset="0"/>
              <a:buNone/>
              <a:tabLst/>
              <a:defRPr sz="2200"/>
            </a:lvl9pPr>
          </a:lstStyle>
          <a:p>
            <a:r>
              <a:rPr lang="en-BE">
                <a:latin typeface="Avenir Next LT Pro" panose="020B0504020202020204" pitchFamily="34" charset="77"/>
              </a:rPr>
              <a:t>Relevant experience</a:t>
            </a:r>
          </a:p>
        </p:txBody>
      </p:sp>
      <p:pic>
        <p:nvPicPr>
          <p:cNvPr id="15" name="Picture 14">
            <a:extLst>
              <a:ext uri="{FF2B5EF4-FFF2-40B4-BE49-F238E27FC236}">
                <a16:creationId xmlns:a16="http://schemas.microsoft.com/office/drawing/2014/main" id="{A629747E-1B40-4DC5-FF87-B4C56CFAC8C2}"/>
              </a:ext>
            </a:extLst>
          </p:cNvPr>
          <p:cNvPicPr>
            <a:picLocks noChangeAspect="1"/>
          </p:cNvPicPr>
          <p:nvPr/>
        </p:nvPicPr>
        <p:blipFill>
          <a:blip r:embed="rId3"/>
          <a:stretch>
            <a:fillRect/>
          </a:stretch>
        </p:blipFill>
        <p:spPr>
          <a:xfrm>
            <a:off x="3793896" y="5181307"/>
            <a:ext cx="228600" cy="228600"/>
          </a:xfrm>
          <a:prstGeom prst="rect">
            <a:avLst/>
          </a:prstGeom>
        </p:spPr>
      </p:pic>
      <p:sp>
        <p:nvSpPr>
          <p:cNvPr id="16" name="Text Placeholder 4">
            <a:extLst>
              <a:ext uri="{FF2B5EF4-FFF2-40B4-BE49-F238E27FC236}">
                <a16:creationId xmlns:a16="http://schemas.microsoft.com/office/drawing/2014/main" id="{DACEC355-50AE-CE22-5777-31A9BDC1E451}"/>
              </a:ext>
            </a:extLst>
          </p:cNvPr>
          <p:cNvSpPr>
            <a:spLocks noGrp="1"/>
          </p:cNvSpPr>
          <p:nvPr>
            <p:ph type="body" sz="quarter" idx="13"/>
          </p:nvPr>
        </p:nvSpPr>
        <p:spPr>
          <a:xfrm>
            <a:off x="184727" y="3567907"/>
            <a:ext cx="3307025" cy="1988344"/>
          </a:xfrm>
        </p:spPr>
        <p:txBody>
          <a:bodyPr/>
          <a:lstStyle/>
          <a:p>
            <a:r>
              <a:rPr lang="en-GB">
                <a:latin typeface="Avenir Next LT Pro" panose="020B0504020202020204" pitchFamily="34" charset="77"/>
              </a:rPr>
              <a:t>“Happiness is as much the </a:t>
            </a:r>
            <a:r>
              <a:rPr lang="en-GB">
                <a:solidFill>
                  <a:srgbClr val="DAC97F"/>
                </a:solidFill>
                <a:latin typeface="Avenir Next LT Pro" panose="020B0504020202020204" pitchFamily="34" charset="77"/>
              </a:rPr>
              <a:t>journey</a:t>
            </a:r>
            <a:r>
              <a:rPr lang="en-GB">
                <a:latin typeface="Avenir Next LT Pro" panose="020B0504020202020204" pitchFamily="34" charset="77"/>
              </a:rPr>
              <a:t> as it is the </a:t>
            </a:r>
            <a:r>
              <a:rPr lang="en-GB">
                <a:solidFill>
                  <a:srgbClr val="DAC97F"/>
                </a:solidFill>
                <a:latin typeface="Avenir Next LT Pro" panose="020B0504020202020204" pitchFamily="34" charset="77"/>
              </a:rPr>
              <a:t>destination</a:t>
            </a:r>
            <a:r>
              <a:rPr lang="en-GB">
                <a:latin typeface="Avenir Next LT Pro" panose="020B0504020202020204" pitchFamily="34" charset="77"/>
              </a:rPr>
              <a:t>.”</a:t>
            </a:r>
          </a:p>
        </p:txBody>
      </p:sp>
      <p:sp>
        <p:nvSpPr>
          <p:cNvPr id="6" name="Iris has worked on brands across (almost) all sectors: Fashion Retailer (C&amp;A), FMCG (PepsiCo, Unilever, P&amp;G, GSK, J&amp;J), Petfood (Royal Canin), Healthcare (Valiant Clinic, Leo Pharma), Automotive (VW), luxury (Sephora), Fast Food/QSR (McDonald’s), Leisure">
            <a:extLst>
              <a:ext uri="{FF2B5EF4-FFF2-40B4-BE49-F238E27FC236}">
                <a16:creationId xmlns:a16="http://schemas.microsoft.com/office/drawing/2014/main" id="{A1A47FBD-12F4-8A08-8039-7E6465BD3298}"/>
              </a:ext>
            </a:extLst>
          </p:cNvPr>
          <p:cNvSpPr txBox="1"/>
          <p:nvPr/>
        </p:nvSpPr>
        <p:spPr>
          <a:xfrm>
            <a:off x="4131406" y="5512864"/>
            <a:ext cx="6739816" cy="225269"/>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nchor="t">
            <a:spAutoFit/>
          </a:bodyPr>
          <a:lstStyle>
            <a:lvl1pPr defTabSz="457200">
              <a:defRPr sz="2000">
                <a:latin typeface="Avenir Next Regular"/>
                <a:ea typeface="Avenir Next Regular"/>
                <a:cs typeface="Avenir Next Regular"/>
                <a:sym typeface="Avenir Next Regular"/>
              </a:defRPr>
            </a:lvl1pPr>
          </a:lstStyle>
          <a:p>
            <a:pPr defTabSz="277246">
              <a:defRPr sz="2000">
                <a:latin typeface="Avenir Next Regular"/>
                <a:ea typeface="Avenir Next Regular"/>
                <a:cs typeface="Avenir Next Regular"/>
                <a:sym typeface="Avenir Next Regular"/>
              </a:defRPr>
            </a:pPr>
            <a:r>
              <a:rPr lang="en-GB" sz="1100">
                <a:latin typeface="Avenir Next LT Pro"/>
              </a:rPr>
              <a:t>LO Care, Hero Baby, </a:t>
            </a:r>
            <a:r>
              <a:rPr lang="en-GB" sz="1100" err="1">
                <a:latin typeface="Avenir Next LT Pro"/>
              </a:rPr>
              <a:t>ByBorre</a:t>
            </a:r>
            <a:r>
              <a:rPr lang="en-GB" sz="1100">
                <a:latin typeface="Avenir Next LT Pro"/>
              </a:rPr>
              <a:t>, Puma Fragrances, among others</a:t>
            </a:r>
            <a:endParaRPr lang="en-GB" sz="1100">
              <a:latin typeface="Avenir Next LT Pro" panose="020B0504020202020204" pitchFamily="34" charset="77"/>
            </a:endParaRPr>
          </a:p>
        </p:txBody>
      </p:sp>
      <p:sp>
        <p:nvSpPr>
          <p:cNvPr id="13" name="Happiness Amsterdam…">
            <a:extLst>
              <a:ext uri="{FF2B5EF4-FFF2-40B4-BE49-F238E27FC236}">
                <a16:creationId xmlns:a16="http://schemas.microsoft.com/office/drawing/2014/main" id="{6936C853-28BC-4E22-47EA-1301FF7F1971}"/>
              </a:ext>
            </a:extLst>
          </p:cNvPr>
          <p:cNvSpPr txBox="1"/>
          <p:nvPr/>
        </p:nvSpPr>
        <p:spPr>
          <a:xfrm>
            <a:off x="4065716" y="2865228"/>
            <a:ext cx="3565949" cy="219311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Happiness Amsterdam</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Creative Partner &amp; Co-founder / March 2023 - present</a:t>
            </a: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Fitzroy Amsterdam</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Creative Director / May 2022 - Feb 2023</a:t>
            </a: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Wunderman Thompson Amsterdam</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Senior Creative / Jan 2020 - May 2022</a:t>
            </a: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INDIE Amsterdam</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Senior Creative / May 2017 - Jan 2020</a:t>
            </a: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Duval Guillaume Antwerp &amp; Brussels</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Senior Creative / Jun 2015 - May 2017</a:t>
            </a:r>
          </a:p>
        </p:txBody>
      </p:sp>
      <p:sp>
        <p:nvSpPr>
          <p:cNvPr id="17" name="Fitzroy Amsterdam…">
            <a:extLst>
              <a:ext uri="{FF2B5EF4-FFF2-40B4-BE49-F238E27FC236}">
                <a16:creationId xmlns:a16="http://schemas.microsoft.com/office/drawing/2014/main" id="{33FF2737-B843-0319-E34A-1D83011C8427}"/>
              </a:ext>
            </a:extLst>
          </p:cNvPr>
          <p:cNvSpPr txBox="1"/>
          <p:nvPr/>
        </p:nvSpPr>
        <p:spPr>
          <a:xfrm>
            <a:off x="7693936" y="2859197"/>
            <a:ext cx="3797004" cy="249781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Fitzroy Amsterdam</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Creative / Jan 2014 - Jun 2015</a:t>
            </a:r>
          </a:p>
          <a:p>
            <a:pPr>
              <a:lnSpc>
                <a:spcPct val="90000"/>
              </a:lnSpc>
              <a:defRPr sz="1600" b="1">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err="1">
                <a:latin typeface="Avenir Next LT Pro" panose="020B0504020202020204" pitchFamily="34" charset="77"/>
              </a:rPr>
              <a:t>Roorda</a:t>
            </a:r>
            <a:r>
              <a:rPr sz="1100">
                <a:latin typeface="Avenir Next LT Pro" panose="020B0504020202020204" pitchFamily="34" charset="77"/>
              </a:rPr>
              <a:t> </a:t>
            </a:r>
            <a:r>
              <a:rPr sz="1100" err="1">
                <a:latin typeface="Avenir Next LT Pro" panose="020B0504020202020204" pitchFamily="34" charset="77"/>
              </a:rPr>
              <a:t>Reclame</a:t>
            </a:r>
            <a:endParaRPr sz="1100">
              <a:latin typeface="Avenir Next LT Pro" panose="020B0504020202020204" pitchFamily="34" charset="77"/>
            </a:endParaRP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Creative / Jul 2011 - Jan 2014</a:t>
            </a:r>
          </a:p>
          <a:p>
            <a:pPr>
              <a:lnSpc>
                <a:spcPct val="90000"/>
              </a:lnSpc>
              <a:defRPr sz="1600" b="1">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Combat</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Junior Creative / Dec 2010 - Mar 2011</a:t>
            </a: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a:latin typeface="Avenir Next LT Pro" panose="020B0504020202020204" pitchFamily="34" charset="77"/>
              </a:rPr>
              <a:t>Bureau Kellerman</a:t>
            </a: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Junior Creative / May 2009 - Nov 2010</a:t>
            </a: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b="1">
                <a:latin typeface="Avenir Next Regular"/>
                <a:ea typeface="Avenir Next Regular"/>
                <a:cs typeface="Avenir Next Regular"/>
                <a:sym typeface="Avenir Next Regular"/>
              </a:defRPr>
            </a:pPr>
            <a:r>
              <a:rPr sz="1100" err="1">
                <a:latin typeface="Avenir Next LT Pro" panose="020B0504020202020204" pitchFamily="34" charset="77"/>
              </a:rPr>
              <a:t>Gummo</a:t>
            </a:r>
            <a:endParaRPr sz="1100">
              <a:latin typeface="Avenir Next LT Pro" panose="020B0504020202020204" pitchFamily="34" charset="77"/>
            </a:endParaRPr>
          </a:p>
          <a:p>
            <a:pPr>
              <a:lnSpc>
                <a:spcPct val="90000"/>
              </a:lnSpc>
              <a:defRPr sz="1600">
                <a:latin typeface="Avenir Next Regular"/>
                <a:ea typeface="Avenir Next Regular"/>
                <a:cs typeface="Avenir Next Regular"/>
                <a:sym typeface="Avenir Next Regular"/>
              </a:defRPr>
            </a:pPr>
            <a:r>
              <a:rPr sz="1100">
                <a:latin typeface="Avenir Next LT Pro" panose="020B0504020202020204" pitchFamily="34" charset="77"/>
              </a:rPr>
              <a:t>Junior Creative / May 2008 - May 2009</a:t>
            </a: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a:p>
            <a:pPr>
              <a:lnSpc>
                <a:spcPct val="90000"/>
              </a:lnSpc>
              <a:defRPr sz="1600">
                <a:latin typeface="Avenir Next Regular"/>
                <a:ea typeface="Avenir Next Regular"/>
                <a:cs typeface="Avenir Next Regular"/>
                <a:sym typeface="Avenir Next Regular"/>
              </a:defRPr>
            </a:pPr>
            <a:endParaRPr sz="1100">
              <a:latin typeface="Avenir Next LT Pro" panose="020B0504020202020204" pitchFamily="34" charset="77"/>
            </a:endParaRPr>
          </a:p>
        </p:txBody>
      </p:sp>
      <p:pic>
        <p:nvPicPr>
          <p:cNvPr id="2" name="Picture Placeholder 20">
            <a:extLst>
              <a:ext uri="{FF2B5EF4-FFF2-40B4-BE49-F238E27FC236}">
                <a16:creationId xmlns:a16="http://schemas.microsoft.com/office/drawing/2014/main" id="{E4FFB0FC-FBAF-271D-FA64-748DC7D0E780}"/>
              </a:ext>
            </a:extLst>
          </p:cNvPr>
          <p:cNvPicPr>
            <a:picLocks noGrp="1" noChangeAspect="1"/>
          </p:cNvPicPr>
          <p:nvPr>
            <p:ph type="pic" sz="quarter" idx="10"/>
          </p:nvPr>
        </p:nvPicPr>
        <p:blipFill>
          <a:blip r:embed="rId4" cstate="screen">
            <a:extLst>
              <a:ext uri="{28A0092B-C50C-407E-A947-70E740481C1C}">
                <a14:useLocalDpi xmlns:a14="http://schemas.microsoft.com/office/drawing/2010/main"/>
              </a:ext>
            </a:extLst>
          </a:blip>
          <a:srcRect/>
          <a:stretch/>
        </p:blipFill>
        <p:spPr>
          <a:xfrm>
            <a:off x="592321" y="560957"/>
            <a:ext cx="2774553" cy="2774373"/>
          </a:xfrm>
        </p:spPr>
      </p:pic>
    </p:spTree>
    <p:extLst>
      <p:ext uri="{BB962C8B-B14F-4D97-AF65-F5344CB8AC3E}">
        <p14:creationId xmlns:p14="http://schemas.microsoft.com/office/powerpoint/2010/main" val="33911624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EAEF6A66-FDF4-0FBA-4FF6-1ED2730AFE41}"/>
              </a:ext>
            </a:extLst>
          </p:cNvPr>
          <p:cNvSpPr txBox="1">
            <a:spLocks/>
          </p:cNvSpPr>
          <p:nvPr/>
        </p:nvSpPr>
        <p:spPr>
          <a:xfrm>
            <a:off x="4151829" y="2226502"/>
            <a:ext cx="3137263" cy="2498998"/>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defTabSz="914355">
              <a:lnSpc>
                <a:spcPct val="100000"/>
              </a:lnSpc>
              <a:buNone/>
              <a:tabLst>
                <a:tab pos="88107" algn="l"/>
              </a:tabLst>
            </a:pPr>
            <a:r>
              <a:rPr lang="en-GB" sz="1200" spc="0">
                <a:solidFill>
                  <a:srgbClr val="282830"/>
                </a:solidFill>
                <a:latin typeface="Avenir Next LT Pro" panose="020B0504020202020204" pitchFamily="34" charset="77"/>
              </a:rPr>
              <a:t>Concept providers</a:t>
            </a:r>
          </a:p>
          <a:p>
            <a:pPr marL="0" indent="0">
              <a:buClr>
                <a:srgbClr val="FFFFFF"/>
              </a:buClr>
              <a:buNone/>
              <a:tabLst>
                <a:tab pos="88107" algn="l"/>
                <a:tab pos="172244" algn="l"/>
              </a:tabLst>
              <a:defRPr/>
            </a:pPr>
            <a:r>
              <a:rPr lang="en-GB" sz="1200" b="0" spc="0">
                <a:solidFill>
                  <a:srgbClr val="8A8B90"/>
                </a:solidFill>
                <a:latin typeface="Avenir Next LT Pro" panose="020B0504020202020204" pitchFamily="34" charset="77"/>
              </a:rPr>
              <a:t>2021 - present | Happiness Brussels</a:t>
            </a:r>
          </a:p>
          <a:p>
            <a:pPr marL="0" indent="0" defTabSz="914355">
              <a:lnSpc>
                <a:spcPct val="100000"/>
              </a:lnSpc>
              <a:buClr>
                <a:srgbClr val="FFFFFF"/>
              </a:buClr>
              <a:buNone/>
              <a:tabLst>
                <a:tab pos="88107" algn="l"/>
                <a:tab pos="172244" algn="l"/>
              </a:tabLst>
            </a:pPr>
            <a:r>
              <a:rPr lang="en-GB" sz="1100" b="0" spc="0">
                <a:solidFill>
                  <a:srgbClr val="8A8B90"/>
                </a:solidFill>
                <a:latin typeface="Avenir Next LT Pro" panose="020B0504020202020204" pitchFamily="34" charset="77"/>
              </a:rPr>
              <a:t> </a:t>
            </a:r>
          </a:p>
          <a:p>
            <a:pPr marL="0" indent="0" defTabSz="914355">
              <a:lnSpc>
                <a:spcPct val="100000"/>
              </a:lnSpc>
              <a:buNone/>
              <a:tabLst>
                <a:tab pos="88107" algn="l"/>
              </a:tabLst>
            </a:pPr>
            <a:r>
              <a:rPr lang="en-GB" sz="1200" spc="0">
                <a:solidFill>
                  <a:srgbClr val="282830"/>
                </a:solidFill>
                <a:latin typeface="Avenir Next LT Pro" panose="020B0504020202020204" pitchFamily="34" charset="77"/>
              </a:rPr>
              <a:t>Concept providers</a:t>
            </a:r>
          </a:p>
          <a:p>
            <a:pPr marL="0" indent="0">
              <a:buClr>
                <a:srgbClr val="FFFFFF"/>
              </a:buClr>
              <a:buNone/>
              <a:tabLst>
                <a:tab pos="88107" algn="l"/>
                <a:tab pos="172244" algn="l"/>
              </a:tabLst>
              <a:defRPr/>
            </a:pPr>
            <a:r>
              <a:rPr lang="en-GB" sz="1200" b="0" spc="0">
                <a:solidFill>
                  <a:srgbClr val="8A8B90"/>
                </a:solidFill>
                <a:latin typeface="Avenir Next LT Pro" panose="020B0504020202020204" pitchFamily="34" charset="77"/>
              </a:rPr>
              <a:t>2020 - 2021 | TBWA Belgium</a:t>
            </a:r>
          </a:p>
          <a:p>
            <a:pPr marL="0" indent="0" defTabSz="914355">
              <a:lnSpc>
                <a:spcPct val="100000"/>
              </a:lnSpc>
              <a:buClr>
                <a:srgbClr val="FFFFFF"/>
              </a:buClr>
              <a:buNone/>
              <a:tabLst>
                <a:tab pos="88107" algn="l"/>
                <a:tab pos="172244" algn="l"/>
              </a:tabLst>
            </a:pPr>
            <a:endParaRPr lang="en-GB" sz="1100" b="0" spc="0">
              <a:solidFill>
                <a:srgbClr val="8A8B90"/>
              </a:solidFill>
              <a:latin typeface="Avenir Next LT Pro" panose="020B0504020202020204" pitchFamily="34" charset="77"/>
            </a:endParaRPr>
          </a:p>
          <a:p>
            <a:pPr marL="0" indent="0" defTabSz="914355">
              <a:lnSpc>
                <a:spcPct val="100000"/>
              </a:lnSpc>
              <a:buNone/>
              <a:tabLst>
                <a:tab pos="88107" algn="l"/>
              </a:tabLst>
            </a:pPr>
            <a:r>
              <a:rPr lang="en-GB" sz="1200" spc="0">
                <a:solidFill>
                  <a:srgbClr val="282830"/>
                </a:solidFill>
                <a:latin typeface="Avenir Next LT Pro" panose="020B0504020202020204" pitchFamily="34" charset="77"/>
              </a:rPr>
              <a:t>Concept providers</a:t>
            </a:r>
          </a:p>
          <a:p>
            <a:pPr marL="0" indent="0">
              <a:buClr>
                <a:srgbClr val="FFFFFF"/>
              </a:buClr>
              <a:buNone/>
              <a:tabLst>
                <a:tab pos="88107" algn="l"/>
                <a:tab pos="172244" algn="l"/>
              </a:tabLst>
              <a:defRPr/>
            </a:pPr>
            <a:r>
              <a:rPr lang="en-GB" sz="1200" b="0" spc="0">
                <a:solidFill>
                  <a:srgbClr val="8A8B90"/>
                </a:solidFill>
                <a:latin typeface="Avenir Next LT Pro" panose="020B0504020202020204" pitchFamily="34" charset="77"/>
              </a:rPr>
              <a:t>2018 - 2019 | Federate</a:t>
            </a:r>
          </a:p>
          <a:p>
            <a:pPr marL="0" indent="0" defTabSz="914355">
              <a:lnSpc>
                <a:spcPct val="100000"/>
              </a:lnSpc>
              <a:buClr>
                <a:srgbClr val="FFFFFF"/>
              </a:buClr>
              <a:buNone/>
              <a:tabLst>
                <a:tab pos="88107" algn="l"/>
                <a:tab pos="172244" algn="l"/>
              </a:tabLst>
            </a:pPr>
            <a:endParaRPr lang="en-GB" sz="1100" b="0" spc="0">
              <a:solidFill>
                <a:srgbClr val="8A8B90"/>
              </a:solidFill>
              <a:latin typeface="Avenir Next LT Pro" panose="020B0504020202020204" pitchFamily="34" charset="77"/>
            </a:endParaRPr>
          </a:p>
        </p:txBody>
      </p:sp>
      <p:sp>
        <p:nvSpPr>
          <p:cNvPr id="7" name="Text Placeholder 17">
            <a:extLst>
              <a:ext uri="{FF2B5EF4-FFF2-40B4-BE49-F238E27FC236}">
                <a16:creationId xmlns:a16="http://schemas.microsoft.com/office/drawing/2014/main" id="{6AEBD734-271E-AD6D-8808-A093DAFC1609}"/>
              </a:ext>
            </a:extLst>
          </p:cNvPr>
          <p:cNvSpPr txBox="1">
            <a:spLocks/>
          </p:cNvSpPr>
          <p:nvPr/>
        </p:nvSpPr>
        <p:spPr>
          <a:xfrm>
            <a:off x="4151829" y="4666167"/>
            <a:ext cx="4738783" cy="603643"/>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defTabSz="914355">
              <a:lnSpc>
                <a:spcPct val="100000"/>
              </a:lnSpc>
              <a:buNone/>
              <a:tabLst>
                <a:tab pos="88107" algn="l"/>
              </a:tabLst>
            </a:pPr>
            <a:r>
              <a:rPr lang="en-GB" sz="1200" spc="0">
                <a:solidFill>
                  <a:srgbClr val="282830"/>
                </a:solidFill>
                <a:latin typeface="Avenir Next LT Pro" panose="020B0504020202020204" pitchFamily="34" charset="77"/>
              </a:rPr>
              <a:t>Master in Advertising (G)</a:t>
            </a:r>
          </a:p>
          <a:p>
            <a:pPr marL="0" indent="0" defTabSz="914355">
              <a:lnSpc>
                <a:spcPct val="100000"/>
              </a:lnSpc>
              <a:buClr>
                <a:srgbClr val="FFFFFF"/>
              </a:buClr>
              <a:buNone/>
              <a:tabLst>
                <a:tab pos="88107" algn="l"/>
                <a:tab pos="172244" algn="l"/>
              </a:tabLst>
            </a:pPr>
            <a:r>
              <a:rPr lang="en-GB" sz="1200" b="0" spc="0">
                <a:solidFill>
                  <a:srgbClr val="8A8B90"/>
                </a:solidFill>
                <a:latin typeface="Avenir Next LT Pro" panose="020B0504020202020204" pitchFamily="34" charset="77"/>
              </a:rPr>
              <a:t>Haute École Francisco Ferrer</a:t>
            </a:r>
          </a:p>
          <a:p>
            <a:pPr marL="0" indent="0" defTabSz="914355">
              <a:lnSpc>
                <a:spcPct val="100000"/>
              </a:lnSpc>
              <a:buClr>
                <a:srgbClr val="FFFFFF"/>
              </a:buClr>
              <a:buNone/>
              <a:tabLst>
                <a:tab pos="88107" algn="l"/>
                <a:tab pos="172244" algn="l"/>
              </a:tabLst>
            </a:pPr>
            <a:endParaRPr lang="en-GB" sz="1200" b="0" spc="0">
              <a:solidFill>
                <a:srgbClr val="8A8B90"/>
              </a:solidFill>
              <a:latin typeface="Avenir Next LT Pro" panose="020B0504020202020204" pitchFamily="34" charset="77"/>
            </a:endParaRPr>
          </a:p>
          <a:p>
            <a:pPr marL="0" indent="0" defTabSz="914355">
              <a:lnSpc>
                <a:spcPct val="100000"/>
              </a:lnSpc>
              <a:buNone/>
              <a:tabLst>
                <a:tab pos="88107" algn="l"/>
              </a:tabLst>
            </a:pPr>
            <a:r>
              <a:rPr lang="en-GB" sz="1200" spc="0">
                <a:solidFill>
                  <a:srgbClr val="282830"/>
                </a:solidFill>
                <a:latin typeface="Avenir Next LT Pro" panose="020B0504020202020204" pitchFamily="34" charset="77"/>
              </a:rPr>
              <a:t>Master in Art direction (T)</a:t>
            </a:r>
          </a:p>
          <a:p>
            <a:pPr marL="0" indent="0" defTabSz="914355">
              <a:lnSpc>
                <a:spcPct val="100000"/>
              </a:lnSpc>
              <a:buClr>
                <a:srgbClr val="FFFFFF"/>
              </a:buClr>
              <a:buNone/>
              <a:tabLst>
                <a:tab pos="88107" algn="l"/>
                <a:tab pos="172244" algn="l"/>
              </a:tabLst>
            </a:pPr>
            <a:r>
              <a:rPr lang="en-GB" sz="1200" b="0" spc="0">
                <a:solidFill>
                  <a:srgbClr val="8A8B90"/>
                </a:solidFill>
                <a:latin typeface="Avenir Next LT Pro" panose="020B0504020202020204" pitchFamily="34" charset="77"/>
              </a:rPr>
              <a:t>Sup de Pub</a:t>
            </a:r>
          </a:p>
          <a:p>
            <a:pPr marL="0" indent="0" defTabSz="914355">
              <a:lnSpc>
                <a:spcPct val="100000"/>
              </a:lnSpc>
              <a:buClr>
                <a:srgbClr val="FFFFFF"/>
              </a:buClr>
              <a:buNone/>
              <a:tabLst>
                <a:tab pos="88107" algn="l"/>
                <a:tab pos="172244" algn="l"/>
              </a:tabLst>
            </a:pPr>
            <a:endParaRPr lang="en-GB" sz="1200" b="0" spc="0">
              <a:solidFill>
                <a:srgbClr val="8A8B90"/>
              </a:solidFill>
              <a:latin typeface="Avenir Next LT Pro" panose="020B0504020202020204" pitchFamily="34" charset="77"/>
            </a:endParaRPr>
          </a:p>
          <a:p>
            <a:pPr marL="0" indent="0" defTabSz="914355">
              <a:lnSpc>
                <a:spcPct val="100000"/>
              </a:lnSpc>
              <a:buClr>
                <a:srgbClr val="FFFFFF"/>
              </a:buClr>
              <a:buNone/>
              <a:tabLst>
                <a:tab pos="88107" algn="l"/>
                <a:tab pos="172244" algn="l"/>
              </a:tabLst>
            </a:pPr>
            <a:endParaRPr lang="en-GB" sz="1200" b="0" spc="0">
              <a:solidFill>
                <a:srgbClr val="8A8B90"/>
              </a:solidFill>
              <a:latin typeface="Avenir Next LT Pro" panose="020B0504020202020204" pitchFamily="34" charset="77"/>
            </a:endParaRPr>
          </a:p>
        </p:txBody>
      </p:sp>
      <p:sp>
        <p:nvSpPr>
          <p:cNvPr id="8" name="Text Placeholder 17">
            <a:extLst>
              <a:ext uri="{FF2B5EF4-FFF2-40B4-BE49-F238E27FC236}">
                <a16:creationId xmlns:a16="http://schemas.microsoft.com/office/drawing/2014/main" id="{059AE433-E869-CD5F-C605-0E40872C18DE}"/>
              </a:ext>
            </a:extLst>
          </p:cNvPr>
          <p:cNvSpPr txBox="1">
            <a:spLocks/>
          </p:cNvSpPr>
          <p:nvPr/>
        </p:nvSpPr>
        <p:spPr>
          <a:xfrm>
            <a:off x="7599032" y="2226503"/>
            <a:ext cx="3237004" cy="1755019"/>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a:lnSpc>
                <a:spcPct val="100000"/>
              </a:lnSpc>
              <a:buNone/>
              <a:tabLst>
                <a:tab pos="88107" algn="l"/>
              </a:tabLst>
              <a:defRPr/>
            </a:pPr>
            <a:r>
              <a:rPr lang="fr-FR" sz="1200" b="0" spc="0">
                <a:solidFill>
                  <a:srgbClr val="282830"/>
                </a:solidFill>
                <a:latin typeface="Avenir Next LT Pro" panose="020B0504020202020204" pitchFamily="34" charset="77"/>
              </a:rPr>
              <a:t>Gil &amp; Thibaut are native French speakers </a:t>
            </a:r>
            <a:r>
              <a:rPr lang="fr-FR" sz="1200" b="0" spc="0" err="1">
                <a:solidFill>
                  <a:srgbClr val="282830"/>
                </a:solidFill>
                <a:latin typeface="Avenir Next LT Pro" panose="020B0504020202020204" pitchFamily="34" charset="77"/>
              </a:rPr>
              <a:t>with</a:t>
            </a:r>
            <a:r>
              <a:rPr lang="fr-FR" sz="1200" b="0" spc="0">
                <a:solidFill>
                  <a:srgbClr val="282830"/>
                </a:solidFill>
                <a:latin typeface="Avenir Next LT Pro" panose="020B0504020202020204" pitchFamily="34" charset="77"/>
              </a:rPr>
              <a:t> a </a:t>
            </a:r>
            <a:r>
              <a:rPr lang="fr-FR" sz="1200" b="0" spc="0" err="1">
                <a:solidFill>
                  <a:srgbClr val="282830"/>
                </a:solidFill>
                <a:latin typeface="Avenir Next LT Pro" panose="020B0504020202020204" pitchFamily="34" charset="77"/>
              </a:rPr>
              <a:t>very</a:t>
            </a:r>
            <a:r>
              <a:rPr lang="fr-FR" sz="1200" b="0" spc="0">
                <a:solidFill>
                  <a:srgbClr val="282830"/>
                </a:solidFill>
                <a:latin typeface="Avenir Next LT Pro" panose="020B0504020202020204" pitchFamily="34" charset="77"/>
              </a:rPr>
              <a:t> good </a:t>
            </a:r>
            <a:r>
              <a:rPr lang="fr-FR" sz="1200" b="0" spc="0" err="1">
                <a:solidFill>
                  <a:srgbClr val="282830"/>
                </a:solidFill>
                <a:latin typeface="Avenir Next LT Pro" panose="020B0504020202020204" pitchFamily="34" charset="77"/>
              </a:rPr>
              <a:t>knowledge</a:t>
            </a:r>
            <a:r>
              <a:rPr lang="fr-FR" sz="1200" b="0" spc="0">
                <a:solidFill>
                  <a:srgbClr val="282830"/>
                </a:solidFill>
                <a:latin typeface="Avenir Next LT Pro" panose="020B0504020202020204" pitchFamily="34" charset="77"/>
              </a:rPr>
              <a:t> of English.</a:t>
            </a:r>
          </a:p>
        </p:txBody>
      </p:sp>
      <p:sp>
        <p:nvSpPr>
          <p:cNvPr id="9" name="Text Placeholder 17">
            <a:extLst>
              <a:ext uri="{FF2B5EF4-FFF2-40B4-BE49-F238E27FC236}">
                <a16:creationId xmlns:a16="http://schemas.microsoft.com/office/drawing/2014/main" id="{B46C4CA7-D58B-80F5-3DA5-F57F90447164}"/>
              </a:ext>
            </a:extLst>
          </p:cNvPr>
          <p:cNvSpPr txBox="1">
            <a:spLocks/>
          </p:cNvSpPr>
          <p:nvPr/>
        </p:nvSpPr>
        <p:spPr>
          <a:xfrm>
            <a:off x="7599032" y="3186613"/>
            <a:ext cx="2870087" cy="455194"/>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defTabSz="914355">
              <a:lnSpc>
                <a:spcPct val="100000"/>
              </a:lnSpc>
              <a:buNone/>
              <a:tabLst>
                <a:tab pos="88107" algn="l"/>
              </a:tabLst>
            </a:pPr>
            <a:r>
              <a:rPr lang="en-GB" sz="1200" b="0">
                <a:solidFill>
                  <a:srgbClr val="282830"/>
                </a:solidFill>
                <a:latin typeface="Avenir Next LT Pro" panose="020B0504020202020204" pitchFamily="34" charset="77"/>
              </a:rPr>
              <a:t>1 Cannes Lion</a:t>
            </a:r>
          </a:p>
          <a:p>
            <a:pPr marL="0" indent="0" defTabSz="914355">
              <a:lnSpc>
                <a:spcPct val="100000"/>
              </a:lnSpc>
              <a:buNone/>
              <a:tabLst>
                <a:tab pos="88107" algn="l"/>
              </a:tabLst>
            </a:pPr>
            <a:r>
              <a:rPr lang="en-GB" sz="1200" b="0">
                <a:solidFill>
                  <a:srgbClr val="282830"/>
                </a:solidFill>
                <a:latin typeface="Avenir Next LT Pro" panose="020B0504020202020204" pitchFamily="34" charset="77"/>
              </a:rPr>
              <a:t>3 </a:t>
            </a:r>
            <a:r>
              <a:rPr lang="en-GB" sz="1200" b="0" err="1">
                <a:solidFill>
                  <a:srgbClr val="282830"/>
                </a:solidFill>
                <a:latin typeface="Avenir Next LT Pro" panose="020B0504020202020204" pitchFamily="34" charset="77"/>
              </a:rPr>
              <a:t>Eurobest</a:t>
            </a:r>
            <a:r>
              <a:rPr lang="en-GB" sz="1200" b="0">
                <a:solidFill>
                  <a:srgbClr val="282830"/>
                </a:solidFill>
                <a:latin typeface="Avenir Next LT Pro" panose="020B0504020202020204" pitchFamily="34" charset="77"/>
              </a:rPr>
              <a:t> Awards</a:t>
            </a:r>
          </a:p>
          <a:p>
            <a:pPr marL="0" indent="0" defTabSz="914355">
              <a:lnSpc>
                <a:spcPct val="100000"/>
              </a:lnSpc>
              <a:buNone/>
              <a:tabLst>
                <a:tab pos="88107" algn="l"/>
              </a:tabLst>
            </a:pPr>
            <a:r>
              <a:rPr lang="en-GB" sz="1200" b="0">
                <a:solidFill>
                  <a:srgbClr val="282830"/>
                </a:solidFill>
                <a:latin typeface="Avenir Next LT Pro" panose="020B0504020202020204" pitchFamily="34" charset="77"/>
              </a:rPr>
              <a:t>1 </a:t>
            </a:r>
            <a:r>
              <a:rPr lang="en-GB" sz="1200" b="0" err="1">
                <a:solidFill>
                  <a:srgbClr val="282830"/>
                </a:solidFill>
                <a:latin typeface="Avenir Next LT Pro" panose="020B0504020202020204" pitchFamily="34" charset="77"/>
              </a:rPr>
              <a:t>Youtube</a:t>
            </a:r>
            <a:r>
              <a:rPr lang="en-GB" sz="1200" b="0">
                <a:solidFill>
                  <a:srgbClr val="282830"/>
                </a:solidFill>
                <a:latin typeface="Avenir Next LT Pro" panose="020B0504020202020204" pitchFamily="34" charset="77"/>
              </a:rPr>
              <a:t> Awards</a:t>
            </a:r>
          </a:p>
          <a:p>
            <a:pPr marL="0" indent="0" defTabSz="914355">
              <a:lnSpc>
                <a:spcPct val="100000"/>
              </a:lnSpc>
              <a:buNone/>
              <a:tabLst>
                <a:tab pos="88107" algn="l"/>
              </a:tabLst>
            </a:pPr>
            <a:r>
              <a:rPr lang="en-GB" sz="1200" b="0">
                <a:solidFill>
                  <a:srgbClr val="282830"/>
                </a:solidFill>
                <a:latin typeface="Avenir Next LT Pro" panose="020B0504020202020204" pitchFamily="34" charset="77"/>
              </a:rPr>
              <a:t>5 CCB </a:t>
            </a:r>
          </a:p>
        </p:txBody>
      </p:sp>
      <p:sp>
        <p:nvSpPr>
          <p:cNvPr id="10" name="Text Placeholder 17">
            <a:extLst>
              <a:ext uri="{FF2B5EF4-FFF2-40B4-BE49-F238E27FC236}">
                <a16:creationId xmlns:a16="http://schemas.microsoft.com/office/drawing/2014/main" id="{896528F0-B1EE-87F4-394C-5B3D3218A346}"/>
              </a:ext>
            </a:extLst>
          </p:cNvPr>
          <p:cNvSpPr txBox="1">
            <a:spLocks/>
          </p:cNvSpPr>
          <p:nvPr/>
        </p:nvSpPr>
        <p:spPr>
          <a:xfrm>
            <a:off x="7599032" y="4606216"/>
            <a:ext cx="3476963" cy="920467"/>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defTabSz="914355">
              <a:lnSpc>
                <a:spcPct val="100000"/>
              </a:lnSpc>
              <a:buNone/>
              <a:tabLst>
                <a:tab pos="88107" algn="l"/>
              </a:tabLst>
              <a:defRPr/>
            </a:pPr>
            <a:r>
              <a:rPr lang="en-GB" sz="1200" b="0" spc="0" err="1">
                <a:solidFill>
                  <a:srgbClr val="282830"/>
                </a:solidFill>
                <a:latin typeface="Avenir Next LT Pro" panose="020B0504020202020204" pitchFamily="34" charset="77"/>
              </a:rPr>
              <a:t>Marktplaats</a:t>
            </a:r>
            <a:r>
              <a:rPr lang="en-GB" sz="1200" b="0" spc="0">
                <a:solidFill>
                  <a:srgbClr val="282830"/>
                </a:solidFill>
                <a:latin typeface="Avenir Next LT Pro" panose="020B0504020202020204" pitchFamily="34" charset="77"/>
              </a:rPr>
              <a:t>, Canon, VOO, Spa, </a:t>
            </a:r>
            <a:r>
              <a:rPr lang="en-GB" sz="1200" b="0" spc="0" err="1">
                <a:solidFill>
                  <a:srgbClr val="282830"/>
                </a:solidFill>
                <a:latin typeface="Avenir Next LT Pro" panose="020B0504020202020204" pitchFamily="34" charset="77"/>
              </a:rPr>
              <a:t>Bebat</a:t>
            </a:r>
            <a:endParaRPr lang="en-GB" sz="1200" b="0" spc="0">
              <a:solidFill>
                <a:srgbClr val="282830"/>
              </a:solidFill>
              <a:latin typeface="Avenir Next LT Pro" panose="020B0504020202020204" pitchFamily="34" charset="77"/>
            </a:endParaRPr>
          </a:p>
        </p:txBody>
      </p:sp>
      <p:sp>
        <p:nvSpPr>
          <p:cNvPr id="11" name="Text Placeholder 11">
            <a:extLst>
              <a:ext uri="{FF2B5EF4-FFF2-40B4-BE49-F238E27FC236}">
                <a16:creationId xmlns:a16="http://schemas.microsoft.com/office/drawing/2014/main" id="{F3097CA7-7819-DCF2-12F7-CC1ABE0B36B4}"/>
              </a:ext>
            </a:extLst>
          </p:cNvPr>
          <p:cNvSpPr txBox="1">
            <a:spLocks/>
          </p:cNvSpPr>
          <p:nvPr/>
        </p:nvSpPr>
        <p:spPr>
          <a:xfrm>
            <a:off x="4112919" y="1776360"/>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BE" sz="1800" b="1" i="0" u="none" strike="noStrike" kern="1200" cap="none" spc="-25" normalizeH="0" baseline="0" noProof="0">
                <a:ln>
                  <a:noFill/>
                </a:ln>
                <a:solidFill>
                  <a:srgbClr val="282830"/>
                </a:solidFill>
                <a:effectLst/>
                <a:uLnTx/>
                <a:uFillTx/>
                <a:latin typeface="Avenir Next LT Pro" panose="020B0504020202020204" pitchFamily="34" charset="77"/>
              </a:rPr>
              <a:t>Experience</a:t>
            </a:r>
          </a:p>
        </p:txBody>
      </p:sp>
      <p:sp>
        <p:nvSpPr>
          <p:cNvPr id="12" name="Text Placeholder 11">
            <a:extLst>
              <a:ext uri="{FF2B5EF4-FFF2-40B4-BE49-F238E27FC236}">
                <a16:creationId xmlns:a16="http://schemas.microsoft.com/office/drawing/2014/main" id="{B5303B9A-BD20-3A6F-A124-C08ED8A8D83A}"/>
              </a:ext>
            </a:extLst>
          </p:cNvPr>
          <p:cNvSpPr txBox="1">
            <a:spLocks/>
          </p:cNvSpPr>
          <p:nvPr/>
        </p:nvSpPr>
        <p:spPr>
          <a:xfrm>
            <a:off x="4112919" y="4202420"/>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GB" sz="1800" b="1" i="0" u="none" strike="noStrike" kern="1200" cap="none" spc="-25" normalizeH="0" baseline="0" noProof="0">
                <a:ln>
                  <a:noFill/>
                </a:ln>
                <a:solidFill>
                  <a:srgbClr val="282830"/>
                </a:solidFill>
                <a:effectLst/>
                <a:uLnTx/>
                <a:uFillTx/>
                <a:latin typeface="Avenir Next LT Pro" panose="020B0504020202020204" pitchFamily="34" charset="77"/>
              </a:rPr>
              <a:t>Education </a:t>
            </a:r>
          </a:p>
        </p:txBody>
      </p:sp>
      <p:pic>
        <p:nvPicPr>
          <p:cNvPr id="13" name="Picture 12">
            <a:extLst>
              <a:ext uri="{FF2B5EF4-FFF2-40B4-BE49-F238E27FC236}">
                <a16:creationId xmlns:a16="http://schemas.microsoft.com/office/drawing/2014/main" id="{CD969D55-B3A6-E7FE-688F-C3195584B075}"/>
              </a:ext>
            </a:extLst>
          </p:cNvPr>
          <p:cNvPicPr>
            <a:picLocks noChangeAspect="1"/>
          </p:cNvPicPr>
          <p:nvPr/>
        </p:nvPicPr>
        <p:blipFill>
          <a:blip r:embed="rId2"/>
          <a:stretch>
            <a:fillRect/>
          </a:stretch>
        </p:blipFill>
        <p:spPr>
          <a:xfrm>
            <a:off x="3875669" y="1888432"/>
            <a:ext cx="203200" cy="165100"/>
          </a:xfrm>
          <a:prstGeom prst="rect">
            <a:avLst/>
          </a:prstGeom>
        </p:spPr>
      </p:pic>
      <p:pic>
        <p:nvPicPr>
          <p:cNvPr id="14" name="Picture 13">
            <a:extLst>
              <a:ext uri="{FF2B5EF4-FFF2-40B4-BE49-F238E27FC236}">
                <a16:creationId xmlns:a16="http://schemas.microsoft.com/office/drawing/2014/main" id="{0F480B1A-8763-9C33-0758-7E136AA817C5}"/>
              </a:ext>
            </a:extLst>
          </p:cNvPr>
          <p:cNvPicPr>
            <a:picLocks noChangeAspect="1"/>
          </p:cNvPicPr>
          <p:nvPr/>
        </p:nvPicPr>
        <p:blipFill>
          <a:blip r:embed="rId3"/>
          <a:stretch>
            <a:fillRect/>
          </a:stretch>
        </p:blipFill>
        <p:spPr>
          <a:xfrm>
            <a:off x="3853444" y="4311763"/>
            <a:ext cx="247650" cy="152400"/>
          </a:xfrm>
          <a:prstGeom prst="rect">
            <a:avLst/>
          </a:prstGeom>
        </p:spPr>
      </p:pic>
      <p:sp>
        <p:nvSpPr>
          <p:cNvPr id="15" name="Text Placeholder 11">
            <a:extLst>
              <a:ext uri="{FF2B5EF4-FFF2-40B4-BE49-F238E27FC236}">
                <a16:creationId xmlns:a16="http://schemas.microsoft.com/office/drawing/2014/main" id="{17550E3B-9F79-7590-4F7C-0BCCA718A524}"/>
              </a:ext>
            </a:extLst>
          </p:cNvPr>
          <p:cNvSpPr txBox="1">
            <a:spLocks/>
          </p:cNvSpPr>
          <p:nvPr/>
        </p:nvSpPr>
        <p:spPr>
          <a:xfrm>
            <a:off x="7573092" y="1776360"/>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lang="fr-FR" sz="1800" spc="-25" err="1">
                <a:solidFill>
                  <a:srgbClr val="282830"/>
                </a:solidFill>
                <a:latin typeface="Avenir Next LT Pro" panose="020B0504020202020204" pitchFamily="34" charset="77"/>
                <a:cs typeface="Arial"/>
              </a:rPr>
              <a:t>Languages</a:t>
            </a:r>
            <a:r>
              <a:rPr kumimoji="0" lang="fr-FR" sz="1800" b="1" i="0" u="none" strike="noStrike" kern="1200" cap="none" spc="-25" normalizeH="0" baseline="0" noProof="0">
                <a:ln>
                  <a:noFill/>
                </a:ln>
                <a:solidFill>
                  <a:srgbClr val="282830"/>
                </a:solidFill>
                <a:effectLst/>
                <a:uLnTx/>
                <a:uFillTx/>
                <a:latin typeface="Avenir Next LT Pro" panose="020B0504020202020204" pitchFamily="34" charset="77"/>
              </a:rPr>
              <a:t> </a:t>
            </a:r>
          </a:p>
        </p:txBody>
      </p:sp>
      <p:sp>
        <p:nvSpPr>
          <p:cNvPr id="16" name="Text Placeholder 11">
            <a:extLst>
              <a:ext uri="{FF2B5EF4-FFF2-40B4-BE49-F238E27FC236}">
                <a16:creationId xmlns:a16="http://schemas.microsoft.com/office/drawing/2014/main" id="{6223673B-373F-1518-B586-2F735B00DF9B}"/>
              </a:ext>
            </a:extLst>
          </p:cNvPr>
          <p:cNvSpPr txBox="1">
            <a:spLocks/>
          </p:cNvSpPr>
          <p:nvPr/>
        </p:nvSpPr>
        <p:spPr>
          <a:xfrm>
            <a:off x="7573092" y="2834500"/>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GB" sz="1800" b="1" i="0" u="none" strike="noStrike" kern="1200" cap="none" spc="-25" normalizeH="0" baseline="0" noProof="0">
                <a:ln>
                  <a:noFill/>
                </a:ln>
                <a:solidFill>
                  <a:srgbClr val="282830"/>
                </a:solidFill>
                <a:effectLst/>
                <a:uLnTx/>
                <a:uFillTx/>
                <a:latin typeface="Avenir Next LT Pro" panose="020B0504020202020204" pitchFamily="34" charset="77"/>
              </a:rPr>
              <a:t>Awards</a:t>
            </a:r>
          </a:p>
        </p:txBody>
      </p:sp>
      <p:pic>
        <p:nvPicPr>
          <p:cNvPr id="17" name="Picture 16">
            <a:extLst>
              <a:ext uri="{FF2B5EF4-FFF2-40B4-BE49-F238E27FC236}">
                <a16:creationId xmlns:a16="http://schemas.microsoft.com/office/drawing/2014/main" id="{BED31675-D865-0C4D-2AEA-9B47E56732B5}"/>
              </a:ext>
            </a:extLst>
          </p:cNvPr>
          <p:cNvPicPr>
            <a:picLocks noChangeAspect="1"/>
          </p:cNvPicPr>
          <p:nvPr/>
        </p:nvPicPr>
        <p:blipFill>
          <a:blip r:embed="rId4"/>
          <a:stretch>
            <a:fillRect/>
          </a:stretch>
        </p:blipFill>
        <p:spPr>
          <a:xfrm>
            <a:off x="7335842" y="1883352"/>
            <a:ext cx="203200" cy="196850"/>
          </a:xfrm>
          <a:prstGeom prst="rect">
            <a:avLst/>
          </a:prstGeom>
        </p:spPr>
      </p:pic>
      <p:sp>
        <p:nvSpPr>
          <p:cNvPr id="18" name="Text Placeholder 11">
            <a:extLst>
              <a:ext uri="{FF2B5EF4-FFF2-40B4-BE49-F238E27FC236}">
                <a16:creationId xmlns:a16="http://schemas.microsoft.com/office/drawing/2014/main" id="{7E18195B-CB2F-B2D7-B5CE-71B56027CC1D}"/>
              </a:ext>
            </a:extLst>
          </p:cNvPr>
          <p:cNvSpPr txBox="1">
            <a:spLocks/>
          </p:cNvSpPr>
          <p:nvPr/>
        </p:nvSpPr>
        <p:spPr>
          <a:xfrm>
            <a:off x="7573092" y="4206892"/>
            <a:ext cx="3997446" cy="198272"/>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defTabSz="914355">
              <a:defRPr/>
            </a:pPr>
            <a:r>
              <a:rPr lang="fr-FR" sz="1800" spc="-25">
                <a:solidFill>
                  <a:srgbClr val="282830"/>
                </a:solidFill>
                <a:latin typeface="Avenir Next LT Pro" panose="020B0504020202020204" pitchFamily="34" charset="77"/>
                <a:cs typeface="Arial"/>
              </a:rPr>
              <a:t>Relevant </a:t>
            </a:r>
            <a:r>
              <a:rPr lang="fr-FR" sz="1800" spc="-25" err="1">
                <a:solidFill>
                  <a:srgbClr val="282830"/>
                </a:solidFill>
                <a:latin typeface="Avenir Next LT Pro" panose="020B0504020202020204" pitchFamily="34" charset="77"/>
                <a:cs typeface="Arial"/>
              </a:rPr>
              <a:t>Experience</a:t>
            </a:r>
            <a:endParaRPr kumimoji="0" lang="fr-FR" sz="1800" b="1" i="0" u="none" strike="noStrike" kern="1200" cap="none" spc="-25" normalizeH="0" baseline="0" noProof="0">
              <a:ln>
                <a:noFill/>
              </a:ln>
              <a:solidFill>
                <a:srgbClr val="282830"/>
              </a:solidFill>
              <a:effectLst/>
              <a:uLnTx/>
              <a:uFillTx/>
              <a:latin typeface="Avenir Next LT Pro" panose="020B0504020202020204" pitchFamily="34" charset="77"/>
            </a:endParaRPr>
          </a:p>
        </p:txBody>
      </p:sp>
      <p:pic>
        <p:nvPicPr>
          <p:cNvPr id="19" name="Picture 18">
            <a:extLst>
              <a:ext uri="{FF2B5EF4-FFF2-40B4-BE49-F238E27FC236}">
                <a16:creationId xmlns:a16="http://schemas.microsoft.com/office/drawing/2014/main" id="{D31DB2C0-DDCD-07FC-084B-A50DFC2CC4F7}"/>
              </a:ext>
            </a:extLst>
          </p:cNvPr>
          <p:cNvPicPr>
            <a:picLocks noChangeAspect="1"/>
          </p:cNvPicPr>
          <p:nvPr/>
        </p:nvPicPr>
        <p:blipFill>
          <a:blip r:embed="rId5"/>
          <a:stretch>
            <a:fillRect/>
          </a:stretch>
        </p:blipFill>
        <p:spPr>
          <a:xfrm>
            <a:off x="7335842" y="4287215"/>
            <a:ext cx="228600" cy="228600"/>
          </a:xfrm>
          <a:prstGeom prst="rect">
            <a:avLst/>
          </a:prstGeom>
        </p:spPr>
      </p:pic>
      <p:pic>
        <p:nvPicPr>
          <p:cNvPr id="20" name="Picture 19">
            <a:extLst>
              <a:ext uri="{FF2B5EF4-FFF2-40B4-BE49-F238E27FC236}">
                <a16:creationId xmlns:a16="http://schemas.microsoft.com/office/drawing/2014/main" id="{5BE3D494-15A9-D88D-D2B6-B6FC9295D308}"/>
              </a:ext>
            </a:extLst>
          </p:cNvPr>
          <p:cNvPicPr>
            <a:picLocks noChangeAspect="1"/>
          </p:cNvPicPr>
          <p:nvPr/>
        </p:nvPicPr>
        <p:blipFill>
          <a:blip r:embed="rId6"/>
          <a:stretch>
            <a:fillRect/>
          </a:stretch>
        </p:blipFill>
        <p:spPr>
          <a:xfrm>
            <a:off x="7373942" y="2921815"/>
            <a:ext cx="152400" cy="222250"/>
          </a:xfrm>
          <a:prstGeom prst="rect">
            <a:avLst/>
          </a:prstGeom>
        </p:spPr>
      </p:pic>
      <p:sp>
        <p:nvSpPr>
          <p:cNvPr id="30" name="Text Placeholder 4">
            <a:extLst>
              <a:ext uri="{FF2B5EF4-FFF2-40B4-BE49-F238E27FC236}">
                <a16:creationId xmlns:a16="http://schemas.microsoft.com/office/drawing/2014/main" id="{154DA49D-D03A-AAE7-1A4F-419942E6760F}"/>
              </a:ext>
            </a:extLst>
          </p:cNvPr>
          <p:cNvSpPr>
            <a:spLocks noGrp="1"/>
          </p:cNvSpPr>
          <p:nvPr>
            <p:ph type="body" sz="quarter" idx="13"/>
          </p:nvPr>
        </p:nvSpPr>
        <p:spPr>
          <a:xfrm>
            <a:off x="1" y="3567907"/>
            <a:ext cx="3491752" cy="1988344"/>
          </a:xfrm>
        </p:spPr>
        <p:txBody>
          <a:bodyPr/>
          <a:lstStyle/>
          <a:p>
            <a:r>
              <a:rPr lang="en-GB">
                <a:latin typeface="Avenir Next LT Pro" panose="020B0504020202020204" pitchFamily="34" charset="77"/>
              </a:rPr>
              <a:t>‘The power of a group is to </a:t>
            </a:r>
            <a:r>
              <a:rPr lang="en-GB">
                <a:gradFill>
                  <a:gsLst>
                    <a:gs pos="100000">
                      <a:srgbClr val="B79E60"/>
                    </a:gs>
                    <a:gs pos="0">
                      <a:srgbClr val="B79E60"/>
                    </a:gs>
                    <a:gs pos="54000">
                      <a:srgbClr val="DFCF84"/>
                    </a:gs>
                  </a:gsLst>
                  <a:lin ang="2700000" scaled="0"/>
                </a:gradFill>
                <a:latin typeface="Avenir Next LT Pro" panose="020B0504020202020204" pitchFamily="34" charset="77"/>
              </a:rPr>
              <a:t>learn</a:t>
            </a:r>
            <a:r>
              <a:rPr lang="en-GB">
                <a:latin typeface="Avenir Next LT Pro" panose="020B0504020202020204" pitchFamily="34" charset="77"/>
              </a:rPr>
              <a:t> from each other. Whether there are 2 of us or 1000’</a:t>
            </a:r>
          </a:p>
        </p:txBody>
      </p:sp>
      <p:pic>
        <p:nvPicPr>
          <p:cNvPr id="22" name="Picture Placeholder 21">
            <a:extLst>
              <a:ext uri="{FF2B5EF4-FFF2-40B4-BE49-F238E27FC236}">
                <a16:creationId xmlns:a16="http://schemas.microsoft.com/office/drawing/2014/main" id="{A6FD31DC-E15D-6CA8-148B-94D7B404D459}"/>
              </a:ext>
            </a:extLst>
          </p:cNvPr>
          <p:cNvPicPr>
            <a:picLocks noGrp="1" noChangeAspect="1"/>
          </p:cNvPicPr>
          <p:nvPr>
            <p:ph type="pic" sz="quarter" idx="10"/>
          </p:nvPr>
        </p:nvPicPr>
        <p:blipFill rotWithShape="1">
          <a:blip r:embed="rId7" cstate="screen">
            <a:extLst>
              <a:ext uri="{28A0092B-C50C-407E-A947-70E740481C1C}">
                <a14:useLocalDpi xmlns:a14="http://schemas.microsoft.com/office/drawing/2010/main"/>
              </a:ext>
            </a:extLst>
          </a:blip>
          <a:srcRect t="-1"/>
          <a:stretch/>
        </p:blipFill>
        <p:spPr>
          <a:xfrm>
            <a:off x="592321" y="560957"/>
            <a:ext cx="2774553" cy="2774373"/>
          </a:xfrm>
        </p:spPr>
      </p:pic>
      <p:sp>
        <p:nvSpPr>
          <p:cNvPr id="26" name="Text Placeholder 2">
            <a:extLst>
              <a:ext uri="{FF2B5EF4-FFF2-40B4-BE49-F238E27FC236}">
                <a16:creationId xmlns:a16="http://schemas.microsoft.com/office/drawing/2014/main" id="{2DB8F4BB-E44E-5B76-4C8D-C69057649022}"/>
              </a:ext>
            </a:extLst>
          </p:cNvPr>
          <p:cNvSpPr>
            <a:spLocks noGrp="1"/>
          </p:cNvSpPr>
          <p:nvPr>
            <p:ph type="body" sz="quarter" idx="11"/>
          </p:nvPr>
        </p:nvSpPr>
        <p:spPr>
          <a:xfrm>
            <a:off x="3793895" y="560957"/>
            <a:ext cx="7805783" cy="654844"/>
          </a:xfrm>
        </p:spPr>
        <p:txBody>
          <a:bodyPr lIns="91440" tIns="45720" rIns="91440" bIns="45720" anchor="t"/>
          <a:lstStyle/>
          <a:p>
            <a:r>
              <a:rPr lang="en-GB">
                <a:latin typeface="AvenirNext LT Pro Bold"/>
                <a:cs typeface="Arial"/>
              </a:rPr>
              <a:t>Meet </a:t>
            </a:r>
            <a:r>
              <a:rPr lang="en-GB" sz="4800" b="0">
                <a:gradFill>
                  <a:gsLst>
                    <a:gs pos="100000">
                      <a:srgbClr val="B79E60"/>
                    </a:gs>
                    <a:gs pos="0">
                      <a:srgbClr val="B79E60"/>
                    </a:gs>
                    <a:gs pos="54000">
                      <a:srgbClr val="DFCF84"/>
                    </a:gs>
                  </a:gsLst>
                  <a:lin ang="2700000" scaled="0"/>
                </a:gradFill>
                <a:latin typeface="Bodoni MT"/>
                <a:cs typeface="Arial"/>
              </a:rPr>
              <a:t>Gil &amp; Thibaut</a:t>
            </a:r>
          </a:p>
        </p:txBody>
      </p:sp>
      <p:sp>
        <p:nvSpPr>
          <p:cNvPr id="27" name="Text Placeholder 3">
            <a:extLst>
              <a:ext uri="{FF2B5EF4-FFF2-40B4-BE49-F238E27FC236}">
                <a16:creationId xmlns:a16="http://schemas.microsoft.com/office/drawing/2014/main" id="{C6BCED24-60AB-6768-A0ED-0009DD7956A3}"/>
              </a:ext>
            </a:extLst>
          </p:cNvPr>
          <p:cNvSpPr>
            <a:spLocks noGrp="1"/>
          </p:cNvSpPr>
          <p:nvPr>
            <p:ph type="body" sz="quarter" idx="12"/>
          </p:nvPr>
        </p:nvSpPr>
        <p:spPr>
          <a:xfrm>
            <a:off x="3793897" y="1146962"/>
            <a:ext cx="8056233" cy="475343"/>
          </a:xfrm>
        </p:spPr>
        <p:txBody>
          <a:bodyPr/>
          <a:lstStyle/>
          <a:p>
            <a:r>
              <a:rPr lang="en-GB">
                <a:latin typeface="Avenir Next LT Pro" panose="020B0504020202020204" pitchFamily="34" charset="77"/>
              </a:rPr>
              <a:t>Sr Concept providers</a:t>
            </a:r>
          </a:p>
        </p:txBody>
      </p:sp>
      <p:pic>
        <p:nvPicPr>
          <p:cNvPr id="28" name="Picture 27">
            <a:extLst>
              <a:ext uri="{FF2B5EF4-FFF2-40B4-BE49-F238E27FC236}">
                <a16:creationId xmlns:a16="http://schemas.microsoft.com/office/drawing/2014/main" id="{C0FBED09-3D80-B6E8-892E-259358765802}"/>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874714" y="5414933"/>
            <a:ext cx="986875" cy="1217503"/>
          </a:xfrm>
          <a:prstGeom prst="rect">
            <a:avLst/>
          </a:prstGeom>
          <a:solidFill>
            <a:schemeClr val="bg1"/>
          </a:solidFill>
        </p:spPr>
      </p:pic>
    </p:spTree>
    <p:extLst>
      <p:ext uri="{BB962C8B-B14F-4D97-AF65-F5344CB8AC3E}">
        <p14:creationId xmlns:p14="http://schemas.microsoft.com/office/powerpoint/2010/main" val="15838158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C219F-F632-133D-542D-611A7D03082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2D48F2FD-D8C0-BA3D-D1C7-5A8F249022FB}"/>
              </a:ext>
            </a:extLst>
          </p:cNvPr>
          <p:cNvSpPr>
            <a:spLocks noGrp="1"/>
          </p:cNvSpPr>
          <p:nvPr>
            <p:ph type="body" sz="quarter" idx="11"/>
          </p:nvPr>
        </p:nvSpPr>
        <p:spPr>
          <a:xfrm>
            <a:off x="3793895" y="560957"/>
            <a:ext cx="7590169" cy="654844"/>
          </a:xfrm>
        </p:spPr>
        <p:txBody>
          <a:bodyPr lIns="91440" tIns="45720" rIns="91440" bIns="45720" anchor="t"/>
          <a:lstStyle/>
          <a:p>
            <a:r>
              <a:rPr lang="en-GB">
                <a:latin typeface="AvenirNext LT Pro Bold"/>
                <a:cs typeface="Arial"/>
              </a:rPr>
              <a:t>Meet </a:t>
            </a:r>
            <a:r>
              <a:rPr lang="en-GB" sz="4800" b="0">
                <a:gradFill>
                  <a:gsLst>
                    <a:gs pos="100000">
                      <a:srgbClr val="B79E60"/>
                    </a:gs>
                    <a:gs pos="0">
                      <a:srgbClr val="B79E60"/>
                    </a:gs>
                    <a:gs pos="54000">
                      <a:srgbClr val="DFCF84"/>
                    </a:gs>
                  </a:gsLst>
                  <a:lin ang="2700000" scaled="0"/>
                </a:gradFill>
                <a:latin typeface="Bodoni MT"/>
                <a:cs typeface="Arial"/>
              </a:rPr>
              <a:t>Julie </a:t>
            </a:r>
            <a:r>
              <a:rPr lang="en-GB" sz="4800" b="0" err="1">
                <a:gradFill>
                  <a:gsLst>
                    <a:gs pos="100000">
                      <a:srgbClr val="B79E60"/>
                    </a:gs>
                    <a:gs pos="0">
                      <a:srgbClr val="B79E60"/>
                    </a:gs>
                    <a:gs pos="54000">
                      <a:srgbClr val="DFCF84"/>
                    </a:gs>
                  </a:gsLst>
                  <a:lin ang="2700000" scaled="0"/>
                </a:gradFill>
                <a:latin typeface="Bodoni MT"/>
                <a:cs typeface="Arial"/>
              </a:rPr>
              <a:t>Hendrickx</a:t>
            </a:r>
            <a:endParaRPr lang="en-GB" sz="4800" b="0">
              <a:gradFill>
                <a:gsLst>
                  <a:gs pos="100000">
                    <a:srgbClr val="B79E60"/>
                  </a:gs>
                  <a:gs pos="0">
                    <a:srgbClr val="B79E60"/>
                  </a:gs>
                  <a:gs pos="54000">
                    <a:srgbClr val="DFCF84"/>
                  </a:gs>
                </a:gsLst>
                <a:lin ang="2700000" scaled="0"/>
              </a:gradFill>
              <a:latin typeface="Bodoni MT"/>
              <a:cs typeface="Arial"/>
            </a:endParaRPr>
          </a:p>
        </p:txBody>
      </p:sp>
      <p:sp>
        <p:nvSpPr>
          <p:cNvPr id="4" name="Text Placeholder 3">
            <a:extLst>
              <a:ext uri="{FF2B5EF4-FFF2-40B4-BE49-F238E27FC236}">
                <a16:creationId xmlns:a16="http://schemas.microsoft.com/office/drawing/2014/main" id="{740D93F8-FB73-3490-0BB4-73417F6D3678}"/>
              </a:ext>
            </a:extLst>
          </p:cNvPr>
          <p:cNvSpPr>
            <a:spLocks noGrp="1"/>
          </p:cNvSpPr>
          <p:nvPr>
            <p:ph type="body" sz="quarter" idx="12"/>
          </p:nvPr>
        </p:nvSpPr>
        <p:spPr>
          <a:xfrm>
            <a:off x="3793897" y="1146962"/>
            <a:ext cx="8056233" cy="475343"/>
          </a:xfrm>
        </p:spPr>
        <p:txBody>
          <a:bodyPr/>
          <a:lstStyle/>
          <a:p>
            <a:r>
              <a:rPr lang="en-GB">
                <a:latin typeface="Avenir Next LT Pro" panose="020B0504020202020204" pitchFamily="34" charset="77"/>
              </a:rPr>
              <a:t>Sr Account Manager</a:t>
            </a:r>
          </a:p>
        </p:txBody>
      </p:sp>
      <p:sp>
        <p:nvSpPr>
          <p:cNvPr id="18" name="Text Placeholder 22">
            <a:extLst>
              <a:ext uri="{FF2B5EF4-FFF2-40B4-BE49-F238E27FC236}">
                <a16:creationId xmlns:a16="http://schemas.microsoft.com/office/drawing/2014/main" id="{FB5F009A-F62A-3477-17A9-D23A06D069C0}"/>
              </a:ext>
            </a:extLst>
          </p:cNvPr>
          <p:cNvSpPr>
            <a:spLocks noGrp="1"/>
          </p:cNvSpPr>
          <p:nvPr>
            <p:ph type="body" sz="quarter" idx="13"/>
          </p:nvPr>
        </p:nvSpPr>
        <p:spPr/>
        <p:txBody>
          <a:bodyPr/>
          <a:lstStyle/>
          <a:p>
            <a:r>
              <a:rPr lang="en-GB">
                <a:latin typeface="Avenir Next LT Pro" panose="020B0504020202020204" pitchFamily="34" charset="77"/>
              </a:rPr>
              <a:t>‘Done it’s better than </a:t>
            </a:r>
            <a:r>
              <a:rPr lang="en-GB">
                <a:gradFill>
                  <a:gsLst>
                    <a:gs pos="100000">
                      <a:srgbClr val="B79E60"/>
                    </a:gs>
                    <a:gs pos="0">
                      <a:srgbClr val="B79E60"/>
                    </a:gs>
                    <a:gs pos="54000">
                      <a:srgbClr val="DFCF84"/>
                    </a:gs>
                  </a:gsLst>
                  <a:lin ang="2700000" scaled="0"/>
                </a:gradFill>
                <a:latin typeface="Avenir Next LT Pro" panose="020B0504020202020204" pitchFamily="34" charset="77"/>
              </a:rPr>
              <a:t>perfect </a:t>
            </a:r>
            <a:r>
              <a:rPr lang="en-GB">
                <a:latin typeface="Avenir Next LT Pro" panose="020B0504020202020204" pitchFamily="34" charset="77"/>
              </a:rPr>
              <a:t>’</a:t>
            </a:r>
            <a:endParaRPr lang="en-BE">
              <a:latin typeface="Avenir Next LT Pro" panose="020B0504020202020204" pitchFamily="34" charset="77"/>
            </a:endParaRPr>
          </a:p>
          <a:p>
            <a:endParaRPr lang="en-BE">
              <a:latin typeface="Avenir Next LT Pro" panose="020B0504020202020204" pitchFamily="34" charset="77"/>
            </a:endParaRPr>
          </a:p>
        </p:txBody>
      </p:sp>
      <p:sp>
        <p:nvSpPr>
          <p:cNvPr id="19" name="Text Placeholder 17">
            <a:extLst>
              <a:ext uri="{FF2B5EF4-FFF2-40B4-BE49-F238E27FC236}">
                <a16:creationId xmlns:a16="http://schemas.microsoft.com/office/drawing/2014/main" id="{12125A97-C225-F72C-6C86-B1376DACF9F3}"/>
              </a:ext>
            </a:extLst>
          </p:cNvPr>
          <p:cNvSpPr txBox="1">
            <a:spLocks/>
          </p:cNvSpPr>
          <p:nvPr/>
        </p:nvSpPr>
        <p:spPr>
          <a:xfrm>
            <a:off x="4151829" y="2226502"/>
            <a:ext cx="3137263" cy="2498998"/>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a:lnSpc>
                <a:spcPct val="100000"/>
              </a:lnSpc>
              <a:buNone/>
              <a:tabLst>
                <a:tab pos="88107" algn="l"/>
              </a:tabLst>
              <a:defRPr/>
            </a:pPr>
            <a:r>
              <a:rPr lang="en-GB" sz="1200" spc="0">
                <a:solidFill>
                  <a:srgbClr val="282830"/>
                </a:solidFill>
                <a:latin typeface="Avenir Next LT Pro" panose="020B0504020202020204" pitchFamily="34" charset="77"/>
              </a:rPr>
              <a:t>Senior Account Manager</a:t>
            </a:r>
          </a:p>
          <a:p>
            <a:pPr marL="0" indent="0">
              <a:lnSpc>
                <a:spcPct val="100000"/>
              </a:lnSpc>
              <a:buClr>
                <a:srgbClr val="FFFFFF"/>
              </a:buClr>
              <a:buNone/>
              <a:tabLst>
                <a:tab pos="88107" algn="l"/>
                <a:tab pos="172244" algn="l"/>
              </a:tabLst>
              <a:defRPr/>
            </a:pPr>
            <a:r>
              <a:rPr lang="en-GB" sz="1200" b="0" spc="0">
                <a:solidFill>
                  <a:srgbClr val="8A8B90"/>
                </a:solidFill>
                <a:latin typeface="Avenir Next LT Pro" panose="020B0504020202020204" pitchFamily="34" charset="77"/>
              </a:rPr>
              <a:t>2022 - present | Happiness</a:t>
            </a:r>
          </a:p>
          <a:p>
            <a:pPr marL="0" marR="0" lvl="0" indent="0" algn="l" defTabSz="1828709" rtl="0" eaLnBrk="1" fontAlgn="auto" latinLnBrk="0" hangingPunct="1">
              <a:lnSpc>
                <a:spcPct val="100000"/>
              </a:lnSpc>
              <a:spcBef>
                <a:spcPts val="0"/>
              </a:spcBef>
              <a:spcAft>
                <a:spcPts val="0"/>
              </a:spcAft>
              <a:buClr>
                <a:srgbClr val="FFFFFF"/>
              </a:buClr>
              <a:buSzTx/>
              <a:buNone/>
              <a:tabLst>
                <a:tab pos="88107" algn="l"/>
                <a:tab pos="172244" algn="l"/>
              </a:tabLst>
              <a:defRPr/>
            </a:pPr>
            <a:endPar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indent="0">
              <a:lnSpc>
                <a:spcPct val="100000"/>
              </a:lnSpc>
              <a:buNone/>
              <a:tabLst>
                <a:tab pos="88107" algn="l"/>
              </a:tabLst>
              <a:defRPr/>
            </a:pPr>
            <a:r>
              <a:rPr lang="en-GB" sz="1200" spc="0">
                <a:solidFill>
                  <a:srgbClr val="282830"/>
                </a:solidFill>
                <a:latin typeface="Avenir Next LT Pro" panose="020B0504020202020204" pitchFamily="34" charset="77"/>
              </a:rPr>
              <a:t>Digital Marketeer </a:t>
            </a:r>
            <a:r>
              <a:rPr lang="en-GB" sz="1200" spc="0" err="1">
                <a:solidFill>
                  <a:srgbClr val="282830"/>
                </a:solidFill>
                <a:latin typeface="Avenir Next LT Pro" panose="020B0504020202020204" pitchFamily="34" charset="77"/>
              </a:rPr>
              <a:t>Qmusic</a:t>
            </a:r>
            <a:endParaRPr lang="en-GB" sz="1200" spc="0">
              <a:solidFill>
                <a:srgbClr val="282830"/>
              </a:solidFill>
              <a:latin typeface="Avenir Next LT Pro" panose="020B0504020202020204" pitchFamily="34" charset="77"/>
            </a:endParaRPr>
          </a:p>
          <a:p>
            <a:pPr marL="0" indent="0">
              <a:lnSpc>
                <a:spcPct val="100000"/>
              </a:lnSpc>
              <a:buClr>
                <a:srgbClr val="FFFFFF"/>
              </a:buClr>
              <a:buNone/>
              <a:tabLst>
                <a:tab pos="88107" algn="l"/>
                <a:tab pos="172244" algn="l"/>
              </a:tabLst>
              <a:defRPr/>
            </a:pPr>
            <a:r>
              <a:rPr lang="en-GB" sz="1200" b="0" spc="0">
                <a:solidFill>
                  <a:srgbClr val="8A8B90"/>
                </a:solidFill>
                <a:latin typeface="Avenir Next LT Pro" panose="020B0504020202020204" pitchFamily="34" charset="77"/>
              </a:rPr>
              <a:t>2020 | DPG Media</a:t>
            </a:r>
          </a:p>
          <a:p>
            <a:pPr marL="0" indent="0">
              <a:lnSpc>
                <a:spcPct val="100000"/>
              </a:lnSpc>
              <a:buClr>
                <a:srgbClr val="FFFFFF"/>
              </a:buClr>
              <a:buNone/>
              <a:tabLst>
                <a:tab pos="88107" algn="l"/>
                <a:tab pos="172244" algn="l"/>
              </a:tabLst>
              <a:defRPr/>
            </a:pPr>
            <a:endPar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indent="0">
              <a:lnSpc>
                <a:spcPct val="100000"/>
              </a:lnSpc>
              <a:buNone/>
              <a:tabLst>
                <a:tab pos="88107" algn="l"/>
              </a:tabLst>
              <a:defRPr/>
            </a:pPr>
            <a:r>
              <a:rPr lang="en-GB" sz="1200" spc="0">
                <a:solidFill>
                  <a:srgbClr val="282830"/>
                </a:solidFill>
                <a:latin typeface="Avenir Next LT Pro" panose="020B0504020202020204" pitchFamily="34" charset="77"/>
              </a:rPr>
              <a:t>Account Director</a:t>
            </a:r>
          </a:p>
          <a:p>
            <a:pPr marL="0" indent="0">
              <a:lnSpc>
                <a:spcPct val="100000"/>
              </a:lnSpc>
              <a:buClr>
                <a:srgbClr val="FFFFFF"/>
              </a:buClr>
              <a:buNone/>
              <a:tabLst>
                <a:tab pos="88107" algn="l"/>
                <a:tab pos="172244" algn="l"/>
              </a:tabLst>
              <a:defRPr/>
            </a:pPr>
            <a:r>
              <a:rPr lang="en-GB" sz="1200" b="0" spc="0">
                <a:solidFill>
                  <a:srgbClr val="8A8B90"/>
                </a:solidFill>
                <a:latin typeface="Avenir Next LT Pro" panose="020B0504020202020204" pitchFamily="34" charset="77"/>
              </a:rPr>
              <a:t>2019 - 2020  | Wunderman Thompson</a:t>
            </a:r>
          </a:p>
          <a:p>
            <a:pPr marL="0" marR="0" lvl="0" indent="0" algn="l" defTabSz="1828709" rtl="0" eaLnBrk="1" fontAlgn="auto" latinLnBrk="0" hangingPunct="1">
              <a:lnSpc>
                <a:spcPct val="100000"/>
              </a:lnSpc>
              <a:spcBef>
                <a:spcPts val="0"/>
              </a:spcBef>
              <a:spcAft>
                <a:spcPts val="0"/>
              </a:spcAft>
              <a:buClr>
                <a:srgbClr val="FFFFFF"/>
              </a:buClr>
              <a:buSzTx/>
              <a:buNone/>
              <a:tabLst>
                <a:tab pos="88107" algn="l"/>
                <a:tab pos="172244" algn="l"/>
              </a:tabLst>
              <a:defRPr/>
            </a:pPr>
            <a:endParaRPr lang="en-GB" sz="1200" b="0" spc="0">
              <a:solidFill>
                <a:srgbClr val="8A8B90"/>
              </a:solidFill>
              <a:latin typeface="Avenir Next LT Pro" panose="020B0504020202020204" pitchFamily="34" charset="77"/>
            </a:endParaRPr>
          </a:p>
          <a:p>
            <a:pPr marL="0" indent="0">
              <a:lnSpc>
                <a:spcPct val="100000"/>
              </a:lnSpc>
              <a:buNone/>
              <a:tabLst>
                <a:tab pos="88107" algn="l"/>
              </a:tabLst>
              <a:defRPr/>
            </a:pPr>
            <a:r>
              <a:rPr lang="en-GB" sz="1200" spc="0">
                <a:solidFill>
                  <a:srgbClr val="282830"/>
                </a:solidFill>
                <a:latin typeface="Avenir Next LT Pro" panose="020B0504020202020204" pitchFamily="34" charset="77"/>
              </a:rPr>
              <a:t>Senior Account Manager</a:t>
            </a:r>
          </a:p>
          <a:p>
            <a:pPr marL="0" indent="0">
              <a:lnSpc>
                <a:spcPct val="100000"/>
              </a:lnSpc>
              <a:buClr>
                <a:srgbClr val="FFFFFF"/>
              </a:buClr>
              <a:buNone/>
              <a:tabLst>
                <a:tab pos="88107" algn="l"/>
                <a:tab pos="172244" algn="l"/>
              </a:tabLst>
              <a:defRPr/>
            </a:pPr>
            <a:r>
              <a:rPr lang="en-GB" sz="1200" b="0" spc="0">
                <a:solidFill>
                  <a:srgbClr val="8A8B90"/>
                </a:solidFill>
                <a:latin typeface="Avenir Next LT Pro" panose="020B0504020202020204" pitchFamily="34" charset="77"/>
              </a:rPr>
              <a:t>2017 - 2019  | Happiness</a:t>
            </a:r>
          </a:p>
          <a:p>
            <a:pPr marL="0" marR="0" lvl="0" indent="0" algn="l" defTabSz="1828709" rtl="0" eaLnBrk="1" fontAlgn="auto" latinLnBrk="0" hangingPunct="1">
              <a:lnSpc>
                <a:spcPct val="100000"/>
              </a:lnSpc>
              <a:spcBef>
                <a:spcPts val="0"/>
              </a:spcBef>
              <a:spcAft>
                <a:spcPts val="0"/>
              </a:spcAft>
              <a:buClr>
                <a:srgbClr val="FFFFFF"/>
              </a:buClr>
              <a:buSzTx/>
              <a:buNone/>
              <a:tabLst>
                <a:tab pos="88107" algn="l"/>
                <a:tab pos="172244" algn="l"/>
              </a:tabLst>
              <a:defRPr/>
            </a:pPr>
            <a:endPar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indent="0">
              <a:lnSpc>
                <a:spcPct val="100000"/>
              </a:lnSpc>
              <a:buNone/>
              <a:tabLst>
                <a:tab pos="88107" algn="l"/>
              </a:tabLst>
              <a:defRPr/>
            </a:pPr>
            <a:r>
              <a:rPr lang="en-GB" sz="1200" spc="0">
                <a:solidFill>
                  <a:srgbClr val="282830"/>
                </a:solidFill>
                <a:latin typeface="Avenir Next LT Pro" panose="020B0504020202020204" pitchFamily="34" charset="77"/>
              </a:rPr>
              <a:t>Project Manager</a:t>
            </a:r>
          </a:p>
          <a:p>
            <a:pPr marL="0" indent="0">
              <a:lnSpc>
                <a:spcPct val="100000"/>
              </a:lnSpc>
              <a:buClr>
                <a:srgbClr val="FFFFFF"/>
              </a:buClr>
              <a:buNone/>
              <a:tabLst>
                <a:tab pos="88107" algn="l"/>
                <a:tab pos="172244" algn="l"/>
              </a:tabLst>
              <a:defRPr/>
            </a:pPr>
            <a:r>
              <a:rPr lang="en-GB" sz="1200" b="0" spc="0">
                <a:solidFill>
                  <a:srgbClr val="8A8B90"/>
                </a:solidFill>
                <a:latin typeface="Avenir Next LT Pro" panose="020B0504020202020204" pitchFamily="34" charset="77"/>
              </a:rPr>
              <a:t>2014 - 2017  | </a:t>
            </a:r>
            <a:r>
              <a:rPr lang="en-GB" sz="1200" b="0" spc="0" err="1">
                <a:solidFill>
                  <a:srgbClr val="8A8B90"/>
                </a:solidFill>
                <a:latin typeface="Avenir Next LT Pro" panose="020B0504020202020204" pitchFamily="34" charset="77"/>
              </a:rPr>
              <a:t>imec</a:t>
            </a:r>
            <a:endParaRPr lang="en-GB" sz="1200" b="0" spc="0">
              <a:solidFill>
                <a:srgbClr val="8A8B90"/>
              </a:solidFill>
              <a:latin typeface="Avenir Next LT Pro" panose="020B0504020202020204" pitchFamily="34" charset="77"/>
            </a:endParaRPr>
          </a:p>
          <a:p>
            <a:pPr marL="0" indent="0">
              <a:lnSpc>
                <a:spcPct val="100000"/>
              </a:lnSpc>
              <a:buClr>
                <a:srgbClr val="FFFFFF"/>
              </a:buClr>
              <a:buNone/>
              <a:tabLst>
                <a:tab pos="88107" algn="l"/>
                <a:tab pos="172244" algn="l"/>
              </a:tabLst>
              <a:defRPr/>
            </a:pPr>
            <a:endParaRPr lang="en-GB" sz="1200" b="0" spc="0">
              <a:solidFill>
                <a:srgbClr val="8A8B90"/>
              </a:solidFill>
              <a:latin typeface="Avenir Next LT Pro" panose="020B0504020202020204" pitchFamily="34" charset="77"/>
            </a:endParaRPr>
          </a:p>
          <a:p>
            <a:pPr marL="0" indent="0">
              <a:lnSpc>
                <a:spcPct val="100000"/>
              </a:lnSpc>
              <a:buNone/>
              <a:tabLst>
                <a:tab pos="88107" algn="l"/>
              </a:tabLst>
              <a:defRPr/>
            </a:pPr>
            <a:r>
              <a:rPr lang="en-GB" sz="1200" spc="0">
                <a:solidFill>
                  <a:srgbClr val="282830"/>
                </a:solidFill>
                <a:latin typeface="Avenir Next LT Pro" panose="020B0504020202020204" pitchFamily="34" charset="77"/>
              </a:rPr>
              <a:t>Senior Project Manager</a:t>
            </a:r>
          </a:p>
          <a:p>
            <a:pPr marL="0" indent="0">
              <a:lnSpc>
                <a:spcPct val="100000"/>
              </a:lnSpc>
              <a:buClr>
                <a:srgbClr val="FFFFFF"/>
              </a:buClr>
              <a:buNone/>
              <a:tabLst>
                <a:tab pos="88107" algn="l"/>
                <a:tab pos="172244" algn="l"/>
              </a:tabLst>
              <a:defRPr/>
            </a:pPr>
            <a:r>
              <a:rPr lang="en-GB" sz="1200" b="0" spc="0">
                <a:solidFill>
                  <a:srgbClr val="8A8B90"/>
                </a:solidFill>
                <a:latin typeface="Avenir Next LT Pro" panose="020B0504020202020204" pitchFamily="34" charset="77"/>
              </a:rPr>
              <a:t>2008 - 2014  | </a:t>
            </a:r>
            <a:r>
              <a:rPr lang="en-GB" sz="1200" b="0" spc="0" err="1">
                <a:solidFill>
                  <a:srgbClr val="8A8B90"/>
                </a:solidFill>
                <a:latin typeface="Avenir Next LT Pro" panose="020B0504020202020204" pitchFamily="34" charset="77"/>
              </a:rPr>
              <a:t>Seauton</a:t>
            </a:r>
            <a:r>
              <a:rPr lang="en-GB" sz="1200" b="0" spc="0">
                <a:solidFill>
                  <a:srgbClr val="8A8B90"/>
                </a:solidFill>
                <a:latin typeface="Avenir Next LT Pro" panose="020B0504020202020204" pitchFamily="34" charset="77"/>
              </a:rPr>
              <a:t> International</a:t>
            </a:r>
          </a:p>
          <a:p>
            <a:pPr marL="0" indent="0">
              <a:lnSpc>
                <a:spcPct val="100000"/>
              </a:lnSpc>
              <a:buClr>
                <a:srgbClr val="FFFFFF"/>
              </a:buClr>
              <a:buNone/>
              <a:tabLst>
                <a:tab pos="88107" algn="l"/>
                <a:tab pos="172244" algn="l"/>
              </a:tabLst>
              <a:defRPr/>
            </a:pPr>
            <a:endParaRPr lang="en-GB" sz="1200" b="0" spc="0">
              <a:solidFill>
                <a:srgbClr val="8A8B90"/>
              </a:solidFill>
              <a:latin typeface="Avenir Next LT Pro" panose="020B0504020202020204" pitchFamily="34" charset="77"/>
            </a:endParaRPr>
          </a:p>
          <a:p>
            <a:pPr marL="0" marR="0" lvl="0" indent="0" algn="l" defTabSz="1828709" rtl="0" eaLnBrk="1" fontAlgn="auto" latinLnBrk="0" hangingPunct="1">
              <a:lnSpc>
                <a:spcPct val="100000"/>
              </a:lnSpc>
              <a:spcBef>
                <a:spcPts val="0"/>
              </a:spcBef>
              <a:spcAft>
                <a:spcPts val="0"/>
              </a:spcAft>
              <a:buClr>
                <a:srgbClr val="FFFFFF"/>
              </a:buClr>
              <a:buSzTx/>
              <a:buNone/>
              <a:tabLst>
                <a:tab pos="88107" algn="l"/>
                <a:tab pos="172244" algn="l"/>
              </a:tabLst>
              <a:defRPr/>
            </a:pPr>
            <a:endParaRPr kumimoji="0" lang="en-GB" sz="1200" b="0" i="0" u="none" strike="noStrike" kern="1200" cap="none" spc="0" normalizeH="0" baseline="0" noProof="0">
              <a:ln>
                <a:noFill/>
              </a:ln>
              <a:solidFill>
                <a:srgbClr val="8A8B90"/>
              </a:solidFill>
              <a:effectLst/>
              <a:uLnTx/>
              <a:uFillTx/>
              <a:latin typeface="Avenir Next LT Pro" panose="020B0504020202020204" pitchFamily="34" charset="77"/>
            </a:endParaRPr>
          </a:p>
          <a:p>
            <a:pPr marL="0" marR="0" lvl="0" indent="0" algn="l" defTabSz="1828709" rtl="0" eaLnBrk="1" fontAlgn="auto" latinLnBrk="0" hangingPunct="1">
              <a:lnSpc>
                <a:spcPct val="100000"/>
              </a:lnSpc>
              <a:spcBef>
                <a:spcPts val="0"/>
              </a:spcBef>
              <a:spcAft>
                <a:spcPts val="0"/>
              </a:spcAft>
              <a:buClr>
                <a:srgbClr val="FFFFFF"/>
              </a:buClr>
              <a:buSzTx/>
              <a:buNone/>
              <a:tabLst>
                <a:tab pos="88107" algn="l"/>
                <a:tab pos="172244" algn="l"/>
              </a:tabLst>
              <a:defRPr/>
            </a:pPr>
            <a:endPar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endParaRPr>
          </a:p>
        </p:txBody>
      </p:sp>
      <p:sp>
        <p:nvSpPr>
          <p:cNvPr id="20" name="Text Placeholder 11">
            <a:extLst>
              <a:ext uri="{FF2B5EF4-FFF2-40B4-BE49-F238E27FC236}">
                <a16:creationId xmlns:a16="http://schemas.microsoft.com/office/drawing/2014/main" id="{E05DAFD7-1059-90AE-6654-4375BB0763B5}"/>
              </a:ext>
            </a:extLst>
          </p:cNvPr>
          <p:cNvSpPr txBox="1">
            <a:spLocks/>
          </p:cNvSpPr>
          <p:nvPr/>
        </p:nvSpPr>
        <p:spPr>
          <a:xfrm>
            <a:off x="4112919" y="1776360"/>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BE" sz="1800" b="1" i="0" u="none" strike="noStrike" kern="1200" cap="none" spc="-25" normalizeH="0" baseline="0" noProof="0">
                <a:ln>
                  <a:noFill/>
                </a:ln>
                <a:solidFill>
                  <a:srgbClr val="282830"/>
                </a:solidFill>
                <a:effectLst/>
                <a:uLnTx/>
                <a:uFillTx/>
                <a:latin typeface="Avenir Next LT Pro" panose="020B0504020202020204" pitchFamily="34" charset="77"/>
              </a:rPr>
              <a:t>Work experience</a:t>
            </a:r>
          </a:p>
        </p:txBody>
      </p:sp>
      <p:pic>
        <p:nvPicPr>
          <p:cNvPr id="21" name="Picture 20">
            <a:extLst>
              <a:ext uri="{FF2B5EF4-FFF2-40B4-BE49-F238E27FC236}">
                <a16:creationId xmlns:a16="http://schemas.microsoft.com/office/drawing/2014/main" id="{6ED91D14-DF11-4FF9-A7B5-64F31992DB6F}"/>
              </a:ext>
            </a:extLst>
          </p:cNvPr>
          <p:cNvPicPr>
            <a:picLocks noChangeAspect="1"/>
          </p:cNvPicPr>
          <p:nvPr/>
        </p:nvPicPr>
        <p:blipFill>
          <a:blip r:embed="rId2"/>
          <a:stretch>
            <a:fillRect/>
          </a:stretch>
        </p:blipFill>
        <p:spPr>
          <a:xfrm>
            <a:off x="3875669" y="1888432"/>
            <a:ext cx="203200" cy="165100"/>
          </a:xfrm>
          <a:prstGeom prst="rect">
            <a:avLst/>
          </a:prstGeom>
        </p:spPr>
      </p:pic>
      <p:sp>
        <p:nvSpPr>
          <p:cNvPr id="22" name="Text Placeholder 17">
            <a:extLst>
              <a:ext uri="{FF2B5EF4-FFF2-40B4-BE49-F238E27FC236}">
                <a16:creationId xmlns:a16="http://schemas.microsoft.com/office/drawing/2014/main" id="{9EE8DE71-CD3C-A0B9-24D4-D2AD14F049CA}"/>
              </a:ext>
            </a:extLst>
          </p:cNvPr>
          <p:cNvSpPr txBox="1">
            <a:spLocks/>
          </p:cNvSpPr>
          <p:nvPr/>
        </p:nvSpPr>
        <p:spPr>
          <a:xfrm>
            <a:off x="7608818" y="2361061"/>
            <a:ext cx="3594748" cy="603643"/>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a:lnSpc>
                <a:spcPct val="100000"/>
              </a:lnSpc>
              <a:buNone/>
              <a:tabLst>
                <a:tab pos="88107" algn="l"/>
              </a:tabLst>
              <a:defRPr/>
            </a:pPr>
            <a:r>
              <a:rPr lang="en-GB" sz="1200" spc="0">
                <a:solidFill>
                  <a:srgbClr val="282830"/>
                </a:solidFill>
                <a:latin typeface="Avenir Next LT Pro" panose="020B0504020202020204" pitchFamily="34" charset="77"/>
              </a:rPr>
              <a:t>Bachelor in Communication Management</a:t>
            </a:r>
          </a:p>
          <a:p>
            <a:pPr marL="0" indent="0">
              <a:lnSpc>
                <a:spcPct val="100000"/>
              </a:lnSpc>
              <a:buClr>
                <a:srgbClr val="FFFFFF"/>
              </a:buClr>
              <a:buNone/>
              <a:tabLst>
                <a:tab pos="88107" algn="l"/>
                <a:tab pos="172244" algn="l"/>
              </a:tabLst>
              <a:defRPr/>
            </a:pPr>
            <a:r>
              <a:rPr lang="en-GB" sz="1200" b="0" spc="-25">
                <a:solidFill>
                  <a:srgbClr val="8A8B90"/>
                </a:solidFill>
                <a:latin typeface="Avenir Next LT Pro" panose="020B0504020202020204" pitchFamily="34" charset="77"/>
              </a:rPr>
              <a:t>Erasmus </a:t>
            </a:r>
            <a:r>
              <a:rPr lang="en-GB" sz="1200" b="0" spc="-25" err="1">
                <a:solidFill>
                  <a:srgbClr val="8A8B90"/>
                </a:solidFill>
                <a:latin typeface="Avenir Next LT Pro" panose="020B0504020202020204" pitchFamily="34" charset="77"/>
              </a:rPr>
              <a:t>Hogeschool</a:t>
            </a:r>
            <a:endParaRPr lang="en-GB" sz="1200" b="0" spc="0">
              <a:solidFill>
                <a:srgbClr val="8A8B90"/>
              </a:solidFill>
              <a:latin typeface="Avenir Next LT Pro" panose="020B0504020202020204" pitchFamily="34" charset="77"/>
            </a:endParaRPr>
          </a:p>
          <a:p>
            <a:pPr marL="0" indent="0">
              <a:lnSpc>
                <a:spcPct val="100000"/>
              </a:lnSpc>
              <a:buClr>
                <a:srgbClr val="FFFFFF"/>
              </a:buClr>
              <a:buNone/>
              <a:tabLst>
                <a:tab pos="88107" algn="l"/>
                <a:tab pos="172244" algn="l"/>
              </a:tabLst>
              <a:defRPr/>
            </a:pPr>
            <a:endParaRPr lang="en-GB" sz="1200" b="0" spc="0">
              <a:solidFill>
                <a:srgbClr val="8A8B90"/>
              </a:solidFill>
              <a:latin typeface="Avenir Next LT Pro" panose="020B0504020202020204" pitchFamily="34" charset="77"/>
            </a:endParaRPr>
          </a:p>
        </p:txBody>
      </p:sp>
      <p:sp>
        <p:nvSpPr>
          <p:cNvPr id="23" name="Text Placeholder 17">
            <a:extLst>
              <a:ext uri="{FF2B5EF4-FFF2-40B4-BE49-F238E27FC236}">
                <a16:creationId xmlns:a16="http://schemas.microsoft.com/office/drawing/2014/main" id="{6A2AC868-AF6E-F102-F642-046AF65F929F}"/>
              </a:ext>
            </a:extLst>
          </p:cNvPr>
          <p:cNvSpPr txBox="1">
            <a:spLocks/>
          </p:cNvSpPr>
          <p:nvPr/>
        </p:nvSpPr>
        <p:spPr>
          <a:xfrm>
            <a:off x="7578338" y="3498410"/>
            <a:ext cx="3350908" cy="1755019"/>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a:lnSpc>
                <a:spcPct val="100000"/>
              </a:lnSpc>
              <a:buNone/>
              <a:tabLst>
                <a:tab pos="88107" algn="l"/>
              </a:tabLst>
              <a:defRPr/>
            </a:pPr>
            <a:r>
              <a:rPr lang="en-GB" sz="1200" b="0" spc="0">
                <a:solidFill>
                  <a:srgbClr val="282830"/>
                </a:solidFill>
                <a:latin typeface="Avenir Next LT Pro" panose="020B0504020202020204" pitchFamily="34" charset="77"/>
              </a:rPr>
              <a:t>Julie is a Dutch native speaker, she speaks English fluently and has knowledge of French. </a:t>
            </a:r>
          </a:p>
        </p:txBody>
      </p:sp>
      <p:sp>
        <p:nvSpPr>
          <p:cNvPr id="24" name="Text Placeholder 17">
            <a:extLst>
              <a:ext uri="{FF2B5EF4-FFF2-40B4-BE49-F238E27FC236}">
                <a16:creationId xmlns:a16="http://schemas.microsoft.com/office/drawing/2014/main" id="{1A3FB962-4FF5-67E6-F882-972A8A9BBAC4}"/>
              </a:ext>
            </a:extLst>
          </p:cNvPr>
          <p:cNvSpPr txBox="1">
            <a:spLocks/>
          </p:cNvSpPr>
          <p:nvPr/>
        </p:nvSpPr>
        <p:spPr>
          <a:xfrm>
            <a:off x="7599032" y="4826850"/>
            <a:ext cx="3476963" cy="920467"/>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defTabSz="914355">
              <a:lnSpc>
                <a:spcPct val="100000"/>
              </a:lnSpc>
              <a:buNone/>
              <a:tabLst>
                <a:tab pos="88107" algn="l"/>
              </a:tabLst>
              <a:defRPr/>
            </a:pPr>
            <a:r>
              <a:rPr lang="en-GB" sz="1200" b="0" spc="0">
                <a:solidFill>
                  <a:srgbClr val="282830"/>
                </a:solidFill>
                <a:latin typeface="Avenir Next LT Pro" panose="020B0504020202020204" pitchFamily="34" charset="77"/>
              </a:rPr>
              <a:t>Beiersdorf, </a:t>
            </a:r>
            <a:r>
              <a:rPr lang="en-GB" sz="1200" b="0" spc="0" err="1">
                <a:solidFill>
                  <a:srgbClr val="282830"/>
                </a:solidFill>
                <a:latin typeface="Avenir Next LT Pro" panose="020B0504020202020204" pitchFamily="34" charset="77"/>
              </a:rPr>
              <a:t>Marktplaats</a:t>
            </a:r>
            <a:r>
              <a:rPr lang="en-GB" sz="1200" b="0" spc="0">
                <a:solidFill>
                  <a:srgbClr val="282830"/>
                </a:solidFill>
                <a:latin typeface="Avenir Next LT Pro" panose="020B0504020202020204" pitchFamily="34" charset="77"/>
              </a:rPr>
              <a:t>, PostNL</a:t>
            </a:r>
          </a:p>
        </p:txBody>
      </p:sp>
      <p:sp>
        <p:nvSpPr>
          <p:cNvPr id="25" name="Text Placeholder 11">
            <a:extLst>
              <a:ext uri="{FF2B5EF4-FFF2-40B4-BE49-F238E27FC236}">
                <a16:creationId xmlns:a16="http://schemas.microsoft.com/office/drawing/2014/main" id="{B9E104F8-BFBA-771E-A6D8-F86DC982DBA8}"/>
              </a:ext>
            </a:extLst>
          </p:cNvPr>
          <p:cNvSpPr txBox="1">
            <a:spLocks/>
          </p:cNvSpPr>
          <p:nvPr/>
        </p:nvSpPr>
        <p:spPr>
          <a:xfrm>
            <a:off x="7569908" y="1897314"/>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GB" sz="1800" b="1" i="0" u="none" strike="noStrike" kern="1200" cap="none" spc="-25" normalizeH="0" baseline="0" noProof="0">
                <a:ln>
                  <a:noFill/>
                </a:ln>
                <a:solidFill>
                  <a:srgbClr val="282830"/>
                </a:solidFill>
                <a:effectLst/>
                <a:uLnTx/>
                <a:uFillTx/>
                <a:latin typeface="Avenir Next LT Pro" panose="020B0504020202020204" pitchFamily="34" charset="77"/>
              </a:rPr>
              <a:t>Education</a:t>
            </a:r>
          </a:p>
        </p:txBody>
      </p:sp>
      <p:pic>
        <p:nvPicPr>
          <p:cNvPr id="26" name="Picture 25">
            <a:extLst>
              <a:ext uri="{FF2B5EF4-FFF2-40B4-BE49-F238E27FC236}">
                <a16:creationId xmlns:a16="http://schemas.microsoft.com/office/drawing/2014/main" id="{B0BB42C8-ECFE-3C87-2CA0-2E509D0BCAAF}"/>
              </a:ext>
            </a:extLst>
          </p:cNvPr>
          <p:cNvPicPr>
            <a:picLocks noChangeAspect="1"/>
          </p:cNvPicPr>
          <p:nvPr/>
        </p:nvPicPr>
        <p:blipFill>
          <a:blip r:embed="rId3"/>
          <a:stretch>
            <a:fillRect/>
          </a:stretch>
        </p:blipFill>
        <p:spPr>
          <a:xfrm>
            <a:off x="7310433" y="2006657"/>
            <a:ext cx="247650" cy="152400"/>
          </a:xfrm>
          <a:prstGeom prst="rect">
            <a:avLst/>
          </a:prstGeom>
        </p:spPr>
      </p:pic>
      <p:sp>
        <p:nvSpPr>
          <p:cNvPr id="27" name="Text Placeholder 11">
            <a:extLst>
              <a:ext uri="{FF2B5EF4-FFF2-40B4-BE49-F238E27FC236}">
                <a16:creationId xmlns:a16="http://schemas.microsoft.com/office/drawing/2014/main" id="{BBE0B202-48A1-251B-8784-3B0C186DF8E7}"/>
              </a:ext>
            </a:extLst>
          </p:cNvPr>
          <p:cNvSpPr txBox="1">
            <a:spLocks/>
          </p:cNvSpPr>
          <p:nvPr/>
        </p:nvSpPr>
        <p:spPr>
          <a:xfrm>
            <a:off x="7552398" y="3048267"/>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GB" sz="1800" b="1" i="0" u="none" strike="noStrike" kern="1200" cap="none" spc="-25" normalizeH="0" baseline="0" noProof="0">
                <a:ln>
                  <a:noFill/>
                </a:ln>
                <a:solidFill>
                  <a:srgbClr val="282830"/>
                </a:solidFill>
                <a:effectLst/>
                <a:uLnTx/>
                <a:uFillTx/>
                <a:latin typeface="Avenir Next LT Pro" panose="020B0504020202020204" pitchFamily="34" charset="77"/>
              </a:rPr>
              <a:t>Languages </a:t>
            </a:r>
          </a:p>
        </p:txBody>
      </p:sp>
      <p:pic>
        <p:nvPicPr>
          <p:cNvPr id="28" name="Picture 27">
            <a:extLst>
              <a:ext uri="{FF2B5EF4-FFF2-40B4-BE49-F238E27FC236}">
                <a16:creationId xmlns:a16="http://schemas.microsoft.com/office/drawing/2014/main" id="{46FC2AAD-048F-E18C-C157-14075BCDA697}"/>
              </a:ext>
            </a:extLst>
          </p:cNvPr>
          <p:cNvPicPr>
            <a:picLocks noChangeAspect="1"/>
          </p:cNvPicPr>
          <p:nvPr/>
        </p:nvPicPr>
        <p:blipFill>
          <a:blip r:embed="rId4"/>
          <a:stretch>
            <a:fillRect/>
          </a:stretch>
        </p:blipFill>
        <p:spPr>
          <a:xfrm>
            <a:off x="7315148" y="3155259"/>
            <a:ext cx="203200" cy="196850"/>
          </a:xfrm>
          <a:prstGeom prst="rect">
            <a:avLst/>
          </a:prstGeom>
        </p:spPr>
      </p:pic>
      <p:sp>
        <p:nvSpPr>
          <p:cNvPr id="29" name="Text Placeholder 11">
            <a:extLst>
              <a:ext uri="{FF2B5EF4-FFF2-40B4-BE49-F238E27FC236}">
                <a16:creationId xmlns:a16="http://schemas.microsoft.com/office/drawing/2014/main" id="{D4CE30F1-1848-DD7D-6608-A389D1E12D8A}"/>
              </a:ext>
            </a:extLst>
          </p:cNvPr>
          <p:cNvSpPr txBox="1">
            <a:spLocks/>
          </p:cNvSpPr>
          <p:nvPr/>
        </p:nvSpPr>
        <p:spPr>
          <a:xfrm>
            <a:off x="7573092" y="4427526"/>
            <a:ext cx="3997446" cy="198272"/>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defTabSz="914355">
              <a:defRPr/>
            </a:pPr>
            <a:r>
              <a:rPr lang="en-GB" sz="1800" spc="-25">
                <a:solidFill>
                  <a:srgbClr val="282830"/>
                </a:solidFill>
                <a:latin typeface="Avenir Next LT Pro" panose="020B0504020202020204" pitchFamily="34" charset="77"/>
              </a:rPr>
              <a:t>Relevant experience </a:t>
            </a:r>
          </a:p>
        </p:txBody>
      </p:sp>
      <p:pic>
        <p:nvPicPr>
          <p:cNvPr id="30" name="Picture 29">
            <a:extLst>
              <a:ext uri="{FF2B5EF4-FFF2-40B4-BE49-F238E27FC236}">
                <a16:creationId xmlns:a16="http://schemas.microsoft.com/office/drawing/2014/main" id="{0CFBF19D-C62E-EEE8-10A9-0AEE7B4E1B58}"/>
              </a:ext>
            </a:extLst>
          </p:cNvPr>
          <p:cNvPicPr>
            <a:picLocks noChangeAspect="1"/>
          </p:cNvPicPr>
          <p:nvPr/>
        </p:nvPicPr>
        <p:blipFill>
          <a:blip r:embed="rId5"/>
          <a:stretch>
            <a:fillRect/>
          </a:stretch>
        </p:blipFill>
        <p:spPr>
          <a:xfrm>
            <a:off x="7335842" y="4507849"/>
            <a:ext cx="228600" cy="228600"/>
          </a:xfrm>
          <a:prstGeom prst="rect">
            <a:avLst/>
          </a:prstGeom>
        </p:spPr>
      </p:pic>
      <p:pic>
        <p:nvPicPr>
          <p:cNvPr id="32" name="Picture Placeholder 20">
            <a:extLst>
              <a:ext uri="{FF2B5EF4-FFF2-40B4-BE49-F238E27FC236}">
                <a16:creationId xmlns:a16="http://schemas.microsoft.com/office/drawing/2014/main" id="{396F54B0-E0F4-C658-260C-9852638C2A5E}"/>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592319" y="560957"/>
            <a:ext cx="2774553" cy="2774373"/>
          </a:xfrm>
          <a:prstGeom prst="ellipse">
            <a:avLst/>
          </a:prstGeom>
          <a:ln w="57150">
            <a:noFill/>
          </a:ln>
        </p:spPr>
      </p:pic>
      <p:pic>
        <p:nvPicPr>
          <p:cNvPr id="33" name="Picture 32">
            <a:extLst>
              <a:ext uri="{FF2B5EF4-FFF2-40B4-BE49-F238E27FC236}">
                <a16:creationId xmlns:a16="http://schemas.microsoft.com/office/drawing/2014/main" id="{A3BCD175-0EB4-87BA-2268-CB12ECF6B3B2}"/>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0874714" y="5414933"/>
            <a:ext cx="986875" cy="1217503"/>
          </a:xfrm>
          <a:prstGeom prst="rect">
            <a:avLst/>
          </a:prstGeom>
          <a:solidFill>
            <a:schemeClr val="bg1"/>
          </a:solidFill>
        </p:spPr>
      </p:pic>
    </p:spTree>
    <p:extLst>
      <p:ext uri="{BB962C8B-B14F-4D97-AF65-F5344CB8AC3E}">
        <p14:creationId xmlns:p14="http://schemas.microsoft.com/office/powerpoint/2010/main" val="38873455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7637F-C6AF-844F-2DAD-0A55C31FE49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78520003-BFA0-267B-DBA7-9F1FB82DCBAB}"/>
              </a:ext>
            </a:extLst>
          </p:cNvPr>
          <p:cNvSpPr>
            <a:spLocks noGrp="1"/>
          </p:cNvSpPr>
          <p:nvPr>
            <p:ph type="body" sz="quarter" idx="11"/>
          </p:nvPr>
        </p:nvSpPr>
        <p:spPr>
          <a:xfrm>
            <a:off x="3793895" y="560957"/>
            <a:ext cx="7805783" cy="654844"/>
          </a:xfrm>
        </p:spPr>
        <p:txBody>
          <a:bodyPr lIns="91440" tIns="45720" rIns="91440" bIns="45720" anchor="t"/>
          <a:lstStyle/>
          <a:p>
            <a:r>
              <a:rPr lang="en-GB">
                <a:latin typeface="AvenirNext LT Pro Bold"/>
                <a:cs typeface="Arial"/>
              </a:rPr>
              <a:t>Meet </a:t>
            </a:r>
            <a:r>
              <a:rPr lang="en-GB" sz="4800" b="0" err="1">
                <a:gradFill>
                  <a:gsLst>
                    <a:gs pos="100000">
                      <a:srgbClr val="B79E60"/>
                    </a:gs>
                    <a:gs pos="0">
                      <a:srgbClr val="B79E60"/>
                    </a:gs>
                    <a:gs pos="54000">
                      <a:srgbClr val="DFCF84"/>
                    </a:gs>
                  </a:gsLst>
                  <a:lin ang="2700000" scaled="0"/>
                </a:gradFill>
                <a:latin typeface="Bodoni MT"/>
                <a:cs typeface="Arial"/>
              </a:rPr>
              <a:t>Morgane</a:t>
            </a:r>
            <a:r>
              <a:rPr lang="en-GB" sz="4800" b="0">
                <a:gradFill>
                  <a:gsLst>
                    <a:gs pos="100000">
                      <a:srgbClr val="B79E60"/>
                    </a:gs>
                    <a:gs pos="0">
                      <a:srgbClr val="B79E60"/>
                    </a:gs>
                    <a:gs pos="54000">
                      <a:srgbClr val="DFCF84"/>
                    </a:gs>
                  </a:gsLst>
                  <a:lin ang="2700000" scaled="0"/>
                </a:gradFill>
                <a:latin typeface="Bodoni MT"/>
                <a:cs typeface="Arial"/>
              </a:rPr>
              <a:t> </a:t>
            </a:r>
            <a:r>
              <a:rPr lang="en-GB" sz="4800" b="0" err="1">
                <a:gradFill>
                  <a:gsLst>
                    <a:gs pos="100000">
                      <a:srgbClr val="B79E60"/>
                    </a:gs>
                    <a:gs pos="0">
                      <a:srgbClr val="B79E60"/>
                    </a:gs>
                    <a:gs pos="54000">
                      <a:srgbClr val="DFCF84"/>
                    </a:gs>
                  </a:gsLst>
                  <a:lin ang="2700000" scaled="0"/>
                </a:gradFill>
                <a:latin typeface="Bodoni MT"/>
                <a:cs typeface="Arial"/>
              </a:rPr>
              <a:t>Juget</a:t>
            </a:r>
            <a:endParaRPr lang="en-GB" sz="4800" b="0">
              <a:gradFill>
                <a:gsLst>
                  <a:gs pos="100000">
                    <a:srgbClr val="B79E60"/>
                  </a:gs>
                  <a:gs pos="0">
                    <a:srgbClr val="B79E60"/>
                  </a:gs>
                  <a:gs pos="54000">
                    <a:srgbClr val="DFCF84"/>
                  </a:gs>
                </a:gsLst>
                <a:lin ang="2700000" scaled="0"/>
              </a:gradFill>
              <a:latin typeface="Bodoni MT"/>
              <a:cs typeface="Arial"/>
            </a:endParaRPr>
          </a:p>
        </p:txBody>
      </p:sp>
      <p:sp>
        <p:nvSpPr>
          <p:cNvPr id="4" name="Text Placeholder 3">
            <a:extLst>
              <a:ext uri="{FF2B5EF4-FFF2-40B4-BE49-F238E27FC236}">
                <a16:creationId xmlns:a16="http://schemas.microsoft.com/office/drawing/2014/main" id="{9F4D29FA-A355-8271-6889-AB49AFC6EB12}"/>
              </a:ext>
            </a:extLst>
          </p:cNvPr>
          <p:cNvSpPr>
            <a:spLocks noGrp="1"/>
          </p:cNvSpPr>
          <p:nvPr>
            <p:ph type="body" sz="quarter" idx="12"/>
          </p:nvPr>
        </p:nvSpPr>
        <p:spPr>
          <a:xfrm>
            <a:off x="3793897" y="1146962"/>
            <a:ext cx="8056233" cy="475343"/>
          </a:xfrm>
        </p:spPr>
        <p:txBody>
          <a:bodyPr lIns="91440" tIns="45720" rIns="91440" bIns="45720" anchor="t"/>
          <a:lstStyle/>
          <a:p>
            <a:r>
              <a:rPr lang="en-GB">
                <a:latin typeface="Avenir Next LT Pro"/>
                <a:cs typeface="Arial"/>
              </a:rPr>
              <a:t>Account Executive/Project Coordinator</a:t>
            </a:r>
          </a:p>
        </p:txBody>
      </p:sp>
      <p:sp>
        <p:nvSpPr>
          <p:cNvPr id="44" name="Text Placeholder 11">
            <a:extLst>
              <a:ext uri="{FF2B5EF4-FFF2-40B4-BE49-F238E27FC236}">
                <a16:creationId xmlns:a16="http://schemas.microsoft.com/office/drawing/2014/main" id="{D748B90C-8BD6-621A-BC08-0D5A025A4670}"/>
              </a:ext>
            </a:extLst>
          </p:cNvPr>
          <p:cNvSpPr txBox="1">
            <a:spLocks/>
          </p:cNvSpPr>
          <p:nvPr/>
        </p:nvSpPr>
        <p:spPr>
          <a:xfrm>
            <a:off x="4112919" y="1776360"/>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BE" sz="1800" b="1" i="0" u="none" strike="noStrike" kern="1200" cap="none" spc="-25" normalizeH="0" baseline="0" noProof="0">
                <a:ln>
                  <a:noFill/>
                </a:ln>
                <a:solidFill>
                  <a:srgbClr val="282830"/>
                </a:solidFill>
                <a:effectLst/>
                <a:uLnTx/>
                <a:uFillTx/>
                <a:latin typeface="Avenir Next LT Pro" panose="020B0504020202020204" pitchFamily="34" charset="77"/>
              </a:rPr>
              <a:t>Work experience</a:t>
            </a:r>
          </a:p>
        </p:txBody>
      </p:sp>
      <p:pic>
        <p:nvPicPr>
          <p:cNvPr id="45" name="Picture 44">
            <a:extLst>
              <a:ext uri="{FF2B5EF4-FFF2-40B4-BE49-F238E27FC236}">
                <a16:creationId xmlns:a16="http://schemas.microsoft.com/office/drawing/2014/main" id="{5D7848E4-9F44-7986-C415-C1C905B25FFB}"/>
              </a:ext>
            </a:extLst>
          </p:cNvPr>
          <p:cNvPicPr>
            <a:picLocks noChangeAspect="1"/>
          </p:cNvPicPr>
          <p:nvPr/>
        </p:nvPicPr>
        <p:blipFill>
          <a:blip r:embed="rId2"/>
          <a:stretch>
            <a:fillRect/>
          </a:stretch>
        </p:blipFill>
        <p:spPr>
          <a:xfrm>
            <a:off x="3875669" y="1888432"/>
            <a:ext cx="203200" cy="165100"/>
          </a:xfrm>
          <a:prstGeom prst="rect">
            <a:avLst/>
          </a:prstGeom>
        </p:spPr>
      </p:pic>
      <p:sp>
        <p:nvSpPr>
          <p:cNvPr id="5" name="Text Placeholder 17">
            <a:extLst>
              <a:ext uri="{FF2B5EF4-FFF2-40B4-BE49-F238E27FC236}">
                <a16:creationId xmlns:a16="http://schemas.microsoft.com/office/drawing/2014/main" id="{5F7A1A43-376D-567D-F18F-26E1BF945E39}"/>
              </a:ext>
            </a:extLst>
          </p:cNvPr>
          <p:cNvSpPr txBox="1">
            <a:spLocks/>
          </p:cNvSpPr>
          <p:nvPr/>
        </p:nvSpPr>
        <p:spPr>
          <a:xfrm>
            <a:off x="4168514" y="2273836"/>
            <a:ext cx="3137263" cy="3282415"/>
          </a:xfrm>
          <a:prstGeom prst="rect">
            <a:avLst/>
          </a:prstGeom>
          <a:ln>
            <a:noFill/>
          </a:ln>
        </p:spPr>
        <p:txBody>
          <a:bodyPr lIns="91440" tIns="45720" rIns="91440" bIns="45720" anchor="t"/>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defTabSz="914355">
              <a:lnSpc>
                <a:spcPct val="100000"/>
              </a:lnSpc>
              <a:buNone/>
              <a:tabLst>
                <a:tab pos="88107" algn="l"/>
              </a:tabLst>
            </a:pPr>
            <a:r>
              <a:rPr lang="en-GB" sz="1200" spc="0">
                <a:solidFill>
                  <a:srgbClr val="282830"/>
                </a:solidFill>
                <a:latin typeface="Avenir Next LT Pro" panose="020B0504020202020204" pitchFamily="34" charset="77"/>
                <a:cs typeface="Arial"/>
              </a:rPr>
              <a:t>Account Manager</a:t>
            </a:r>
            <a:endParaRPr lang="en-GB" sz="1200" spc="0">
              <a:solidFill>
                <a:srgbClr val="282830"/>
              </a:solidFill>
              <a:latin typeface="Avenir Next LT Pro" panose="020B0504020202020204" pitchFamily="34" charset="77"/>
            </a:endParaRPr>
          </a:p>
          <a:p>
            <a:pPr marL="0" indent="0" defTabSz="914355">
              <a:lnSpc>
                <a:spcPct val="100000"/>
              </a:lnSpc>
              <a:buClr>
                <a:srgbClr val="FFFFFF"/>
              </a:buClr>
              <a:buNone/>
              <a:tabLst>
                <a:tab pos="88107" algn="l"/>
                <a:tab pos="172244" algn="l"/>
              </a:tabLst>
              <a:defRPr/>
            </a:pPr>
            <a:r>
              <a:rPr lang="en-GB" sz="1200" b="0" spc="0">
                <a:solidFill>
                  <a:srgbClr val="8A8B90"/>
                </a:solidFill>
                <a:latin typeface="Avenir Next LT Pro" panose="020B0504020202020204" pitchFamily="34" charset="77"/>
                <a:cs typeface="Arial"/>
              </a:rPr>
              <a:t>2023 - present | Happiness Brussels</a:t>
            </a:r>
          </a:p>
          <a:p>
            <a:pPr marL="0" indent="0" defTabSz="914355">
              <a:lnSpc>
                <a:spcPct val="100000"/>
              </a:lnSpc>
              <a:buNone/>
              <a:tabLst>
                <a:tab pos="88107" algn="l"/>
                <a:tab pos="172244" algn="l"/>
              </a:tabLst>
              <a:defRPr/>
            </a:pPr>
            <a:endParaRPr lang="en-GB" sz="1200" b="0" spc="0">
              <a:solidFill>
                <a:srgbClr val="8A8B90"/>
              </a:solidFill>
              <a:latin typeface="Avenir Next LT Pro" panose="020B0504020202020204" pitchFamily="34" charset="77"/>
            </a:endParaRPr>
          </a:p>
          <a:p>
            <a:pPr marL="0" indent="0" defTabSz="914355">
              <a:lnSpc>
                <a:spcPct val="100000"/>
              </a:lnSpc>
              <a:buNone/>
              <a:tabLst>
                <a:tab pos="88107" algn="l"/>
              </a:tabLst>
            </a:pPr>
            <a:r>
              <a:rPr lang="en-GB" sz="1200" spc="0">
                <a:solidFill>
                  <a:srgbClr val="282830"/>
                </a:solidFill>
                <a:latin typeface="Avenir Next LT Pro" panose="020B0504020202020204" pitchFamily="34" charset="77"/>
                <a:cs typeface="Arial"/>
              </a:rPr>
              <a:t>Account Executive</a:t>
            </a:r>
          </a:p>
          <a:p>
            <a:pPr marL="0" indent="0" defTabSz="914355">
              <a:lnSpc>
                <a:spcPct val="100000"/>
              </a:lnSpc>
              <a:buNone/>
              <a:tabLst>
                <a:tab pos="88107" algn="l"/>
              </a:tabLst>
            </a:pPr>
            <a:r>
              <a:rPr lang="en-GB" sz="1200" b="0" spc="0">
                <a:solidFill>
                  <a:srgbClr val="8A8B90"/>
                </a:solidFill>
                <a:latin typeface="Avenir Next LT Pro" panose="020B0504020202020204" pitchFamily="34" charset="77"/>
                <a:cs typeface="Arial"/>
              </a:rPr>
              <a:t>2021 - 2023 | Happiness Brussels</a:t>
            </a:r>
            <a:endParaRPr lang="en-GB">
              <a:latin typeface="Avenir Next LT Pro" panose="020B0504020202020204" pitchFamily="34" charset="77"/>
              <a:cs typeface="Arial"/>
            </a:endParaRPr>
          </a:p>
          <a:p>
            <a:pPr marL="0" indent="0" defTabSz="914355">
              <a:lnSpc>
                <a:spcPct val="100000"/>
              </a:lnSpc>
              <a:buClr>
                <a:srgbClr val="FFFFFF"/>
              </a:buClr>
              <a:buNone/>
              <a:tabLst>
                <a:tab pos="88107" algn="l"/>
              </a:tabLst>
            </a:pPr>
            <a:endParaRPr lang="en-GB" sz="1200" b="0" spc="0">
              <a:solidFill>
                <a:srgbClr val="8A8B90"/>
              </a:solidFill>
              <a:latin typeface="Avenir Next LT Pro" panose="020B0504020202020204" pitchFamily="34" charset="77"/>
            </a:endParaRPr>
          </a:p>
          <a:p>
            <a:pPr marL="0" indent="0" defTabSz="914355">
              <a:lnSpc>
                <a:spcPct val="100000"/>
              </a:lnSpc>
              <a:buNone/>
              <a:tabLst>
                <a:tab pos="88107" algn="l"/>
              </a:tabLst>
            </a:pPr>
            <a:r>
              <a:rPr lang="en-GB" sz="1200" spc="0">
                <a:solidFill>
                  <a:srgbClr val="282830"/>
                </a:solidFill>
                <a:latin typeface="Avenir Next LT Pro" panose="020B0504020202020204" pitchFamily="34" charset="77"/>
                <a:cs typeface="Arial"/>
              </a:rPr>
              <a:t>Digital Content Officer</a:t>
            </a:r>
          </a:p>
          <a:p>
            <a:pPr marL="0" indent="0" defTabSz="914355">
              <a:lnSpc>
                <a:spcPct val="100000"/>
              </a:lnSpc>
              <a:buClr>
                <a:srgbClr val="FFFFFF"/>
              </a:buClr>
              <a:buNone/>
              <a:tabLst>
                <a:tab pos="88107" algn="l"/>
                <a:tab pos="172244" algn="l"/>
              </a:tabLst>
              <a:defRPr/>
            </a:pPr>
            <a:r>
              <a:rPr lang="en-GB" sz="1200" b="0" spc="0">
                <a:solidFill>
                  <a:srgbClr val="8A8B90"/>
                </a:solidFill>
                <a:latin typeface="Avenir Next LT Pro" panose="020B0504020202020204" pitchFamily="34" charset="77"/>
                <a:cs typeface="Arial"/>
              </a:rPr>
              <a:t>2019 - 2021 | Thalys</a:t>
            </a:r>
          </a:p>
          <a:p>
            <a:pPr marL="0" indent="0" defTabSz="914355">
              <a:lnSpc>
                <a:spcPct val="100000"/>
              </a:lnSpc>
              <a:buClr>
                <a:srgbClr val="FFFFFF"/>
              </a:buClr>
              <a:buNone/>
              <a:tabLst>
                <a:tab pos="88107" algn="l"/>
                <a:tab pos="172244" algn="l"/>
              </a:tabLst>
              <a:defRPr/>
            </a:pPr>
            <a:endParaRPr lang="en-GB" sz="1200" b="0" spc="0">
              <a:solidFill>
                <a:srgbClr val="8A8B90"/>
              </a:solidFill>
              <a:latin typeface="Avenir Next LT Pro" panose="020B0504020202020204" pitchFamily="34" charset="77"/>
            </a:endParaRPr>
          </a:p>
          <a:p>
            <a:pPr marL="0" indent="0" defTabSz="914355">
              <a:lnSpc>
                <a:spcPct val="100000"/>
              </a:lnSpc>
              <a:buClr>
                <a:srgbClr val="FFFFFF"/>
              </a:buClr>
              <a:buNone/>
              <a:tabLst>
                <a:tab pos="88107" algn="l"/>
                <a:tab pos="172244" algn="l"/>
              </a:tabLst>
            </a:pPr>
            <a:r>
              <a:rPr lang="nl-BE" sz="1200" spc="0">
                <a:solidFill>
                  <a:srgbClr val="282830"/>
                </a:solidFill>
                <a:latin typeface="Avenir Next LT Pro" panose="020B0504020202020204" pitchFamily="34" charset="77"/>
                <a:cs typeface="Arial"/>
              </a:rPr>
              <a:t>Account Executive Intern</a:t>
            </a:r>
            <a:endParaRPr lang="en-US" sz="1200" spc="0">
              <a:solidFill>
                <a:srgbClr val="282830"/>
              </a:solidFill>
              <a:latin typeface="Avenir Next LT Pro" panose="020B0504020202020204" pitchFamily="34" charset="77"/>
              <a:cs typeface="Arial"/>
            </a:endParaRPr>
          </a:p>
          <a:p>
            <a:pPr marL="0" indent="0" defTabSz="914355">
              <a:lnSpc>
                <a:spcPct val="100000"/>
              </a:lnSpc>
              <a:buClr>
                <a:srgbClr val="FFFFFF"/>
              </a:buClr>
              <a:buNone/>
              <a:tabLst>
                <a:tab pos="88107" algn="l"/>
                <a:tab pos="172244" algn="l"/>
              </a:tabLst>
              <a:defRPr/>
            </a:pPr>
            <a:r>
              <a:rPr lang="en-GB" sz="1200" b="0" spc="0">
                <a:solidFill>
                  <a:srgbClr val="8A8B90"/>
                </a:solidFill>
                <a:latin typeface="Avenir Next LT Pro" panose="020B0504020202020204" pitchFamily="34" charset="77"/>
                <a:cs typeface="Arial"/>
              </a:rPr>
              <a:t>2018 | MRM </a:t>
            </a:r>
            <a:r>
              <a:rPr lang="en-GB" sz="1200" b="0" spc="0" err="1">
                <a:solidFill>
                  <a:srgbClr val="8A8B90"/>
                </a:solidFill>
                <a:latin typeface="Avenir Next LT Pro" panose="020B0504020202020204" pitchFamily="34" charset="77"/>
                <a:cs typeface="Arial"/>
              </a:rPr>
              <a:t>McCANN</a:t>
            </a:r>
            <a:r>
              <a:rPr lang="en-GB" sz="1200" b="0" spc="0">
                <a:solidFill>
                  <a:srgbClr val="8A8B90"/>
                </a:solidFill>
                <a:latin typeface="Avenir Next LT Pro" panose="020B0504020202020204" pitchFamily="34" charset="77"/>
                <a:cs typeface="Arial"/>
              </a:rPr>
              <a:t> - Paris</a:t>
            </a:r>
          </a:p>
          <a:p>
            <a:pPr marL="0" indent="0" defTabSz="914355">
              <a:lnSpc>
                <a:spcPct val="100000"/>
              </a:lnSpc>
              <a:buClr>
                <a:srgbClr val="FFFFFF"/>
              </a:buClr>
              <a:buNone/>
              <a:tabLst>
                <a:tab pos="88107" algn="l"/>
                <a:tab pos="172244" algn="l"/>
              </a:tabLst>
              <a:defRPr/>
            </a:pPr>
            <a:endParaRPr lang="en-GB" sz="1200" b="0" spc="0">
              <a:solidFill>
                <a:srgbClr val="8A8B90"/>
              </a:solidFill>
              <a:latin typeface="Avenir Next LT Pro" panose="020B0504020202020204" pitchFamily="34" charset="77"/>
            </a:endParaRPr>
          </a:p>
          <a:p>
            <a:pPr marL="0" indent="0" defTabSz="914355">
              <a:lnSpc>
                <a:spcPct val="100000"/>
              </a:lnSpc>
              <a:buClr>
                <a:srgbClr val="FFFFFF"/>
              </a:buClr>
              <a:buNone/>
              <a:tabLst>
                <a:tab pos="88107" algn="l"/>
                <a:tab pos="172244" algn="l"/>
              </a:tabLst>
              <a:defRPr/>
            </a:pPr>
            <a:endParaRPr lang="en-GB" sz="1200" b="0" spc="0">
              <a:solidFill>
                <a:srgbClr val="8A8B90"/>
              </a:solidFill>
              <a:latin typeface="Avenir Next LT Pro" panose="020B0504020202020204" pitchFamily="34" charset="77"/>
            </a:endParaRPr>
          </a:p>
          <a:p>
            <a:pPr marL="0" indent="0" defTabSz="914355">
              <a:lnSpc>
                <a:spcPct val="100000"/>
              </a:lnSpc>
              <a:buClr>
                <a:srgbClr val="FFFFFF"/>
              </a:buClr>
              <a:buNone/>
              <a:tabLst>
                <a:tab pos="88107" algn="l"/>
                <a:tab pos="172244" algn="l"/>
              </a:tabLst>
            </a:pPr>
            <a:endParaRPr lang="en-GB" sz="1200" b="0" spc="0">
              <a:solidFill>
                <a:srgbClr val="8A8B90"/>
              </a:solidFill>
              <a:latin typeface="Avenir Next LT Pro" panose="020B0504020202020204" pitchFamily="34" charset="77"/>
            </a:endParaRPr>
          </a:p>
          <a:p>
            <a:pPr marL="0" indent="0" defTabSz="914355">
              <a:lnSpc>
                <a:spcPct val="100000"/>
              </a:lnSpc>
              <a:buClr>
                <a:srgbClr val="FFFFFF"/>
              </a:buClr>
              <a:buNone/>
              <a:tabLst>
                <a:tab pos="88107" algn="l"/>
                <a:tab pos="172244" algn="l"/>
              </a:tabLst>
            </a:pPr>
            <a:endParaRPr lang="en-GB" sz="1200" b="0" spc="0">
              <a:solidFill>
                <a:srgbClr val="8A8B90"/>
              </a:solidFill>
              <a:latin typeface="Avenir Next LT Pro" panose="020B0504020202020204" pitchFamily="34" charset="77"/>
            </a:endParaRPr>
          </a:p>
          <a:p>
            <a:pPr marL="0" indent="0" defTabSz="914355">
              <a:lnSpc>
                <a:spcPct val="100000"/>
              </a:lnSpc>
              <a:buClr>
                <a:srgbClr val="FFFFFF"/>
              </a:buClr>
              <a:buNone/>
              <a:tabLst>
                <a:tab pos="88107" algn="l"/>
                <a:tab pos="172244" algn="l"/>
              </a:tabLst>
            </a:pPr>
            <a:endParaRPr lang="en-GB" sz="1200" b="0" spc="0">
              <a:solidFill>
                <a:srgbClr val="8A8B90"/>
              </a:solidFill>
              <a:latin typeface="Avenir Next LT Pro" panose="020B0504020202020204" pitchFamily="34" charset="77"/>
            </a:endParaRPr>
          </a:p>
          <a:p>
            <a:pPr marL="0" indent="0" defTabSz="914355">
              <a:lnSpc>
                <a:spcPct val="100000"/>
              </a:lnSpc>
              <a:buClr>
                <a:srgbClr val="FFFFFF"/>
              </a:buClr>
              <a:buNone/>
              <a:tabLst>
                <a:tab pos="88107" algn="l"/>
                <a:tab pos="172244" algn="l"/>
              </a:tabLst>
            </a:pPr>
            <a:endParaRPr lang="en-GB" sz="1100" b="0" spc="0">
              <a:solidFill>
                <a:srgbClr val="8A8B90"/>
              </a:solidFill>
              <a:latin typeface="Avenir Next LT Pro" panose="020B0504020202020204" pitchFamily="34" charset="77"/>
            </a:endParaRPr>
          </a:p>
          <a:p>
            <a:pPr marL="0" indent="0" defTabSz="914355">
              <a:lnSpc>
                <a:spcPct val="100000"/>
              </a:lnSpc>
              <a:buClr>
                <a:srgbClr val="FFFFFF"/>
              </a:buClr>
              <a:buNone/>
              <a:tabLst>
                <a:tab pos="88107" algn="l"/>
                <a:tab pos="172244" algn="l"/>
              </a:tabLst>
            </a:pPr>
            <a:endParaRPr lang="en-GB" sz="1300" spc="0">
              <a:solidFill>
                <a:srgbClr val="282830"/>
              </a:solidFill>
              <a:latin typeface="Avenir Next LT Pro" panose="020B0504020202020204" pitchFamily="34" charset="77"/>
            </a:endParaRPr>
          </a:p>
        </p:txBody>
      </p:sp>
      <p:sp>
        <p:nvSpPr>
          <p:cNvPr id="11" name="Text Placeholder 11">
            <a:extLst>
              <a:ext uri="{FF2B5EF4-FFF2-40B4-BE49-F238E27FC236}">
                <a16:creationId xmlns:a16="http://schemas.microsoft.com/office/drawing/2014/main" id="{D97888B9-3D2A-1487-4153-77B27F2F18D2}"/>
              </a:ext>
            </a:extLst>
          </p:cNvPr>
          <p:cNvSpPr txBox="1">
            <a:spLocks/>
          </p:cNvSpPr>
          <p:nvPr/>
        </p:nvSpPr>
        <p:spPr>
          <a:xfrm>
            <a:off x="4091504" y="4542744"/>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GB" sz="1800" b="1" i="0" u="none" strike="noStrike" kern="1200" cap="none" spc="-25" normalizeH="0" baseline="0" noProof="0">
                <a:ln>
                  <a:noFill/>
                </a:ln>
                <a:solidFill>
                  <a:srgbClr val="282830"/>
                </a:solidFill>
                <a:effectLst/>
                <a:uLnTx/>
                <a:uFillTx/>
                <a:latin typeface="Avenir Next LT Pro" panose="020B0504020202020204" pitchFamily="34" charset="77"/>
              </a:rPr>
              <a:t>Education</a:t>
            </a:r>
          </a:p>
        </p:txBody>
      </p:sp>
      <p:pic>
        <p:nvPicPr>
          <p:cNvPr id="12" name="Picture 11">
            <a:extLst>
              <a:ext uri="{FF2B5EF4-FFF2-40B4-BE49-F238E27FC236}">
                <a16:creationId xmlns:a16="http://schemas.microsoft.com/office/drawing/2014/main" id="{16528796-19D3-2C8A-4E7C-6198974859A8}"/>
              </a:ext>
            </a:extLst>
          </p:cNvPr>
          <p:cNvPicPr>
            <a:picLocks noChangeAspect="1"/>
          </p:cNvPicPr>
          <p:nvPr/>
        </p:nvPicPr>
        <p:blipFill>
          <a:blip r:embed="rId3"/>
          <a:stretch>
            <a:fillRect/>
          </a:stretch>
        </p:blipFill>
        <p:spPr>
          <a:xfrm>
            <a:off x="3828172" y="4665378"/>
            <a:ext cx="247650" cy="152400"/>
          </a:xfrm>
          <a:prstGeom prst="rect">
            <a:avLst/>
          </a:prstGeom>
        </p:spPr>
      </p:pic>
      <p:sp>
        <p:nvSpPr>
          <p:cNvPr id="13" name="Text Placeholder 17">
            <a:extLst>
              <a:ext uri="{FF2B5EF4-FFF2-40B4-BE49-F238E27FC236}">
                <a16:creationId xmlns:a16="http://schemas.microsoft.com/office/drawing/2014/main" id="{69FDF991-3600-B079-608A-95F59D45CE95}"/>
              </a:ext>
            </a:extLst>
          </p:cNvPr>
          <p:cNvSpPr txBox="1">
            <a:spLocks/>
          </p:cNvSpPr>
          <p:nvPr/>
        </p:nvSpPr>
        <p:spPr>
          <a:xfrm>
            <a:off x="4130414" y="5006491"/>
            <a:ext cx="2978944" cy="603643"/>
          </a:xfrm>
          <a:prstGeom prst="rect">
            <a:avLst/>
          </a:prstGeom>
          <a:ln>
            <a:noFill/>
          </a:ln>
        </p:spPr>
        <p:txBody>
          <a:bodyPr lIns="91440" tIns="45720" rIns="91440" bIns="45720" anchor="t"/>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defTabSz="914355">
              <a:lnSpc>
                <a:spcPct val="100000"/>
              </a:lnSpc>
              <a:buNone/>
              <a:tabLst>
                <a:tab pos="88107" algn="l"/>
              </a:tabLst>
            </a:pPr>
            <a:r>
              <a:rPr lang="en-GB" sz="1200" spc="0">
                <a:solidFill>
                  <a:srgbClr val="282830"/>
                </a:solidFill>
                <a:latin typeface="Avenir Next LT Pro" panose="020B0504020202020204" pitchFamily="34" charset="77"/>
                <a:cs typeface="Arial"/>
              </a:rPr>
              <a:t>Master in Digital Marketing </a:t>
            </a:r>
            <a:br>
              <a:rPr lang="en-GB" sz="1200" spc="0">
                <a:latin typeface="Avenir Next LT Pro" panose="020B0504020202020204" pitchFamily="34" charset="77"/>
              </a:rPr>
            </a:br>
            <a:r>
              <a:rPr lang="en-GB" sz="1200" spc="0">
                <a:solidFill>
                  <a:srgbClr val="282830"/>
                </a:solidFill>
                <a:latin typeface="Avenir Next LT Pro" panose="020B0504020202020204" pitchFamily="34" charset="77"/>
                <a:cs typeface="Arial"/>
              </a:rPr>
              <a:t>&amp; Data Analytics</a:t>
            </a:r>
            <a:br>
              <a:rPr lang="en-GB" sz="1200" spc="0">
                <a:latin typeface="Avenir Next LT Pro" panose="020B0504020202020204" pitchFamily="34" charset="77"/>
              </a:rPr>
            </a:br>
            <a:r>
              <a:rPr lang="en-GB" sz="1200" b="0" spc="0">
                <a:solidFill>
                  <a:srgbClr val="8A8B90"/>
                </a:solidFill>
                <a:latin typeface="Avenir Next LT Pro" panose="020B0504020202020204" pitchFamily="34" charset="77"/>
                <a:cs typeface="Arial"/>
              </a:rPr>
              <a:t>EMLV-IIM - Paris</a:t>
            </a:r>
          </a:p>
          <a:p>
            <a:pPr marL="0" indent="0" defTabSz="914355">
              <a:lnSpc>
                <a:spcPct val="100000"/>
              </a:lnSpc>
              <a:buNone/>
              <a:tabLst>
                <a:tab pos="88107" algn="l"/>
              </a:tabLst>
            </a:pPr>
            <a:endParaRPr lang="en-GB" sz="1200" b="0" spc="0">
              <a:solidFill>
                <a:srgbClr val="8A8B90"/>
              </a:solidFill>
              <a:latin typeface="Avenir Next LT Pro" panose="020B0504020202020204" pitchFamily="34" charset="77"/>
            </a:endParaRPr>
          </a:p>
        </p:txBody>
      </p:sp>
      <p:sp>
        <p:nvSpPr>
          <p:cNvPr id="14" name="Text Placeholder 17">
            <a:extLst>
              <a:ext uri="{FF2B5EF4-FFF2-40B4-BE49-F238E27FC236}">
                <a16:creationId xmlns:a16="http://schemas.microsoft.com/office/drawing/2014/main" id="{B961DF25-0C81-5046-7A57-C63751D616C0}"/>
              </a:ext>
            </a:extLst>
          </p:cNvPr>
          <p:cNvSpPr txBox="1">
            <a:spLocks/>
          </p:cNvSpPr>
          <p:nvPr/>
        </p:nvSpPr>
        <p:spPr>
          <a:xfrm>
            <a:off x="7545164" y="2979656"/>
            <a:ext cx="2870087" cy="455194"/>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defTabSz="914355">
              <a:lnSpc>
                <a:spcPct val="100000"/>
              </a:lnSpc>
              <a:buNone/>
              <a:tabLst>
                <a:tab pos="88107" algn="l"/>
              </a:tabLst>
            </a:pPr>
            <a:r>
              <a:rPr lang="en-GB" sz="1200" b="0" spc="0">
                <a:solidFill>
                  <a:srgbClr val="282830"/>
                </a:solidFill>
                <a:latin typeface="Avenir Next LT Pro" panose="020B0504020202020204" pitchFamily="34" charset="77"/>
              </a:rPr>
              <a:t>1 CCB Award</a:t>
            </a:r>
          </a:p>
          <a:p>
            <a:pPr marL="0" indent="0" defTabSz="914355">
              <a:lnSpc>
                <a:spcPct val="100000"/>
              </a:lnSpc>
              <a:buNone/>
              <a:tabLst>
                <a:tab pos="88107" algn="l"/>
              </a:tabLst>
            </a:pPr>
            <a:r>
              <a:rPr lang="en-GB" sz="1200" b="0" spc="0">
                <a:solidFill>
                  <a:srgbClr val="282830"/>
                </a:solidFill>
                <a:latin typeface="Avenir Next LT Pro" panose="020B0504020202020204" pitchFamily="34" charset="77"/>
              </a:rPr>
              <a:t>1 Effie Award</a:t>
            </a:r>
          </a:p>
          <a:p>
            <a:pPr marL="0" indent="0" defTabSz="914355">
              <a:lnSpc>
                <a:spcPct val="100000"/>
              </a:lnSpc>
              <a:buNone/>
              <a:tabLst>
                <a:tab pos="88107" algn="l"/>
              </a:tabLst>
            </a:pPr>
            <a:r>
              <a:rPr lang="en-GB" sz="1200" b="0" spc="0">
                <a:solidFill>
                  <a:srgbClr val="282830"/>
                </a:solidFill>
                <a:latin typeface="Avenir Next LT Pro" panose="020B0504020202020204" pitchFamily="34" charset="77"/>
              </a:rPr>
              <a:t>1 BOA Award</a:t>
            </a:r>
          </a:p>
          <a:p>
            <a:pPr marL="0" indent="0" defTabSz="914355">
              <a:lnSpc>
                <a:spcPct val="100000"/>
              </a:lnSpc>
              <a:buNone/>
              <a:tabLst>
                <a:tab pos="88107" algn="l"/>
              </a:tabLst>
            </a:pPr>
            <a:r>
              <a:rPr lang="en-GB" sz="1200" b="0" spc="0">
                <a:solidFill>
                  <a:srgbClr val="282830"/>
                </a:solidFill>
                <a:latin typeface="Avenir Next LT Pro" panose="020B0504020202020204" pitchFamily="34" charset="77"/>
              </a:rPr>
              <a:t>1 Care Award</a:t>
            </a:r>
          </a:p>
          <a:p>
            <a:pPr marL="0" indent="0" defTabSz="914355">
              <a:lnSpc>
                <a:spcPct val="100000"/>
              </a:lnSpc>
              <a:buNone/>
              <a:tabLst>
                <a:tab pos="88107" algn="l"/>
              </a:tabLst>
            </a:pPr>
            <a:r>
              <a:rPr lang="en-GB" sz="1200" b="0" spc="0">
                <a:solidFill>
                  <a:srgbClr val="282830"/>
                </a:solidFill>
                <a:latin typeface="Avenir Next LT Pro" panose="020B0504020202020204" pitchFamily="34" charset="77"/>
              </a:rPr>
              <a:t>1 Cannes Lion</a:t>
            </a:r>
          </a:p>
        </p:txBody>
      </p:sp>
      <p:sp>
        <p:nvSpPr>
          <p:cNvPr id="17" name="Text Placeholder 11">
            <a:extLst>
              <a:ext uri="{FF2B5EF4-FFF2-40B4-BE49-F238E27FC236}">
                <a16:creationId xmlns:a16="http://schemas.microsoft.com/office/drawing/2014/main" id="{CDE0CC4F-E488-BF06-03C2-EC423F39B472}"/>
              </a:ext>
            </a:extLst>
          </p:cNvPr>
          <p:cNvSpPr txBox="1">
            <a:spLocks/>
          </p:cNvSpPr>
          <p:nvPr/>
        </p:nvSpPr>
        <p:spPr>
          <a:xfrm>
            <a:off x="7591914" y="2638952"/>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GB" sz="1800" b="1" i="0" u="none" strike="noStrike" kern="1200" cap="none" spc="-25" normalizeH="0" baseline="0" noProof="0">
                <a:ln>
                  <a:noFill/>
                </a:ln>
                <a:solidFill>
                  <a:srgbClr val="282830"/>
                </a:solidFill>
                <a:effectLst/>
                <a:uLnTx/>
                <a:uFillTx/>
                <a:latin typeface="Avenir Next LT Pro" panose="020B0504020202020204" pitchFamily="34" charset="77"/>
              </a:rPr>
              <a:t>Awards</a:t>
            </a:r>
          </a:p>
        </p:txBody>
      </p:sp>
      <p:sp>
        <p:nvSpPr>
          <p:cNvPr id="22" name="Picture Placeholder 21">
            <a:extLst>
              <a:ext uri="{FF2B5EF4-FFF2-40B4-BE49-F238E27FC236}">
                <a16:creationId xmlns:a16="http://schemas.microsoft.com/office/drawing/2014/main" id="{9F0E7685-C721-637B-29B1-528B7491197C}"/>
              </a:ext>
            </a:extLst>
          </p:cNvPr>
          <p:cNvSpPr>
            <a:spLocks noGrp="1"/>
          </p:cNvSpPr>
          <p:nvPr>
            <p:ph type="pic" sz="quarter" idx="10"/>
          </p:nvPr>
        </p:nvSpPr>
        <p:spPr/>
        <p:txBody>
          <a:bodyPr/>
          <a:lstStyle/>
          <a:p>
            <a:endParaRPr lang="en-BE"/>
          </a:p>
        </p:txBody>
      </p:sp>
      <p:pic>
        <p:nvPicPr>
          <p:cNvPr id="23" name="Picture Placeholder 5">
            <a:extLst>
              <a:ext uri="{FF2B5EF4-FFF2-40B4-BE49-F238E27FC236}">
                <a16:creationId xmlns:a16="http://schemas.microsoft.com/office/drawing/2014/main" id="{CF00DFF4-8987-7F71-46BF-65FD7249447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76571" y="450250"/>
            <a:ext cx="2978943" cy="2978750"/>
          </a:xfrm>
          <a:prstGeom prst="ellipse">
            <a:avLst/>
          </a:prstGeom>
          <a:ln w="57150">
            <a:noFill/>
          </a:ln>
        </p:spPr>
      </p:pic>
      <p:sp>
        <p:nvSpPr>
          <p:cNvPr id="26" name="Text Placeholder 4">
            <a:extLst>
              <a:ext uri="{FF2B5EF4-FFF2-40B4-BE49-F238E27FC236}">
                <a16:creationId xmlns:a16="http://schemas.microsoft.com/office/drawing/2014/main" id="{71FC600B-CF68-5187-BCDF-9E10C8FACD4C}"/>
              </a:ext>
            </a:extLst>
          </p:cNvPr>
          <p:cNvSpPr>
            <a:spLocks noGrp="1"/>
          </p:cNvSpPr>
          <p:nvPr>
            <p:ph type="body" sz="quarter" idx="13"/>
          </p:nvPr>
        </p:nvSpPr>
        <p:spPr>
          <a:xfrm>
            <a:off x="467441" y="3567907"/>
            <a:ext cx="3024311" cy="1988344"/>
          </a:xfrm>
        </p:spPr>
        <p:txBody>
          <a:bodyPr/>
          <a:lstStyle/>
          <a:p>
            <a:pPr rtl="0"/>
            <a:r>
              <a:rPr lang="en-GB">
                <a:latin typeface="Avenir Next LT Pro" panose="020B0504020202020204" pitchFamily="34" charset="77"/>
              </a:rPr>
              <a:t>“Anything that changes </a:t>
            </a:r>
            <a:r>
              <a:rPr lang="en-GB">
                <a:gradFill>
                  <a:gsLst>
                    <a:gs pos="100000">
                      <a:srgbClr val="B79E60"/>
                    </a:gs>
                    <a:gs pos="0">
                      <a:srgbClr val="B79E60"/>
                    </a:gs>
                    <a:gs pos="54000">
                      <a:srgbClr val="DFCF84"/>
                    </a:gs>
                  </a:gsLst>
                  <a:lin ang="2700000" scaled="0"/>
                </a:gradFill>
                <a:latin typeface="Avenir Next LT Pro" panose="020B0504020202020204" pitchFamily="34" charset="77"/>
              </a:rPr>
              <a:t>your values </a:t>
            </a:r>
            <a:r>
              <a:rPr lang="en-GB">
                <a:latin typeface="Avenir Next LT Pro" panose="020B0504020202020204" pitchFamily="34" charset="77"/>
              </a:rPr>
              <a:t>changes your behaviour”  </a:t>
            </a:r>
          </a:p>
        </p:txBody>
      </p:sp>
      <p:sp>
        <p:nvSpPr>
          <p:cNvPr id="27" name="Text Placeholder 17">
            <a:extLst>
              <a:ext uri="{FF2B5EF4-FFF2-40B4-BE49-F238E27FC236}">
                <a16:creationId xmlns:a16="http://schemas.microsoft.com/office/drawing/2014/main" id="{856A23D2-E82D-F21E-FD94-80DC75F5FCEE}"/>
              </a:ext>
            </a:extLst>
          </p:cNvPr>
          <p:cNvSpPr txBox="1">
            <a:spLocks/>
          </p:cNvSpPr>
          <p:nvPr/>
        </p:nvSpPr>
        <p:spPr>
          <a:xfrm>
            <a:off x="7591914" y="4660614"/>
            <a:ext cx="3476963" cy="920467"/>
          </a:xfrm>
          <a:prstGeom prst="rect">
            <a:avLst/>
          </a:prstGeom>
          <a:ln>
            <a:noFill/>
          </a:ln>
        </p:spPr>
        <p:txBody>
          <a:bodyPr lIns="91440" tIns="45720" rIns="91440" bIns="45720" anchor="t"/>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defTabSz="914355">
              <a:lnSpc>
                <a:spcPct val="100000"/>
              </a:lnSpc>
              <a:buNone/>
              <a:tabLst>
                <a:tab pos="88107" algn="l"/>
              </a:tabLst>
              <a:defRPr/>
            </a:pPr>
            <a:r>
              <a:rPr lang="en-GB" sz="1200" b="0" spc="0">
                <a:solidFill>
                  <a:srgbClr val="282830"/>
                </a:solidFill>
                <a:latin typeface="Avenir Next LT Pro" panose="020B0504020202020204" pitchFamily="34" charset="77"/>
                <a:cs typeface="Arial"/>
              </a:rPr>
              <a:t>Thalys, VOO, </a:t>
            </a:r>
            <a:r>
              <a:rPr lang="en-GB" sz="1200" b="0" spc="0" err="1">
                <a:solidFill>
                  <a:srgbClr val="282830"/>
                </a:solidFill>
                <a:latin typeface="Avenir Next LT Pro" panose="020B0504020202020204" pitchFamily="34" charset="77"/>
                <a:cs typeface="Arial"/>
              </a:rPr>
              <a:t>O'Tacos</a:t>
            </a:r>
            <a:endParaRPr lang="en-GB" sz="1200" b="0" spc="0" err="1">
              <a:solidFill>
                <a:srgbClr val="282830"/>
              </a:solidFill>
              <a:latin typeface="Avenir Next LT Pro" panose="020B0504020202020204" pitchFamily="34" charset="77"/>
            </a:endParaRPr>
          </a:p>
        </p:txBody>
      </p:sp>
      <p:sp>
        <p:nvSpPr>
          <p:cNvPr id="28" name="Text Placeholder 11">
            <a:extLst>
              <a:ext uri="{FF2B5EF4-FFF2-40B4-BE49-F238E27FC236}">
                <a16:creationId xmlns:a16="http://schemas.microsoft.com/office/drawing/2014/main" id="{307B307A-7CD9-8AEE-6A12-A10300132215}"/>
              </a:ext>
            </a:extLst>
          </p:cNvPr>
          <p:cNvSpPr txBox="1">
            <a:spLocks/>
          </p:cNvSpPr>
          <p:nvPr/>
        </p:nvSpPr>
        <p:spPr>
          <a:xfrm>
            <a:off x="7565974" y="4155409"/>
            <a:ext cx="3997446" cy="198272"/>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defTabSz="914355">
              <a:defRPr/>
            </a:pPr>
            <a:r>
              <a:rPr lang="fr-FR" sz="1800" spc="-25">
                <a:solidFill>
                  <a:srgbClr val="282830"/>
                </a:solidFill>
                <a:latin typeface="Avenir Next LT Pro" panose="020B0504020202020204" pitchFamily="34" charset="77"/>
                <a:cs typeface="Arial"/>
              </a:rPr>
              <a:t>Relevant  </a:t>
            </a:r>
            <a:r>
              <a:rPr lang="fr-FR" sz="1800" spc="-25" err="1">
                <a:solidFill>
                  <a:srgbClr val="282830"/>
                </a:solidFill>
                <a:latin typeface="Avenir Next LT Pro" panose="020B0504020202020204" pitchFamily="34" charset="77"/>
                <a:cs typeface="Arial"/>
              </a:rPr>
              <a:t>experience</a:t>
            </a:r>
            <a:endParaRPr kumimoji="0" lang="fr-FR" sz="1800" b="1" i="0" u="none" strike="noStrike" kern="1200" cap="none" spc="-25" normalizeH="0" baseline="0" noProof="0">
              <a:ln>
                <a:noFill/>
              </a:ln>
              <a:solidFill>
                <a:srgbClr val="282830"/>
              </a:solidFill>
              <a:effectLst/>
              <a:uLnTx/>
              <a:uFillTx/>
              <a:latin typeface="Avenir Next LT Pro" panose="020B0504020202020204" pitchFamily="34" charset="77"/>
            </a:endParaRPr>
          </a:p>
        </p:txBody>
      </p:sp>
      <p:pic>
        <p:nvPicPr>
          <p:cNvPr id="29" name="Picture 28">
            <a:extLst>
              <a:ext uri="{FF2B5EF4-FFF2-40B4-BE49-F238E27FC236}">
                <a16:creationId xmlns:a16="http://schemas.microsoft.com/office/drawing/2014/main" id="{0456AFFC-5F71-2635-8E91-3261DDD1CCA1}"/>
              </a:ext>
            </a:extLst>
          </p:cNvPr>
          <p:cNvPicPr>
            <a:picLocks noChangeAspect="1"/>
          </p:cNvPicPr>
          <p:nvPr/>
        </p:nvPicPr>
        <p:blipFill>
          <a:blip r:embed="rId5"/>
          <a:stretch>
            <a:fillRect/>
          </a:stretch>
        </p:blipFill>
        <p:spPr>
          <a:xfrm>
            <a:off x="7328724" y="4235732"/>
            <a:ext cx="228600" cy="228600"/>
          </a:xfrm>
          <a:prstGeom prst="rect">
            <a:avLst/>
          </a:prstGeom>
        </p:spPr>
      </p:pic>
      <p:sp>
        <p:nvSpPr>
          <p:cNvPr id="30" name="Text Placeholder 17">
            <a:extLst>
              <a:ext uri="{FF2B5EF4-FFF2-40B4-BE49-F238E27FC236}">
                <a16:creationId xmlns:a16="http://schemas.microsoft.com/office/drawing/2014/main" id="{69A10649-1DC1-74EC-B596-A97080CDD64E}"/>
              </a:ext>
            </a:extLst>
          </p:cNvPr>
          <p:cNvSpPr txBox="1">
            <a:spLocks/>
          </p:cNvSpPr>
          <p:nvPr/>
        </p:nvSpPr>
        <p:spPr>
          <a:xfrm>
            <a:off x="7573092" y="2251949"/>
            <a:ext cx="2870087" cy="1755019"/>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defTabSz="914355">
              <a:buNone/>
              <a:tabLst>
                <a:tab pos="88107" algn="l"/>
              </a:tabLst>
              <a:defRPr/>
            </a:pPr>
            <a:r>
              <a:rPr lang="fr-FR" sz="1200" b="0" spc="0">
                <a:solidFill>
                  <a:srgbClr val="282830"/>
                </a:solidFill>
                <a:latin typeface="Avenir Next LT Pro" panose="020B0504020202020204" pitchFamily="34" charset="77"/>
              </a:rPr>
              <a:t>Morgane </a:t>
            </a:r>
            <a:r>
              <a:rPr lang="fr-FR" sz="1200" b="0" spc="0" err="1">
                <a:solidFill>
                  <a:srgbClr val="282830"/>
                </a:solidFill>
                <a:latin typeface="Avenir Next LT Pro" panose="020B0504020202020204" pitchFamily="34" charset="77"/>
              </a:rPr>
              <a:t>is</a:t>
            </a:r>
            <a:r>
              <a:rPr lang="fr-FR" sz="1200" b="0" spc="0">
                <a:solidFill>
                  <a:srgbClr val="282830"/>
                </a:solidFill>
                <a:latin typeface="Avenir Next LT Pro" panose="020B0504020202020204" pitchFamily="34" charset="77"/>
              </a:rPr>
              <a:t> fluent in French &amp; English</a:t>
            </a:r>
          </a:p>
        </p:txBody>
      </p:sp>
      <p:sp>
        <p:nvSpPr>
          <p:cNvPr id="31" name="Text Placeholder 11">
            <a:extLst>
              <a:ext uri="{FF2B5EF4-FFF2-40B4-BE49-F238E27FC236}">
                <a16:creationId xmlns:a16="http://schemas.microsoft.com/office/drawing/2014/main" id="{01368F03-551A-7E93-6207-366C271F517D}"/>
              </a:ext>
            </a:extLst>
          </p:cNvPr>
          <p:cNvSpPr txBox="1">
            <a:spLocks/>
          </p:cNvSpPr>
          <p:nvPr/>
        </p:nvSpPr>
        <p:spPr>
          <a:xfrm>
            <a:off x="7547152" y="1801806"/>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lang="fr-FR" sz="1800" spc="-25" err="1">
                <a:solidFill>
                  <a:srgbClr val="282830"/>
                </a:solidFill>
                <a:latin typeface="Avenir Next LT Pro" panose="020B0504020202020204" pitchFamily="34" charset="77"/>
                <a:cs typeface="Arial"/>
              </a:rPr>
              <a:t>Languages</a:t>
            </a:r>
            <a:r>
              <a:rPr kumimoji="0" lang="fr-FR" sz="1800" b="1" i="0" u="none" strike="noStrike" kern="1200" cap="none" spc="-25" normalizeH="0" baseline="0" noProof="0">
                <a:ln>
                  <a:noFill/>
                </a:ln>
                <a:solidFill>
                  <a:srgbClr val="282830"/>
                </a:solidFill>
                <a:effectLst/>
                <a:uLnTx/>
                <a:uFillTx/>
                <a:latin typeface="Avenir Next LT Pro" panose="020B0504020202020204" pitchFamily="34" charset="77"/>
              </a:rPr>
              <a:t> </a:t>
            </a:r>
          </a:p>
        </p:txBody>
      </p:sp>
      <p:pic>
        <p:nvPicPr>
          <p:cNvPr id="32" name="Picture 31">
            <a:extLst>
              <a:ext uri="{FF2B5EF4-FFF2-40B4-BE49-F238E27FC236}">
                <a16:creationId xmlns:a16="http://schemas.microsoft.com/office/drawing/2014/main" id="{F25017C5-A192-CB25-4A7D-5BC0C6433B0B}"/>
              </a:ext>
            </a:extLst>
          </p:cNvPr>
          <p:cNvPicPr>
            <a:picLocks noChangeAspect="1"/>
          </p:cNvPicPr>
          <p:nvPr/>
        </p:nvPicPr>
        <p:blipFill>
          <a:blip r:embed="rId6"/>
          <a:stretch>
            <a:fillRect/>
          </a:stretch>
        </p:blipFill>
        <p:spPr>
          <a:xfrm>
            <a:off x="7309902" y="1908798"/>
            <a:ext cx="203200" cy="196850"/>
          </a:xfrm>
          <a:prstGeom prst="rect">
            <a:avLst/>
          </a:prstGeom>
        </p:spPr>
      </p:pic>
      <p:pic>
        <p:nvPicPr>
          <p:cNvPr id="2" name="Picture 50">
            <a:extLst>
              <a:ext uri="{FF2B5EF4-FFF2-40B4-BE49-F238E27FC236}">
                <a16:creationId xmlns:a16="http://schemas.microsoft.com/office/drawing/2014/main" id="{8114485A-21E9-426A-CEEE-CCD6FA3206D6}"/>
              </a:ext>
            </a:extLst>
          </p:cNvPr>
          <p:cNvPicPr>
            <a:picLocks noChangeAspect="1"/>
          </p:cNvPicPr>
          <p:nvPr/>
        </p:nvPicPr>
        <p:blipFill>
          <a:blip r:embed="rId7"/>
          <a:stretch>
            <a:fillRect/>
          </a:stretch>
        </p:blipFill>
        <p:spPr>
          <a:xfrm>
            <a:off x="7343877" y="2717025"/>
            <a:ext cx="152400" cy="222250"/>
          </a:xfrm>
          <a:prstGeom prst="rect">
            <a:avLst/>
          </a:prstGeom>
        </p:spPr>
      </p:pic>
    </p:spTree>
    <p:extLst>
      <p:ext uri="{BB962C8B-B14F-4D97-AF65-F5344CB8AC3E}">
        <p14:creationId xmlns:p14="http://schemas.microsoft.com/office/powerpoint/2010/main" val="22281967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58B3D3-6C77-DB7B-C59B-D2FAEF1A8864}"/>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86316F5A-E29F-2506-5227-789233425A0D}"/>
              </a:ext>
            </a:extLst>
          </p:cNvPr>
          <p:cNvSpPr>
            <a:spLocks noGrp="1"/>
          </p:cNvSpPr>
          <p:nvPr>
            <p:ph type="body" sz="quarter" idx="11"/>
          </p:nvPr>
        </p:nvSpPr>
        <p:spPr>
          <a:xfrm>
            <a:off x="3793895" y="560957"/>
            <a:ext cx="7805783" cy="654844"/>
          </a:xfrm>
        </p:spPr>
        <p:txBody>
          <a:bodyPr lIns="91440" tIns="45720" rIns="91440" bIns="45720" anchor="t"/>
          <a:lstStyle/>
          <a:p>
            <a:r>
              <a:rPr lang="en-GB">
                <a:latin typeface="AvenirNext LT Pro Bold"/>
                <a:cs typeface="Arial"/>
              </a:rPr>
              <a:t>Meet </a:t>
            </a:r>
            <a:r>
              <a:rPr lang="en-GB" sz="4800" b="0">
                <a:gradFill>
                  <a:gsLst>
                    <a:gs pos="100000">
                      <a:srgbClr val="B79E60"/>
                    </a:gs>
                    <a:gs pos="0">
                      <a:srgbClr val="B79E60"/>
                    </a:gs>
                    <a:gs pos="54000">
                      <a:srgbClr val="DFCF84"/>
                    </a:gs>
                  </a:gsLst>
                  <a:lin ang="2700000" scaled="0"/>
                </a:gradFill>
                <a:latin typeface="Bodoni MT"/>
                <a:cs typeface="Arial"/>
              </a:rPr>
              <a:t>Axelle </a:t>
            </a:r>
            <a:r>
              <a:rPr lang="en-GB" sz="4800" b="0" err="1">
                <a:gradFill>
                  <a:gsLst>
                    <a:gs pos="100000">
                      <a:srgbClr val="B79E60"/>
                    </a:gs>
                    <a:gs pos="0">
                      <a:srgbClr val="B79E60"/>
                    </a:gs>
                    <a:gs pos="54000">
                      <a:srgbClr val="DFCF84"/>
                    </a:gs>
                  </a:gsLst>
                  <a:lin ang="2700000" scaled="0"/>
                </a:gradFill>
                <a:latin typeface="Bodoni MT"/>
                <a:cs typeface="Arial"/>
              </a:rPr>
              <a:t>Verrydt</a:t>
            </a:r>
            <a:endParaRPr lang="en-GB" sz="4800" b="0">
              <a:gradFill>
                <a:gsLst>
                  <a:gs pos="100000">
                    <a:srgbClr val="B79E60"/>
                  </a:gs>
                  <a:gs pos="0">
                    <a:srgbClr val="B79E60"/>
                  </a:gs>
                  <a:gs pos="54000">
                    <a:srgbClr val="DFCF84"/>
                  </a:gs>
                </a:gsLst>
                <a:lin ang="2700000" scaled="0"/>
              </a:gradFill>
              <a:latin typeface="Bodoni MT"/>
              <a:cs typeface="Arial"/>
            </a:endParaRPr>
          </a:p>
        </p:txBody>
      </p:sp>
      <p:sp>
        <p:nvSpPr>
          <p:cNvPr id="4" name="Text Placeholder 3">
            <a:extLst>
              <a:ext uri="{FF2B5EF4-FFF2-40B4-BE49-F238E27FC236}">
                <a16:creationId xmlns:a16="http://schemas.microsoft.com/office/drawing/2014/main" id="{83D2E820-0A01-DB11-80FC-269609285745}"/>
              </a:ext>
            </a:extLst>
          </p:cNvPr>
          <p:cNvSpPr>
            <a:spLocks noGrp="1"/>
          </p:cNvSpPr>
          <p:nvPr>
            <p:ph type="body" sz="quarter" idx="12"/>
          </p:nvPr>
        </p:nvSpPr>
        <p:spPr>
          <a:xfrm>
            <a:off x="3793897" y="1146962"/>
            <a:ext cx="8056233" cy="475343"/>
          </a:xfrm>
        </p:spPr>
        <p:txBody>
          <a:bodyPr lIns="91440" tIns="45720" rIns="91440" bIns="45720" anchor="t"/>
          <a:lstStyle/>
          <a:p>
            <a:r>
              <a:rPr lang="en-GB">
                <a:latin typeface="Avenir Next LT Pro"/>
                <a:cs typeface="Arial"/>
              </a:rPr>
              <a:t>Account Executive/Project Coordinator</a:t>
            </a:r>
            <a:endParaRPr lang="en-GB">
              <a:latin typeface="Avenir Next LT Pro" panose="020B0504020202020204" pitchFamily="34" charset="77"/>
            </a:endParaRPr>
          </a:p>
        </p:txBody>
      </p:sp>
      <p:sp>
        <p:nvSpPr>
          <p:cNvPr id="44" name="Text Placeholder 11">
            <a:extLst>
              <a:ext uri="{FF2B5EF4-FFF2-40B4-BE49-F238E27FC236}">
                <a16:creationId xmlns:a16="http://schemas.microsoft.com/office/drawing/2014/main" id="{8F1F8AB5-781C-3107-FE30-FBDEB8619663}"/>
              </a:ext>
            </a:extLst>
          </p:cNvPr>
          <p:cNvSpPr txBox="1">
            <a:spLocks/>
          </p:cNvSpPr>
          <p:nvPr/>
        </p:nvSpPr>
        <p:spPr>
          <a:xfrm>
            <a:off x="4036685" y="2113817"/>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BE" sz="1800" b="1" i="0" u="none" strike="noStrike" kern="1200" cap="none" spc="-25" normalizeH="0" baseline="0" noProof="0">
                <a:ln>
                  <a:noFill/>
                </a:ln>
                <a:solidFill>
                  <a:srgbClr val="282830"/>
                </a:solidFill>
                <a:effectLst/>
                <a:uLnTx/>
                <a:uFillTx/>
                <a:latin typeface="Avenir Next LT Pro" panose="020B0504020202020204" pitchFamily="34" charset="77"/>
              </a:rPr>
              <a:t>Work experience</a:t>
            </a:r>
          </a:p>
        </p:txBody>
      </p:sp>
      <p:pic>
        <p:nvPicPr>
          <p:cNvPr id="45" name="Picture 44">
            <a:extLst>
              <a:ext uri="{FF2B5EF4-FFF2-40B4-BE49-F238E27FC236}">
                <a16:creationId xmlns:a16="http://schemas.microsoft.com/office/drawing/2014/main" id="{40B2FE05-E5BF-B422-D139-8E29649F3C3C}"/>
              </a:ext>
            </a:extLst>
          </p:cNvPr>
          <p:cNvPicPr>
            <a:picLocks noChangeAspect="1"/>
          </p:cNvPicPr>
          <p:nvPr/>
        </p:nvPicPr>
        <p:blipFill>
          <a:blip r:embed="rId3"/>
          <a:stretch>
            <a:fillRect/>
          </a:stretch>
        </p:blipFill>
        <p:spPr>
          <a:xfrm>
            <a:off x="3799435" y="2225889"/>
            <a:ext cx="203200" cy="165100"/>
          </a:xfrm>
          <a:prstGeom prst="rect">
            <a:avLst/>
          </a:prstGeom>
        </p:spPr>
      </p:pic>
      <p:sp>
        <p:nvSpPr>
          <p:cNvPr id="5" name="Text Placeholder 17">
            <a:extLst>
              <a:ext uri="{FF2B5EF4-FFF2-40B4-BE49-F238E27FC236}">
                <a16:creationId xmlns:a16="http://schemas.microsoft.com/office/drawing/2014/main" id="{DDF001F1-034E-69AF-890F-8166BE99B4D3}"/>
              </a:ext>
            </a:extLst>
          </p:cNvPr>
          <p:cNvSpPr txBox="1">
            <a:spLocks/>
          </p:cNvSpPr>
          <p:nvPr/>
        </p:nvSpPr>
        <p:spPr>
          <a:xfrm>
            <a:off x="4092280" y="2611293"/>
            <a:ext cx="3137263" cy="3282415"/>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defTabSz="914355">
              <a:lnSpc>
                <a:spcPct val="100000"/>
              </a:lnSpc>
              <a:buNone/>
              <a:tabLst>
                <a:tab pos="88107" algn="l"/>
              </a:tabLst>
            </a:pPr>
            <a:r>
              <a:rPr lang="en-GB" sz="1200" spc="0">
                <a:solidFill>
                  <a:srgbClr val="282830"/>
                </a:solidFill>
                <a:latin typeface="Avenir Next LT Pro" panose="020B0504020202020204" pitchFamily="34" charset="77"/>
              </a:rPr>
              <a:t>Account Executive</a:t>
            </a:r>
          </a:p>
          <a:p>
            <a:pPr marL="0" indent="0" defTabSz="914355">
              <a:lnSpc>
                <a:spcPct val="100000"/>
              </a:lnSpc>
              <a:buClr>
                <a:srgbClr val="FFFFFF"/>
              </a:buClr>
              <a:buNone/>
              <a:tabLst>
                <a:tab pos="88107" algn="l"/>
                <a:tab pos="172244" algn="l"/>
              </a:tabLst>
              <a:defRPr/>
            </a:pPr>
            <a:r>
              <a:rPr lang="en-GB" sz="1200" b="0" spc="0">
                <a:solidFill>
                  <a:srgbClr val="8A8B90"/>
                </a:solidFill>
                <a:latin typeface="Avenir Next LT Pro" panose="020B0504020202020204" pitchFamily="34" charset="77"/>
              </a:rPr>
              <a:t>2024 - present | Happiness Brussels</a:t>
            </a:r>
          </a:p>
          <a:p>
            <a:pPr marL="0" indent="0" defTabSz="914355">
              <a:lnSpc>
                <a:spcPct val="100000"/>
              </a:lnSpc>
              <a:buClr>
                <a:srgbClr val="FFFFFF"/>
              </a:buClr>
              <a:buNone/>
              <a:tabLst>
                <a:tab pos="88107" algn="l"/>
                <a:tab pos="172244" algn="l"/>
              </a:tabLst>
              <a:defRPr/>
            </a:pPr>
            <a:r>
              <a:rPr lang="en-GB" sz="1200" b="0" spc="0">
                <a:solidFill>
                  <a:srgbClr val="8A8B90"/>
                </a:solidFill>
                <a:latin typeface="Avenir Next LT Pro" panose="020B0504020202020204" pitchFamily="34" charset="77"/>
              </a:rPr>
              <a:t> </a:t>
            </a:r>
          </a:p>
          <a:p>
            <a:pPr marL="0" indent="0" defTabSz="914355">
              <a:lnSpc>
                <a:spcPct val="100000"/>
              </a:lnSpc>
              <a:buNone/>
              <a:tabLst>
                <a:tab pos="88107" algn="l"/>
              </a:tabLst>
            </a:pPr>
            <a:r>
              <a:rPr lang="en-GB" sz="1200" spc="0">
                <a:solidFill>
                  <a:srgbClr val="282830"/>
                </a:solidFill>
                <a:latin typeface="Avenir Next LT Pro" panose="020B0504020202020204" pitchFamily="34" charset="77"/>
              </a:rPr>
              <a:t>Marketing Intern</a:t>
            </a:r>
          </a:p>
          <a:p>
            <a:pPr marL="0" indent="0" defTabSz="914355">
              <a:lnSpc>
                <a:spcPct val="100000"/>
              </a:lnSpc>
              <a:buClr>
                <a:srgbClr val="FFFFFF"/>
              </a:buClr>
              <a:buNone/>
              <a:tabLst>
                <a:tab pos="88107" algn="l"/>
                <a:tab pos="172244" algn="l"/>
              </a:tabLst>
              <a:defRPr/>
            </a:pPr>
            <a:r>
              <a:rPr lang="en-GB" sz="1200" b="0" spc="0">
                <a:solidFill>
                  <a:srgbClr val="8A8B90"/>
                </a:solidFill>
                <a:latin typeface="Avenir Next LT Pro" panose="020B0504020202020204" pitchFamily="34" charset="77"/>
              </a:rPr>
              <a:t>2023 | Carlton - Madagascar</a:t>
            </a:r>
          </a:p>
          <a:p>
            <a:pPr marL="0" indent="0" defTabSz="914355">
              <a:lnSpc>
                <a:spcPct val="100000"/>
              </a:lnSpc>
              <a:buClr>
                <a:srgbClr val="FFFFFF"/>
              </a:buClr>
              <a:buNone/>
              <a:tabLst>
                <a:tab pos="88107" algn="l"/>
                <a:tab pos="172244" algn="l"/>
              </a:tabLst>
              <a:defRPr/>
            </a:pPr>
            <a:r>
              <a:rPr lang="en-GB" sz="1200" b="0" spc="0">
                <a:solidFill>
                  <a:srgbClr val="8A8B90"/>
                </a:solidFill>
                <a:latin typeface="Avenir Next LT Pro" panose="020B0504020202020204" pitchFamily="34" charset="77"/>
              </a:rPr>
              <a:t> </a:t>
            </a:r>
          </a:p>
          <a:p>
            <a:pPr marL="0" indent="0" defTabSz="914355">
              <a:lnSpc>
                <a:spcPct val="100000"/>
              </a:lnSpc>
              <a:buClr>
                <a:srgbClr val="FFFFFF"/>
              </a:buClr>
              <a:buNone/>
              <a:tabLst>
                <a:tab pos="88107" algn="l"/>
                <a:tab pos="172244" algn="l"/>
              </a:tabLst>
            </a:pPr>
            <a:endParaRPr lang="en-GB" sz="1200" b="0" spc="0">
              <a:solidFill>
                <a:srgbClr val="8A8B90"/>
              </a:solidFill>
              <a:latin typeface="Avenir Next LT Pro" panose="020B0504020202020204" pitchFamily="34" charset="77"/>
            </a:endParaRPr>
          </a:p>
          <a:p>
            <a:pPr marL="0" indent="0" defTabSz="914355">
              <a:lnSpc>
                <a:spcPct val="100000"/>
              </a:lnSpc>
              <a:buClr>
                <a:srgbClr val="FFFFFF"/>
              </a:buClr>
              <a:buNone/>
              <a:tabLst>
                <a:tab pos="88107" algn="l"/>
                <a:tab pos="172244" algn="l"/>
              </a:tabLst>
            </a:pPr>
            <a:endParaRPr lang="en-GB" sz="1200" b="0" spc="0">
              <a:solidFill>
                <a:srgbClr val="8A8B90"/>
              </a:solidFill>
              <a:latin typeface="Avenir Next LT Pro" panose="020B0504020202020204" pitchFamily="34" charset="77"/>
            </a:endParaRPr>
          </a:p>
          <a:p>
            <a:pPr marL="0" indent="0" defTabSz="914355">
              <a:lnSpc>
                <a:spcPct val="100000"/>
              </a:lnSpc>
              <a:buClr>
                <a:srgbClr val="FFFFFF"/>
              </a:buClr>
              <a:buNone/>
              <a:tabLst>
                <a:tab pos="88107" algn="l"/>
                <a:tab pos="172244" algn="l"/>
              </a:tabLst>
            </a:pPr>
            <a:endParaRPr lang="en-GB" sz="1200" b="0" spc="0">
              <a:solidFill>
                <a:srgbClr val="8A8B90"/>
              </a:solidFill>
              <a:latin typeface="Avenir Next LT Pro" panose="020B0504020202020204" pitchFamily="34" charset="77"/>
            </a:endParaRPr>
          </a:p>
          <a:p>
            <a:pPr marL="0" indent="0" defTabSz="914355">
              <a:lnSpc>
                <a:spcPct val="100000"/>
              </a:lnSpc>
              <a:buClr>
                <a:srgbClr val="FFFFFF"/>
              </a:buClr>
              <a:buNone/>
              <a:tabLst>
                <a:tab pos="88107" algn="l"/>
                <a:tab pos="172244" algn="l"/>
              </a:tabLst>
            </a:pPr>
            <a:endParaRPr lang="en-GB" sz="1100" b="0" spc="0">
              <a:solidFill>
                <a:srgbClr val="8A8B90"/>
              </a:solidFill>
              <a:latin typeface="Avenir Next LT Pro" panose="020B0504020202020204" pitchFamily="34" charset="77"/>
            </a:endParaRPr>
          </a:p>
          <a:p>
            <a:pPr marL="0" indent="0" defTabSz="914355">
              <a:lnSpc>
                <a:spcPct val="100000"/>
              </a:lnSpc>
              <a:buClr>
                <a:srgbClr val="FFFFFF"/>
              </a:buClr>
              <a:buNone/>
              <a:tabLst>
                <a:tab pos="88107" algn="l"/>
                <a:tab pos="172244" algn="l"/>
              </a:tabLst>
            </a:pPr>
            <a:endParaRPr lang="en-GB" sz="1300" spc="0">
              <a:solidFill>
                <a:srgbClr val="282830"/>
              </a:solidFill>
              <a:latin typeface="Avenir Next LT Pro" panose="020B0504020202020204" pitchFamily="34" charset="77"/>
            </a:endParaRPr>
          </a:p>
        </p:txBody>
      </p:sp>
      <p:sp>
        <p:nvSpPr>
          <p:cNvPr id="11" name="Text Placeholder 11">
            <a:extLst>
              <a:ext uri="{FF2B5EF4-FFF2-40B4-BE49-F238E27FC236}">
                <a16:creationId xmlns:a16="http://schemas.microsoft.com/office/drawing/2014/main" id="{D5984ABE-8418-8FC4-D04F-91BE1FAB6265}"/>
              </a:ext>
            </a:extLst>
          </p:cNvPr>
          <p:cNvSpPr txBox="1">
            <a:spLocks/>
          </p:cNvSpPr>
          <p:nvPr/>
        </p:nvSpPr>
        <p:spPr>
          <a:xfrm>
            <a:off x="4053370" y="3766457"/>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GB" sz="1800" b="1" i="0" u="none" strike="noStrike" kern="1200" cap="none" spc="-25" normalizeH="0" baseline="0" noProof="0">
                <a:ln>
                  <a:noFill/>
                </a:ln>
                <a:solidFill>
                  <a:srgbClr val="282830"/>
                </a:solidFill>
                <a:effectLst/>
                <a:uLnTx/>
                <a:uFillTx/>
                <a:latin typeface="Avenir Next LT Pro" panose="020B0504020202020204" pitchFamily="34" charset="77"/>
              </a:rPr>
              <a:t>Education</a:t>
            </a:r>
          </a:p>
        </p:txBody>
      </p:sp>
      <p:pic>
        <p:nvPicPr>
          <p:cNvPr id="12" name="Picture 11">
            <a:extLst>
              <a:ext uri="{FF2B5EF4-FFF2-40B4-BE49-F238E27FC236}">
                <a16:creationId xmlns:a16="http://schemas.microsoft.com/office/drawing/2014/main" id="{E47430AA-2BDF-C654-0AA5-2106DCA65367}"/>
              </a:ext>
            </a:extLst>
          </p:cNvPr>
          <p:cNvPicPr>
            <a:picLocks noChangeAspect="1"/>
          </p:cNvPicPr>
          <p:nvPr/>
        </p:nvPicPr>
        <p:blipFill>
          <a:blip r:embed="rId4"/>
          <a:stretch>
            <a:fillRect/>
          </a:stretch>
        </p:blipFill>
        <p:spPr>
          <a:xfrm>
            <a:off x="3793895" y="3875800"/>
            <a:ext cx="247650" cy="152400"/>
          </a:xfrm>
          <a:prstGeom prst="rect">
            <a:avLst/>
          </a:prstGeom>
        </p:spPr>
      </p:pic>
      <p:sp>
        <p:nvSpPr>
          <p:cNvPr id="13" name="Text Placeholder 17">
            <a:extLst>
              <a:ext uri="{FF2B5EF4-FFF2-40B4-BE49-F238E27FC236}">
                <a16:creationId xmlns:a16="http://schemas.microsoft.com/office/drawing/2014/main" id="{73725E32-3B6E-0521-74C5-5B03369E9A98}"/>
              </a:ext>
            </a:extLst>
          </p:cNvPr>
          <p:cNvSpPr txBox="1">
            <a:spLocks/>
          </p:cNvSpPr>
          <p:nvPr/>
        </p:nvSpPr>
        <p:spPr>
          <a:xfrm>
            <a:off x="4092280" y="4230204"/>
            <a:ext cx="2978944" cy="603643"/>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defTabSz="914355">
              <a:lnSpc>
                <a:spcPct val="100000"/>
              </a:lnSpc>
              <a:buNone/>
              <a:tabLst>
                <a:tab pos="88107" algn="l"/>
              </a:tabLst>
            </a:pPr>
            <a:r>
              <a:rPr lang="en-GB" sz="1200" spc="0">
                <a:solidFill>
                  <a:srgbClr val="282830"/>
                </a:solidFill>
                <a:latin typeface="Avenir Next LT Pro" panose="020B0504020202020204" pitchFamily="34" charset="77"/>
              </a:rPr>
              <a:t>Communication</a:t>
            </a:r>
            <a:br>
              <a:rPr lang="en-GB" sz="1200" spc="0">
                <a:solidFill>
                  <a:srgbClr val="282830"/>
                </a:solidFill>
                <a:latin typeface="Avenir Next LT Pro" panose="020B0504020202020204" pitchFamily="34" charset="77"/>
              </a:rPr>
            </a:br>
            <a:r>
              <a:rPr lang="en-GB" sz="1200" b="0" spc="0">
                <a:solidFill>
                  <a:srgbClr val="8A8B90"/>
                </a:solidFill>
                <a:latin typeface="Avenir Next LT Pro" panose="020B0504020202020204" pitchFamily="34" charset="77"/>
              </a:rPr>
              <a:t>European Communication School - Brussels</a:t>
            </a:r>
          </a:p>
          <a:p>
            <a:pPr marL="0" indent="0" defTabSz="914355">
              <a:lnSpc>
                <a:spcPct val="100000"/>
              </a:lnSpc>
              <a:buNone/>
              <a:tabLst>
                <a:tab pos="88107" algn="l"/>
              </a:tabLst>
            </a:pPr>
            <a:endParaRPr lang="en-GB" sz="1200" b="0" spc="0">
              <a:solidFill>
                <a:srgbClr val="8A8B90"/>
              </a:solidFill>
              <a:latin typeface="Avenir Next LT Pro" panose="020B0504020202020204" pitchFamily="34" charset="77"/>
            </a:endParaRPr>
          </a:p>
        </p:txBody>
      </p:sp>
      <p:pic>
        <p:nvPicPr>
          <p:cNvPr id="7" name="Espace réservé pour une image  6">
            <a:extLst>
              <a:ext uri="{FF2B5EF4-FFF2-40B4-BE49-F238E27FC236}">
                <a16:creationId xmlns:a16="http://schemas.microsoft.com/office/drawing/2014/main" id="{61CA4C90-1D06-47FE-2CDE-275EA97C9049}"/>
              </a:ext>
            </a:extLst>
          </p:cNvPr>
          <p:cNvPicPr>
            <a:picLocks noGrp="1" noChangeAspect="1"/>
          </p:cNvPicPr>
          <p:nvPr>
            <p:ph type="pic" sz="quarter" idx="10"/>
          </p:nvPr>
        </p:nvPicPr>
        <p:blipFill>
          <a:blip r:embed="rId5" cstate="screen">
            <a:extLst>
              <a:ext uri="{28A0092B-C50C-407E-A947-70E740481C1C}">
                <a14:useLocalDpi xmlns:a14="http://schemas.microsoft.com/office/drawing/2010/main"/>
              </a:ext>
            </a:extLst>
          </a:blip>
          <a:srcRect/>
          <a:stretch/>
        </p:blipFill>
        <p:spPr/>
      </p:pic>
      <p:sp>
        <p:nvSpPr>
          <p:cNvPr id="26" name="Text Placeholder 4">
            <a:extLst>
              <a:ext uri="{FF2B5EF4-FFF2-40B4-BE49-F238E27FC236}">
                <a16:creationId xmlns:a16="http://schemas.microsoft.com/office/drawing/2014/main" id="{AE28ABD7-A3E4-52CF-3DBC-D9FFC4A1C867}"/>
              </a:ext>
            </a:extLst>
          </p:cNvPr>
          <p:cNvSpPr>
            <a:spLocks noGrp="1"/>
          </p:cNvSpPr>
          <p:nvPr>
            <p:ph type="body" sz="quarter" idx="13"/>
          </p:nvPr>
        </p:nvSpPr>
        <p:spPr>
          <a:xfrm>
            <a:off x="467441" y="3567907"/>
            <a:ext cx="3024311" cy="1988344"/>
          </a:xfrm>
        </p:spPr>
        <p:txBody>
          <a:bodyPr/>
          <a:lstStyle/>
          <a:p>
            <a:pPr rtl="0"/>
            <a:r>
              <a:rPr lang="en-GB">
                <a:latin typeface="Avenir Next LT Pro" panose="020B0504020202020204" pitchFamily="34" charset="77"/>
              </a:rPr>
              <a:t>'Anything that changes </a:t>
            </a:r>
            <a:r>
              <a:rPr lang="en-GB">
                <a:gradFill>
                  <a:gsLst>
                    <a:gs pos="100000">
                      <a:srgbClr val="B79E60"/>
                    </a:gs>
                    <a:gs pos="0">
                      <a:srgbClr val="B79E60"/>
                    </a:gs>
                    <a:gs pos="54000">
                      <a:srgbClr val="DFCF84"/>
                    </a:gs>
                  </a:gsLst>
                  <a:lin ang="2700000" scaled="0"/>
                </a:gradFill>
                <a:latin typeface="Avenir Next LT Pro" panose="020B0504020202020204" pitchFamily="34" charset="77"/>
              </a:rPr>
              <a:t>your values </a:t>
            </a:r>
            <a:r>
              <a:rPr lang="en-GB">
                <a:latin typeface="Avenir Next LT Pro" panose="020B0504020202020204" pitchFamily="34" charset="77"/>
              </a:rPr>
              <a:t>changes your behaviour'  </a:t>
            </a:r>
          </a:p>
        </p:txBody>
      </p:sp>
      <p:sp>
        <p:nvSpPr>
          <p:cNvPr id="27" name="Text Placeholder 17">
            <a:extLst>
              <a:ext uri="{FF2B5EF4-FFF2-40B4-BE49-F238E27FC236}">
                <a16:creationId xmlns:a16="http://schemas.microsoft.com/office/drawing/2014/main" id="{DF2EAE3A-19B0-2F85-EACE-82500A316848}"/>
              </a:ext>
            </a:extLst>
          </p:cNvPr>
          <p:cNvSpPr txBox="1">
            <a:spLocks/>
          </p:cNvSpPr>
          <p:nvPr/>
        </p:nvSpPr>
        <p:spPr>
          <a:xfrm>
            <a:off x="7424979" y="3831174"/>
            <a:ext cx="3476963" cy="920467"/>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indent="0" defTabSz="914355">
              <a:lnSpc>
                <a:spcPct val="100000"/>
              </a:lnSpc>
              <a:buNone/>
              <a:tabLst>
                <a:tab pos="88107" algn="l"/>
              </a:tabLst>
              <a:defRPr/>
            </a:pPr>
            <a:r>
              <a:rPr lang="en-GB" sz="1200" b="0" spc="0" err="1">
                <a:solidFill>
                  <a:srgbClr val="282830"/>
                </a:solidFill>
                <a:latin typeface="Avenir Next LT Pro" panose="020B0504020202020204" pitchFamily="34" charset="77"/>
              </a:rPr>
              <a:t>O’Tacos</a:t>
            </a:r>
            <a:r>
              <a:rPr lang="en-GB" sz="1200" b="0" spc="0">
                <a:solidFill>
                  <a:srgbClr val="282830"/>
                </a:solidFill>
                <a:latin typeface="Avenir Next LT Pro" panose="020B0504020202020204" pitchFamily="34" charset="77"/>
              </a:rPr>
              <a:t>, Quick </a:t>
            </a:r>
          </a:p>
        </p:txBody>
      </p:sp>
      <p:sp>
        <p:nvSpPr>
          <p:cNvPr id="28" name="Text Placeholder 11">
            <a:extLst>
              <a:ext uri="{FF2B5EF4-FFF2-40B4-BE49-F238E27FC236}">
                <a16:creationId xmlns:a16="http://schemas.microsoft.com/office/drawing/2014/main" id="{FDA7485B-9723-7451-BA2D-8DD0F40EACF6}"/>
              </a:ext>
            </a:extLst>
          </p:cNvPr>
          <p:cNvSpPr txBox="1">
            <a:spLocks/>
          </p:cNvSpPr>
          <p:nvPr/>
        </p:nvSpPr>
        <p:spPr>
          <a:xfrm>
            <a:off x="7399039" y="3431850"/>
            <a:ext cx="3997446" cy="198272"/>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defTabSz="914355">
              <a:defRPr/>
            </a:pPr>
            <a:r>
              <a:rPr lang="fr-FR" sz="1800" spc="-25">
                <a:solidFill>
                  <a:srgbClr val="282830"/>
                </a:solidFill>
                <a:latin typeface="Avenir Next LT Pro" panose="020B0504020202020204" pitchFamily="34" charset="77"/>
                <a:cs typeface="Arial"/>
              </a:rPr>
              <a:t>Relevant  </a:t>
            </a:r>
            <a:r>
              <a:rPr lang="fr-FR" sz="1800" spc="-25" err="1">
                <a:solidFill>
                  <a:srgbClr val="282830"/>
                </a:solidFill>
                <a:latin typeface="Avenir Next LT Pro" panose="020B0504020202020204" pitchFamily="34" charset="77"/>
                <a:cs typeface="Arial"/>
              </a:rPr>
              <a:t>experience</a:t>
            </a:r>
            <a:endParaRPr kumimoji="0" lang="fr-FR" sz="1800" b="1" i="0" u="none" strike="noStrike" kern="1200" cap="none" spc="-25" normalizeH="0" baseline="0" noProof="0">
              <a:ln>
                <a:noFill/>
              </a:ln>
              <a:solidFill>
                <a:srgbClr val="282830"/>
              </a:solidFill>
              <a:effectLst/>
              <a:uLnTx/>
              <a:uFillTx/>
              <a:latin typeface="Avenir Next LT Pro" panose="020B0504020202020204" pitchFamily="34" charset="77"/>
            </a:endParaRPr>
          </a:p>
        </p:txBody>
      </p:sp>
      <p:pic>
        <p:nvPicPr>
          <p:cNvPr id="29" name="Picture 28">
            <a:extLst>
              <a:ext uri="{FF2B5EF4-FFF2-40B4-BE49-F238E27FC236}">
                <a16:creationId xmlns:a16="http://schemas.microsoft.com/office/drawing/2014/main" id="{716D4EE0-790F-6294-61E4-7884B329304B}"/>
              </a:ext>
            </a:extLst>
          </p:cNvPr>
          <p:cNvPicPr>
            <a:picLocks noChangeAspect="1"/>
          </p:cNvPicPr>
          <p:nvPr/>
        </p:nvPicPr>
        <p:blipFill>
          <a:blip r:embed="rId6"/>
          <a:stretch>
            <a:fillRect/>
          </a:stretch>
        </p:blipFill>
        <p:spPr>
          <a:xfrm>
            <a:off x="7161789" y="3512173"/>
            <a:ext cx="228600" cy="228600"/>
          </a:xfrm>
          <a:prstGeom prst="rect">
            <a:avLst/>
          </a:prstGeom>
        </p:spPr>
      </p:pic>
      <p:sp>
        <p:nvSpPr>
          <p:cNvPr id="30" name="Text Placeholder 17">
            <a:extLst>
              <a:ext uri="{FF2B5EF4-FFF2-40B4-BE49-F238E27FC236}">
                <a16:creationId xmlns:a16="http://schemas.microsoft.com/office/drawing/2014/main" id="{94AF2FBE-02A5-CADE-839C-27DEF5E6BD1B}"/>
              </a:ext>
            </a:extLst>
          </p:cNvPr>
          <p:cNvSpPr txBox="1">
            <a:spLocks/>
          </p:cNvSpPr>
          <p:nvPr/>
        </p:nvSpPr>
        <p:spPr>
          <a:xfrm>
            <a:off x="7525346" y="2608015"/>
            <a:ext cx="2870087" cy="1755019"/>
          </a:xfrm>
          <a:prstGeom prst="rect">
            <a:avLst/>
          </a:prstGeom>
          <a:ln>
            <a:noFill/>
          </a:ln>
        </p:spPr>
        <p:txBody>
          <a:bodyPr/>
          <a:lstStyle>
            <a:lvl1pPr marL="571500" indent="-571500" algn="l" defTabSz="1828709" rtl="0" eaLnBrk="1" latinLnBrk="0" hangingPunct="1">
              <a:lnSpc>
                <a:spcPct val="106000"/>
              </a:lnSpc>
              <a:spcBef>
                <a:spcPts val="0"/>
              </a:spcBef>
              <a:spcAft>
                <a:spcPts val="0"/>
              </a:spcAft>
              <a:buFont typeface="Arial" panose="020B0604020202020204" pitchFamily="34" charset="0"/>
              <a:buChar char="•"/>
              <a:tabLst/>
              <a:defRPr sz="2600" b="1" i="0" kern="1200" spc="-50">
                <a:solidFill>
                  <a:schemeClr val="tx1"/>
                </a:solidFill>
                <a:latin typeface="Arial" panose="020B0604020202020204" pitchFamily="34" charset="0"/>
                <a:ea typeface="+mn-ea"/>
                <a:cs typeface="Arial" panose="020B0604020202020204" pitchFamily="34" charset="0"/>
              </a:defRPr>
            </a:lvl1pPr>
            <a:lvl2pPr marL="648000" indent="0" algn="l" defTabSz="1828709" rtl="0" eaLnBrk="1" latinLnBrk="0" hangingPunct="1">
              <a:lnSpc>
                <a:spcPct val="100000"/>
              </a:lnSpc>
              <a:spcBef>
                <a:spcPts val="2600"/>
              </a:spcBef>
              <a:spcAft>
                <a:spcPts val="0"/>
              </a:spcAft>
              <a:buSzPct val="80000"/>
              <a:buFont typeface="Courier New" panose="02070309020205020404" pitchFamily="49" charset="0"/>
              <a:buNone/>
              <a:tabLst/>
              <a:defRPr sz="2000" kern="1200" cap="none" spc="-50" baseline="0">
                <a:solidFill>
                  <a:schemeClr val="accent3"/>
                </a:solidFill>
                <a:latin typeface="Arial" panose="020B0604020202020204" pitchFamily="34" charset="0"/>
                <a:ea typeface="+mn-ea"/>
                <a:cs typeface="Arial" panose="020B0604020202020204" pitchFamily="34" charset="0"/>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tab pos="88107" algn="l"/>
              </a:tabLst>
              <a:defRPr/>
            </a:pPr>
            <a: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t>Axelle is fluent in Dutch, French </a:t>
            </a:r>
            <a:b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br>
            <a:r>
              <a:rPr kumimoji="0" lang="en-GB" sz="1200" b="0" i="0" u="none" strike="noStrike" kern="1200" cap="none" spc="0" normalizeH="0" baseline="0" noProof="0">
                <a:ln>
                  <a:noFill/>
                </a:ln>
                <a:solidFill>
                  <a:srgbClr val="282830"/>
                </a:solidFill>
                <a:effectLst/>
                <a:uLnTx/>
                <a:uFillTx/>
                <a:latin typeface="Avenir Next LT Pro" panose="020B0504020202020204" pitchFamily="34" charset="77"/>
              </a:rPr>
              <a:t>and English.</a:t>
            </a:r>
          </a:p>
        </p:txBody>
      </p:sp>
      <p:sp>
        <p:nvSpPr>
          <p:cNvPr id="31" name="Text Placeholder 11">
            <a:extLst>
              <a:ext uri="{FF2B5EF4-FFF2-40B4-BE49-F238E27FC236}">
                <a16:creationId xmlns:a16="http://schemas.microsoft.com/office/drawing/2014/main" id="{7A4B0AEF-9BE9-0AB3-8A3C-58A16249AF00}"/>
              </a:ext>
            </a:extLst>
          </p:cNvPr>
          <p:cNvSpPr txBox="1">
            <a:spLocks/>
          </p:cNvSpPr>
          <p:nvPr/>
        </p:nvSpPr>
        <p:spPr>
          <a:xfrm>
            <a:off x="7470918" y="2139263"/>
            <a:ext cx="2978944" cy="245269"/>
          </a:xfrm>
          <a:prstGeom prst="rect">
            <a:avLst/>
          </a:prstGeom>
        </p:spPr>
        <p:txBody>
          <a:bodyPr/>
          <a:lstStyle>
            <a:lvl1pPr marL="0" indent="0" algn="l" defTabSz="1828709" rtl="0" eaLnBrk="1" latinLnBrk="0" hangingPunct="1">
              <a:lnSpc>
                <a:spcPct val="106000"/>
              </a:lnSpc>
              <a:spcBef>
                <a:spcPts val="0"/>
              </a:spcBef>
              <a:spcAft>
                <a:spcPts val="0"/>
              </a:spcAft>
              <a:buFont typeface="Arial" panose="020B0604020202020204" pitchFamily="34" charset="0"/>
              <a:buNone/>
              <a:tabLst/>
              <a:defRPr sz="3600" b="1" i="0" kern="1200" spc="-50">
                <a:solidFill>
                  <a:schemeClr val="tx1"/>
                </a:solidFill>
                <a:latin typeface="Arial" panose="020B0604020202020204" pitchFamily="34" charset="0"/>
                <a:ea typeface="+mn-ea"/>
                <a:cs typeface="Arial" panose="020B0604020202020204" pitchFamily="34" charset="0"/>
              </a:defRPr>
            </a:lvl1pPr>
            <a:lvl2pPr marL="1209600" indent="-561600" algn="l" defTabSz="1828709" rtl="0" eaLnBrk="1" latinLnBrk="0" hangingPunct="1">
              <a:lnSpc>
                <a:spcPct val="106000"/>
              </a:lnSpc>
              <a:spcBef>
                <a:spcPts val="2600"/>
              </a:spcBef>
              <a:spcAft>
                <a:spcPts val="0"/>
              </a:spcAft>
              <a:buSzPct val="80000"/>
              <a:buFont typeface="Courier New" panose="02070309020205020404" pitchFamily="49" charset="0"/>
              <a:buChar char="o"/>
              <a:tabLst/>
              <a:defRPr sz="3600" kern="1200" cap="none" spc="-50" baseline="0">
                <a:solidFill>
                  <a:schemeClr val="tx1"/>
                </a:solidFill>
                <a:latin typeface="+mn-lt"/>
                <a:ea typeface="+mn-ea"/>
                <a:cs typeface="+mn-cs"/>
              </a:defRPr>
            </a:lvl2pPr>
            <a:lvl3pPr marL="0" indent="0" algn="l" defTabSz="1828709" rtl="0" eaLnBrk="1" latinLnBrk="0" hangingPunct="1">
              <a:lnSpc>
                <a:spcPct val="106000"/>
              </a:lnSpc>
              <a:spcBef>
                <a:spcPts val="0"/>
              </a:spcBef>
              <a:spcAft>
                <a:spcPts val="0"/>
              </a:spcAft>
              <a:buSzPct val="95000"/>
              <a:buFont typeface="System Font Regular"/>
              <a:buNone/>
              <a:tabLst/>
              <a:defRPr sz="3600" kern="1200" spc="-50" baseline="0">
                <a:solidFill>
                  <a:schemeClr val="tx1"/>
                </a:solidFill>
                <a:latin typeface="+mn-lt"/>
                <a:ea typeface="+mn-ea"/>
                <a:cs typeface="+mn-cs"/>
              </a:defRPr>
            </a:lvl3pPr>
            <a:lvl4pPr marL="0" indent="0" algn="l" defTabSz="1828709" rtl="0" eaLnBrk="1" latinLnBrk="0" hangingPunct="1">
              <a:lnSpc>
                <a:spcPct val="106000"/>
              </a:lnSpc>
              <a:spcBef>
                <a:spcPts val="0"/>
              </a:spcBef>
              <a:spcAft>
                <a:spcPts val="0"/>
              </a:spcAft>
              <a:buFont typeface="Arial" panose="020B0604020202020204" pitchFamily="34" charset="0"/>
              <a:buNone/>
              <a:tabLst/>
              <a:defRPr sz="3600" kern="1200" spc="-50" baseline="0">
                <a:solidFill>
                  <a:schemeClr val="tx1"/>
                </a:solidFill>
                <a:latin typeface="+mn-lt"/>
                <a:ea typeface="+mn-ea"/>
                <a:cs typeface="+mn-cs"/>
              </a:defRPr>
            </a:lvl4pPr>
            <a:lvl5pPr marL="0" indent="0" algn="l" defTabSz="1828709" rtl="0" eaLnBrk="1" latinLnBrk="0" hangingPunct="1">
              <a:lnSpc>
                <a:spcPct val="106000"/>
              </a:lnSpc>
              <a:spcBef>
                <a:spcPts val="0"/>
              </a:spcBef>
              <a:spcAft>
                <a:spcPts val="0"/>
              </a:spcAft>
              <a:buFont typeface="System Font Regular"/>
              <a:buNone/>
              <a:tabLst/>
              <a:defRPr sz="3600" b="0" i="0" kern="1200" spc="-50" baseline="0">
                <a:solidFill>
                  <a:schemeClr val="tx1"/>
                </a:solidFill>
                <a:latin typeface="+mn-lt"/>
                <a:ea typeface="+mn-ea"/>
                <a:cs typeface="Toyota Type Semibold" panose="020B0502020202020204" pitchFamily="34" charset="0"/>
              </a:defRPr>
            </a:lvl5pPr>
            <a:lvl6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6pPr>
            <a:lvl7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7pPr>
            <a:lvl8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8pPr>
            <a:lvl9pPr marL="0" indent="0" algn="l" defTabSz="1828709" rtl="0" eaLnBrk="1" latinLnBrk="0" hangingPunct="1">
              <a:lnSpc>
                <a:spcPct val="117000"/>
              </a:lnSpc>
              <a:spcBef>
                <a:spcPts val="0"/>
              </a:spcBef>
              <a:spcAft>
                <a:spcPts val="0"/>
              </a:spcAft>
              <a:buFont typeface="Arial" panose="020B0604020202020204" pitchFamily="34" charset="0"/>
              <a:buNone/>
              <a:tabLst/>
              <a:defRPr sz="2200" kern="1200">
                <a:solidFill>
                  <a:schemeClr val="tx1"/>
                </a:solidFill>
                <a:latin typeface="+mn-lt"/>
                <a:ea typeface="+mn-ea"/>
                <a:cs typeface="+mn-cs"/>
              </a:defRPr>
            </a:lvl9pPr>
          </a:lstStyle>
          <a:p>
            <a:pPr marL="0" marR="0" lvl="0" indent="0" algn="l" defTabSz="914355" rtl="0" eaLnBrk="1" fontAlgn="auto" latinLnBrk="0" hangingPunct="1">
              <a:lnSpc>
                <a:spcPct val="106000"/>
              </a:lnSpc>
              <a:spcBef>
                <a:spcPts val="0"/>
              </a:spcBef>
              <a:spcAft>
                <a:spcPts val="0"/>
              </a:spcAft>
              <a:buClrTx/>
              <a:buSzTx/>
              <a:buFont typeface="Arial" panose="020B0604020202020204" pitchFamily="34" charset="0"/>
              <a:buNone/>
              <a:tabLst/>
              <a:defRPr/>
            </a:pPr>
            <a:r>
              <a:rPr lang="fr-FR" sz="1800" spc="-25" err="1">
                <a:solidFill>
                  <a:srgbClr val="282830"/>
                </a:solidFill>
                <a:latin typeface="Avenir Next LT Pro" panose="020B0504020202020204" pitchFamily="34" charset="77"/>
                <a:cs typeface="Arial"/>
              </a:rPr>
              <a:t>Languages</a:t>
            </a:r>
            <a:r>
              <a:rPr kumimoji="0" lang="fr-FR" sz="1800" b="1" i="0" u="none" strike="noStrike" kern="1200" cap="none" spc="-25" normalizeH="0" baseline="0" noProof="0">
                <a:ln>
                  <a:noFill/>
                </a:ln>
                <a:solidFill>
                  <a:srgbClr val="282830"/>
                </a:solidFill>
                <a:effectLst/>
                <a:uLnTx/>
                <a:uFillTx/>
                <a:latin typeface="Avenir Next LT Pro" panose="020B0504020202020204" pitchFamily="34" charset="77"/>
              </a:rPr>
              <a:t> </a:t>
            </a:r>
          </a:p>
        </p:txBody>
      </p:sp>
      <p:pic>
        <p:nvPicPr>
          <p:cNvPr id="32" name="Picture 31">
            <a:extLst>
              <a:ext uri="{FF2B5EF4-FFF2-40B4-BE49-F238E27FC236}">
                <a16:creationId xmlns:a16="http://schemas.microsoft.com/office/drawing/2014/main" id="{1DE9060D-5228-0E29-47FC-A5648A84F9E9}"/>
              </a:ext>
            </a:extLst>
          </p:cNvPr>
          <p:cNvPicPr>
            <a:picLocks noChangeAspect="1"/>
          </p:cNvPicPr>
          <p:nvPr/>
        </p:nvPicPr>
        <p:blipFill>
          <a:blip r:embed="rId7"/>
          <a:stretch>
            <a:fillRect/>
          </a:stretch>
        </p:blipFill>
        <p:spPr>
          <a:xfrm>
            <a:off x="7233668" y="2246255"/>
            <a:ext cx="203200" cy="196850"/>
          </a:xfrm>
          <a:prstGeom prst="rect">
            <a:avLst/>
          </a:prstGeom>
        </p:spPr>
      </p:pic>
      <p:pic>
        <p:nvPicPr>
          <p:cNvPr id="6" name="Picture 5">
            <a:extLst>
              <a:ext uri="{FF2B5EF4-FFF2-40B4-BE49-F238E27FC236}">
                <a16:creationId xmlns:a16="http://schemas.microsoft.com/office/drawing/2014/main" id="{1981E4F4-7903-8BF5-46B6-B9EE1F425B33}"/>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874714" y="5414933"/>
            <a:ext cx="986875" cy="1217503"/>
          </a:xfrm>
          <a:prstGeom prst="rect">
            <a:avLst/>
          </a:prstGeom>
          <a:solidFill>
            <a:schemeClr val="bg1"/>
          </a:solidFill>
        </p:spPr>
      </p:pic>
    </p:spTree>
    <p:extLst>
      <p:ext uri="{BB962C8B-B14F-4D97-AF65-F5344CB8AC3E}">
        <p14:creationId xmlns:p14="http://schemas.microsoft.com/office/powerpoint/2010/main" val="3806750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59BCE-10F5-418A-02C9-CAF86706BF4C}"/>
            </a:ext>
          </a:extLst>
        </p:cNvPr>
        <p:cNvGrpSpPr/>
        <p:nvPr/>
      </p:nvGrpSpPr>
      <p:grpSpPr>
        <a:xfrm>
          <a:off x="0" y="0"/>
          <a:ext cx="0" cy="0"/>
          <a:chOff x="0" y="0"/>
          <a:chExt cx="0" cy="0"/>
        </a:xfrm>
      </p:grpSpPr>
      <mc:AlternateContent xmlns:mc="http://schemas.openxmlformats.org/markup-compatibility/2006">
        <mc:Choice xmlns:p14="http://schemas.microsoft.com/office/powerpoint/2010/main" Requires="p14">
          <p:contentPart p14:bwMode="auto" r:id="rId2">
            <p14:nvContentPartPr>
              <p14:cNvPr id="3" name="Inkt 2">
                <a:extLst>
                  <a:ext uri="{FF2B5EF4-FFF2-40B4-BE49-F238E27FC236}">
                    <a16:creationId xmlns:a16="http://schemas.microsoft.com/office/drawing/2014/main" id="{32C16501-2319-12E9-8AB1-54D7024BE7BD}"/>
                  </a:ext>
                </a:extLst>
              </p14:cNvPr>
              <p14:cNvContentPartPr/>
              <p14:nvPr/>
            </p14:nvContentPartPr>
            <p14:xfrm>
              <a:off x="3891829" y="2298480"/>
              <a:ext cx="13368" cy="13368"/>
            </p14:xfrm>
          </p:contentPart>
        </mc:Choice>
        <mc:Fallback>
          <p:pic>
            <p:nvPicPr>
              <p:cNvPr id="3" name="Inkt 2">
                <a:extLst>
                  <a:ext uri="{FF2B5EF4-FFF2-40B4-BE49-F238E27FC236}">
                    <a16:creationId xmlns:a16="http://schemas.microsoft.com/office/drawing/2014/main" id="{32C16501-2319-12E9-8AB1-54D7024BE7BD}"/>
                  </a:ext>
                </a:extLst>
              </p:cNvPr>
              <p:cNvPicPr/>
              <p:nvPr/>
            </p:nvPicPr>
            <p:blipFill>
              <a:blip r:embed="rId3"/>
              <a:stretch>
                <a:fillRect/>
              </a:stretch>
            </p:blipFill>
            <p:spPr>
              <a:xfrm>
                <a:off x="3669029" y="1630080"/>
                <a:ext cx="454512" cy="1336800"/>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4" name="Inkt 3">
                <a:extLst>
                  <a:ext uri="{FF2B5EF4-FFF2-40B4-BE49-F238E27FC236}">
                    <a16:creationId xmlns:a16="http://schemas.microsoft.com/office/drawing/2014/main" id="{8BC393A4-74C2-0C2A-DCCE-4B4E947FD79D}"/>
                  </a:ext>
                </a:extLst>
              </p14:cNvPr>
              <p14:cNvContentPartPr/>
              <p14:nvPr/>
            </p14:nvContentPartPr>
            <p14:xfrm>
              <a:off x="3528584" y="2562484"/>
              <a:ext cx="13368" cy="13368"/>
            </p14:xfrm>
          </p:contentPart>
        </mc:Choice>
        <mc:Fallback>
          <p:pic>
            <p:nvPicPr>
              <p:cNvPr id="4" name="Inkt 3">
                <a:extLst>
                  <a:ext uri="{FF2B5EF4-FFF2-40B4-BE49-F238E27FC236}">
                    <a16:creationId xmlns:a16="http://schemas.microsoft.com/office/drawing/2014/main" id="{8BC393A4-74C2-0C2A-DCCE-4B4E947FD79D}"/>
                  </a:ext>
                </a:extLst>
              </p:cNvPr>
              <p:cNvPicPr/>
              <p:nvPr/>
            </p:nvPicPr>
            <p:blipFill>
              <a:blip r:embed="rId5"/>
              <a:stretch>
                <a:fillRect/>
              </a:stretch>
            </p:blipFill>
            <p:spPr>
              <a:xfrm>
                <a:off x="2860184" y="2511069"/>
                <a:ext cx="1336800" cy="11517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7" name="Inkt 6">
                <a:extLst>
                  <a:ext uri="{FF2B5EF4-FFF2-40B4-BE49-F238E27FC236}">
                    <a16:creationId xmlns:a16="http://schemas.microsoft.com/office/drawing/2014/main" id="{2D63D95C-F37F-2543-E9FD-E194D1741206}"/>
                  </a:ext>
                </a:extLst>
              </p14:cNvPr>
              <p14:cNvContentPartPr/>
              <p14:nvPr/>
            </p14:nvContentPartPr>
            <p14:xfrm>
              <a:off x="3371401" y="2443282"/>
              <a:ext cx="13368" cy="13368"/>
            </p14:xfrm>
          </p:contentPart>
        </mc:Choice>
        <mc:Fallback>
          <p:pic>
            <p:nvPicPr>
              <p:cNvPr id="7" name="Inkt 6">
                <a:extLst>
                  <a:ext uri="{FF2B5EF4-FFF2-40B4-BE49-F238E27FC236}">
                    <a16:creationId xmlns:a16="http://schemas.microsoft.com/office/drawing/2014/main" id="{2D63D95C-F37F-2543-E9FD-E194D1741206}"/>
                  </a:ext>
                </a:extLst>
              </p:cNvPr>
              <p:cNvPicPr/>
              <p:nvPr/>
            </p:nvPicPr>
            <p:blipFill>
              <a:blip r:embed="rId7"/>
              <a:stretch>
                <a:fillRect/>
              </a:stretch>
            </p:blipFill>
            <p:spPr>
              <a:xfrm>
                <a:off x="2703001" y="2359732"/>
                <a:ext cx="1336800" cy="178797"/>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8" name="Inkt 7">
                <a:extLst>
                  <a:ext uri="{FF2B5EF4-FFF2-40B4-BE49-F238E27FC236}">
                    <a16:creationId xmlns:a16="http://schemas.microsoft.com/office/drawing/2014/main" id="{A6B34989-4F3E-E8B4-2724-9A780B1056A9}"/>
                  </a:ext>
                </a:extLst>
              </p14:cNvPr>
              <p14:cNvContentPartPr/>
              <p14:nvPr/>
            </p14:nvContentPartPr>
            <p14:xfrm>
              <a:off x="3471246" y="3113409"/>
              <a:ext cx="13368" cy="13368"/>
            </p14:xfrm>
          </p:contentPart>
        </mc:Choice>
        <mc:Fallback>
          <p:pic>
            <p:nvPicPr>
              <p:cNvPr id="8" name="Inkt 7">
                <a:extLst>
                  <a:ext uri="{FF2B5EF4-FFF2-40B4-BE49-F238E27FC236}">
                    <a16:creationId xmlns:a16="http://schemas.microsoft.com/office/drawing/2014/main" id="{A6B34989-4F3E-E8B4-2724-9A780B1056A9}"/>
                  </a:ext>
                </a:extLst>
              </p:cNvPr>
              <p:cNvPicPr/>
              <p:nvPr/>
            </p:nvPicPr>
            <p:blipFill>
              <a:blip r:embed="rId9"/>
              <a:stretch>
                <a:fillRect/>
              </a:stretch>
            </p:blipFill>
            <p:spPr>
              <a:xfrm>
                <a:off x="2802846" y="2890609"/>
                <a:ext cx="1336800" cy="454512"/>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9" name="Inkt 8">
                <a:extLst>
                  <a:ext uri="{FF2B5EF4-FFF2-40B4-BE49-F238E27FC236}">
                    <a16:creationId xmlns:a16="http://schemas.microsoft.com/office/drawing/2014/main" id="{A9514567-C47D-C535-9C9A-A9BB465ED7F0}"/>
                  </a:ext>
                </a:extLst>
              </p14:cNvPr>
              <p14:cNvContentPartPr/>
              <p14:nvPr/>
            </p14:nvContentPartPr>
            <p14:xfrm>
              <a:off x="-679230" y="4184420"/>
              <a:ext cx="13368" cy="13368"/>
            </p14:xfrm>
          </p:contentPart>
        </mc:Choice>
        <mc:Fallback>
          <p:pic>
            <p:nvPicPr>
              <p:cNvPr id="9" name="Inkt 8">
                <a:extLst>
                  <a:ext uri="{FF2B5EF4-FFF2-40B4-BE49-F238E27FC236}">
                    <a16:creationId xmlns:a16="http://schemas.microsoft.com/office/drawing/2014/main" id="{A9514567-C47D-C535-9C9A-A9BB465ED7F0}"/>
                  </a:ext>
                </a:extLst>
              </p:cNvPr>
              <p:cNvPicPr/>
              <p:nvPr/>
            </p:nvPicPr>
            <p:blipFill>
              <a:blip r:embed="rId11"/>
              <a:stretch>
                <a:fillRect/>
              </a:stretch>
            </p:blipFill>
            <p:spPr>
              <a:xfrm>
                <a:off x="-1347630" y="3516020"/>
                <a:ext cx="1336800" cy="1336800"/>
              </a:xfrm>
              <a:prstGeom prst="rect">
                <a:avLst/>
              </a:prstGeom>
            </p:spPr>
          </p:pic>
        </mc:Fallback>
      </mc:AlternateContent>
      <p:sp>
        <p:nvSpPr>
          <p:cNvPr id="10" name="Text Placeholder 1">
            <a:extLst>
              <a:ext uri="{FF2B5EF4-FFF2-40B4-BE49-F238E27FC236}">
                <a16:creationId xmlns:a16="http://schemas.microsoft.com/office/drawing/2014/main" id="{D873108F-995E-608D-E8C1-81C2D184C9B0}"/>
              </a:ext>
            </a:extLst>
          </p:cNvPr>
          <p:cNvSpPr>
            <a:spLocks noGrp="1"/>
          </p:cNvSpPr>
          <p:nvPr>
            <p:ph type="body" sz="quarter" idx="18"/>
          </p:nvPr>
        </p:nvSpPr>
        <p:spPr>
          <a:xfrm>
            <a:off x="914852" y="3032636"/>
            <a:ext cx="10362296" cy="1313569"/>
          </a:xfrm>
        </p:spPr>
        <p:txBody>
          <a:bodyPr lIns="91440" tIns="45720" rIns="91440" bIns="45720" anchor="ctr"/>
          <a:lstStyle/>
          <a:p>
            <a:pPr>
              <a:lnSpc>
                <a:spcPct val="100000"/>
              </a:lnSpc>
            </a:pPr>
            <a:r>
              <a:rPr lang="en-GB" sz="4000">
                <a:latin typeface="Avenir Next LT Pro" panose="020B0504020202020204" pitchFamily="34" charset="77"/>
              </a:rPr>
              <a:t>Wat </a:t>
            </a:r>
            <a:r>
              <a:rPr lang="en-GB" sz="4000" err="1">
                <a:latin typeface="Avenir Next LT Pro" panose="020B0504020202020204" pitchFamily="34" charset="77"/>
              </a:rPr>
              <a:t>leuk</a:t>
            </a:r>
            <a:r>
              <a:rPr lang="en-GB" sz="4000">
                <a:latin typeface="Avenir Next LT Pro" panose="020B0504020202020204" pitchFamily="34" charset="77"/>
              </a:rPr>
              <a:t> </a:t>
            </a:r>
            <a:r>
              <a:rPr lang="en-GB" sz="4000" err="1">
                <a:latin typeface="Avenir Next LT Pro" panose="020B0504020202020204" pitchFamily="34" charset="77"/>
              </a:rPr>
              <a:t>dat</a:t>
            </a:r>
            <a:r>
              <a:rPr lang="en-GB" sz="4000">
                <a:latin typeface="Avenir Next LT Pro" panose="020B0504020202020204" pitchFamily="34" charset="77"/>
              </a:rPr>
              <a:t> </a:t>
            </a:r>
            <a:r>
              <a:rPr lang="en-GB" sz="4000" err="1">
                <a:latin typeface="Avenir Next LT Pro" panose="020B0504020202020204" pitchFamily="34" charset="77"/>
              </a:rPr>
              <a:t>jullie</a:t>
            </a:r>
            <a:r>
              <a:rPr lang="en-GB" sz="4000">
                <a:latin typeface="Avenir Next LT Pro" panose="020B0504020202020204" pitchFamily="34" charset="77"/>
              </a:rPr>
              <a:t> </a:t>
            </a:r>
            <a:r>
              <a:rPr lang="en-GB" sz="4000" err="1">
                <a:latin typeface="Avenir Next LT Pro" panose="020B0504020202020204" pitchFamily="34" charset="77"/>
              </a:rPr>
              <a:t>ons</a:t>
            </a:r>
            <a:r>
              <a:rPr lang="en-GB" sz="4000">
                <a:latin typeface="Avenir Next LT Pro" panose="020B0504020202020204" pitchFamily="34" charset="77"/>
              </a:rPr>
              <a:t> </a:t>
            </a:r>
            <a:r>
              <a:rPr lang="en-GB" sz="4000" err="1">
                <a:latin typeface="Avenir Next LT Pro" panose="020B0504020202020204" pitchFamily="34" charset="77"/>
              </a:rPr>
              <a:t>hebben</a:t>
            </a:r>
            <a:r>
              <a:rPr lang="en-GB" sz="4000">
                <a:latin typeface="Avenir Next LT Pro" panose="020B0504020202020204" pitchFamily="34" charset="77"/>
              </a:rPr>
              <a:t> </a:t>
            </a:r>
            <a:r>
              <a:rPr lang="en-GB" sz="4000" err="1">
                <a:latin typeface="Avenir Next LT Pro" panose="020B0504020202020204" pitchFamily="34" charset="77"/>
              </a:rPr>
              <a:t>gevraagd</a:t>
            </a:r>
            <a:r>
              <a:rPr lang="en-GB" sz="4000">
                <a:latin typeface="Avenir Next LT Pro" panose="020B0504020202020204" pitchFamily="34" charset="77"/>
              </a:rPr>
              <a:t> om </a:t>
            </a:r>
            <a:r>
              <a:rPr lang="en-GB" sz="4000" err="1">
                <a:gradFill>
                  <a:gsLst>
                    <a:gs pos="0">
                      <a:srgbClr val="B89B57"/>
                    </a:gs>
                    <a:gs pos="50442">
                      <a:srgbClr val="DCCF81"/>
                    </a:gs>
                    <a:gs pos="99000">
                      <a:srgbClr val="B89B57"/>
                    </a:gs>
                  </a:gsLst>
                  <a:lin ang="2700000" scaled="1"/>
                </a:gradFill>
                <a:latin typeface="Avenir Next LT Pro" panose="020B0504020202020204" pitchFamily="34" charset="77"/>
              </a:rPr>
              <a:t>een</a:t>
            </a:r>
            <a:r>
              <a:rPr lang="en-GB" sz="4000">
                <a:gradFill>
                  <a:gsLst>
                    <a:gs pos="0">
                      <a:srgbClr val="B89B57"/>
                    </a:gs>
                    <a:gs pos="50442">
                      <a:srgbClr val="DCCF81"/>
                    </a:gs>
                    <a:gs pos="99000">
                      <a:srgbClr val="B89B57"/>
                    </a:gs>
                  </a:gsLst>
                  <a:lin ang="2700000" scaled="1"/>
                </a:gradFill>
                <a:latin typeface="Avenir Next LT Pro" panose="020B0504020202020204" pitchFamily="34" charset="77"/>
              </a:rPr>
              <a:t> </a:t>
            </a:r>
            <a:r>
              <a:rPr lang="en-GB" sz="4000" err="1">
                <a:gradFill>
                  <a:gsLst>
                    <a:gs pos="0">
                      <a:srgbClr val="B89B57"/>
                    </a:gs>
                    <a:gs pos="50442">
                      <a:srgbClr val="DCCF81"/>
                    </a:gs>
                    <a:gs pos="99000">
                      <a:srgbClr val="B89B57"/>
                    </a:gs>
                  </a:gsLst>
                  <a:lin ang="2700000" scaled="1"/>
                </a:gradFill>
                <a:latin typeface="Avenir Next LT Pro" panose="020B0504020202020204" pitchFamily="34" charset="77"/>
              </a:rPr>
              <a:t>voorstel</a:t>
            </a:r>
            <a:r>
              <a:rPr lang="en-GB" sz="4000">
                <a:gradFill>
                  <a:gsLst>
                    <a:gs pos="0">
                      <a:srgbClr val="B89B57"/>
                    </a:gs>
                    <a:gs pos="50442">
                      <a:srgbClr val="DCCF81"/>
                    </a:gs>
                    <a:gs pos="99000">
                      <a:srgbClr val="B89B57"/>
                    </a:gs>
                  </a:gsLst>
                  <a:lin ang="2700000" scaled="1"/>
                </a:gradFill>
                <a:latin typeface="Avenir Next LT Pro" panose="020B0504020202020204" pitchFamily="34" charset="77"/>
              </a:rPr>
              <a:t> </a:t>
            </a:r>
            <a:r>
              <a:rPr lang="en-GB" sz="4000">
                <a:latin typeface="Avenir Next LT Pro" panose="020B0504020202020204" pitchFamily="34" charset="77"/>
              </a:rPr>
              <a:t>op papier </a:t>
            </a:r>
            <a:r>
              <a:rPr lang="en-GB" sz="4000" err="1">
                <a:latin typeface="Avenir Next LT Pro" panose="020B0504020202020204" pitchFamily="34" charset="77"/>
              </a:rPr>
              <a:t>te</a:t>
            </a:r>
            <a:r>
              <a:rPr lang="en-GB" sz="4000">
                <a:latin typeface="Avenir Next LT Pro" panose="020B0504020202020204" pitchFamily="34" charset="77"/>
              </a:rPr>
              <a:t> </a:t>
            </a:r>
            <a:r>
              <a:rPr lang="en-GB" sz="4000" err="1">
                <a:latin typeface="Avenir Next LT Pro" panose="020B0504020202020204" pitchFamily="34" charset="77"/>
              </a:rPr>
              <a:t>zetten</a:t>
            </a:r>
            <a:r>
              <a:rPr lang="en-GB" sz="4000">
                <a:latin typeface="Avenir Next LT Pro" panose="020B0504020202020204" pitchFamily="34" charset="77"/>
              </a:rPr>
              <a:t> op basis van </a:t>
            </a:r>
            <a:r>
              <a:rPr lang="en-GB" sz="4000" err="1">
                <a:latin typeface="Avenir Next LT Pro" panose="020B0504020202020204" pitchFamily="34" charset="77"/>
              </a:rPr>
              <a:t>jullie</a:t>
            </a:r>
            <a:r>
              <a:rPr lang="en-GB" sz="4000">
                <a:latin typeface="Avenir Next LT Pro" panose="020B0504020202020204" pitchFamily="34" charset="77"/>
              </a:rPr>
              <a:t> </a:t>
            </a:r>
            <a:r>
              <a:rPr lang="en-GB" sz="4000">
                <a:gradFill>
                  <a:gsLst>
                    <a:gs pos="0">
                      <a:srgbClr val="B89B57"/>
                    </a:gs>
                    <a:gs pos="50442">
                      <a:srgbClr val="DCCF81"/>
                    </a:gs>
                    <a:gs pos="99000">
                      <a:srgbClr val="B89B57"/>
                    </a:gs>
                  </a:gsLst>
                  <a:lin ang="2700000" scaled="1"/>
                </a:gradFill>
                <a:latin typeface="Avenir Next LT Pro" panose="020B0504020202020204" pitchFamily="34" charset="77"/>
              </a:rPr>
              <a:t>RFQ.</a:t>
            </a:r>
            <a:endParaRPr lang="en-GB" sz="2000" b="0"/>
          </a:p>
        </p:txBody>
      </p:sp>
      <p:sp>
        <p:nvSpPr>
          <p:cNvPr id="2" name="Text Placeholder 3">
            <a:extLst>
              <a:ext uri="{FF2B5EF4-FFF2-40B4-BE49-F238E27FC236}">
                <a16:creationId xmlns:a16="http://schemas.microsoft.com/office/drawing/2014/main" id="{339A93D4-09D1-C317-A466-82A727B2A52A}"/>
              </a:ext>
            </a:extLst>
          </p:cNvPr>
          <p:cNvSpPr txBox="1">
            <a:spLocks/>
          </p:cNvSpPr>
          <p:nvPr/>
        </p:nvSpPr>
        <p:spPr>
          <a:xfrm>
            <a:off x="437390" y="300101"/>
            <a:ext cx="5363564" cy="228026"/>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solidFill>
                  <a:schemeClr val="tx1"/>
                </a:solidFill>
              </a:rPr>
              <a:t>HALLO HAPPINESS</a:t>
            </a:r>
          </a:p>
        </p:txBody>
      </p:sp>
      <p:cxnSp>
        <p:nvCxnSpPr>
          <p:cNvPr id="11" name="Straight Connector 10">
            <a:extLst>
              <a:ext uri="{FF2B5EF4-FFF2-40B4-BE49-F238E27FC236}">
                <a16:creationId xmlns:a16="http://schemas.microsoft.com/office/drawing/2014/main" id="{E01BE7C1-E0FD-5253-C785-06291BB9A187}"/>
              </a:ext>
            </a:extLst>
          </p:cNvPr>
          <p:cNvCxnSpPr>
            <a:cxnSpLocks/>
          </p:cNvCxnSpPr>
          <p:nvPr/>
        </p:nvCxnSpPr>
        <p:spPr>
          <a:xfrm>
            <a:off x="437390" y="583661"/>
            <a:ext cx="2407410" cy="0"/>
          </a:xfrm>
          <a:prstGeom prst="line">
            <a:avLst/>
          </a:prstGeom>
          <a:noFill/>
          <a:ln w="12700" cap="flat" cmpd="sng" algn="ctr">
            <a:solidFill>
              <a:srgbClr val="DCCF7F"/>
            </a:solidFill>
            <a:prstDash val="solid"/>
            <a:miter lim="800000"/>
          </a:ln>
          <a:effectLst/>
        </p:spPr>
      </p:cxnSp>
    </p:spTree>
    <p:extLst>
      <p:ext uri="{BB962C8B-B14F-4D97-AF65-F5344CB8AC3E}">
        <p14:creationId xmlns:p14="http://schemas.microsoft.com/office/powerpoint/2010/main" val="476255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DECE6-F054-7557-E39B-36B2F7081B6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2E450C0-FE33-D875-FB2D-CE57CBAFA2D2}"/>
              </a:ext>
            </a:extLst>
          </p:cNvPr>
          <p:cNvSpPr>
            <a:spLocks noGrp="1"/>
          </p:cNvSpPr>
          <p:nvPr>
            <p:ph type="body" sz="quarter" idx="18"/>
          </p:nvPr>
        </p:nvSpPr>
        <p:spPr>
          <a:xfrm>
            <a:off x="914852" y="2772215"/>
            <a:ext cx="10362296" cy="1313569"/>
          </a:xfrm>
        </p:spPr>
        <p:txBody>
          <a:bodyPr lIns="91440" tIns="45720" rIns="91440" bIns="45720" anchor="ctr"/>
          <a:lstStyle/>
          <a:p>
            <a:pPr>
              <a:lnSpc>
                <a:spcPct val="100000"/>
              </a:lnSpc>
            </a:pPr>
            <a:r>
              <a:rPr lang="en-GB" sz="4000">
                <a:latin typeface="Avenir Next LT Pro"/>
              </a:rPr>
              <a:t>Als </a:t>
            </a:r>
            <a:r>
              <a:rPr lang="en-GB" sz="4000" err="1">
                <a:latin typeface="Avenir Next LT Pro"/>
              </a:rPr>
              <a:t>antwoord</a:t>
            </a:r>
            <a:r>
              <a:rPr lang="en-GB" sz="4000">
                <a:latin typeface="Avenir Next LT Pro"/>
              </a:rPr>
              <a:t> </a:t>
            </a:r>
            <a:r>
              <a:rPr lang="en-GB" sz="4000" err="1">
                <a:latin typeface="Avenir Next LT Pro"/>
              </a:rPr>
              <a:t>hebben</a:t>
            </a:r>
            <a:r>
              <a:rPr lang="en-GB" sz="4000">
                <a:latin typeface="Avenir Next LT Pro"/>
              </a:rPr>
              <a:t> </a:t>
            </a:r>
            <a:r>
              <a:rPr lang="en-GB" sz="4000" err="1">
                <a:latin typeface="Avenir Next LT Pro"/>
              </a:rPr>
              <a:t>wij</a:t>
            </a:r>
            <a:r>
              <a:rPr lang="en-GB" sz="4000">
                <a:latin typeface="Avenir Next LT Pro"/>
              </a:rPr>
              <a:t> </a:t>
            </a:r>
            <a:r>
              <a:rPr lang="en-GB" sz="4000" err="1">
                <a:latin typeface="Avenir Next LT Pro"/>
              </a:rPr>
              <a:t>een</a:t>
            </a:r>
            <a:r>
              <a:rPr lang="en-GB" sz="4000">
                <a:latin typeface="Avenir Next LT Pro"/>
              </a:rPr>
              <a:t> </a:t>
            </a:r>
            <a:r>
              <a:rPr lang="en-GB" sz="4000" err="1">
                <a:latin typeface="Avenir Next LT Pro"/>
              </a:rPr>
              <a:t>uniek</a:t>
            </a:r>
            <a:r>
              <a:rPr lang="en-GB" sz="4000">
                <a:latin typeface="Avenir Next LT Pro"/>
              </a:rPr>
              <a:t> </a:t>
            </a:r>
            <a:r>
              <a:rPr lang="en-GB" sz="4000">
                <a:gradFill>
                  <a:gsLst>
                    <a:gs pos="0">
                      <a:srgbClr val="B89B57"/>
                    </a:gs>
                    <a:gs pos="50442">
                      <a:srgbClr val="DCCF81"/>
                    </a:gs>
                    <a:gs pos="99000">
                      <a:srgbClr val="B89B57"/>
                    </a:gs>
                  </a:gsLst>
                  <a:lin ang="2700000" scaled="1"/>
                </a:gradFill>
                <a:latin typeface="Avenir Next LT Pro"/>
              </a:rPr>
              <a:t>Happiness Anywhere </a:t>
            </a:r>
            <a:r>
              <a:rPr lang="en-GB" sz="4000">
                <a:latin typeface="Avenir Next LT Pro"/>
              </a:rPr>
              <a:t>team </a:t>
            </a:r>
            <a:r>
              <a:rPr lang="en-GB" sz="4000" err="1">
                <a:latin typeface="Avenir Next LT Pro"/>
              </a:rPr>
              <a:t>samengesteld</a:t>
            </a:r>
            <a:r>
              <a:rPr lang="en-GB" sz="4000">
                <a:latin typeface="Avenir Next LT Pro"/>
              </a:rPr>
              <a:t> </a:t>
            </a:r>
            <a:r>
              <a:rPr lang="en-GB" sz="4000" err="1">
                <a:latin typeface="Avenir Next LT Pro"/>
              </a:rPr>
              <a:t>voor</a:t>
            </a:r>
            <a:r>
              <a:rPr lang="en-GB" sz="4000">
                <a:latin typeface="Avenir Next LT Pro"/>
              </a:rPr>
              <a:t> ICI PARIS XL.</a:t>
            </a:r>
          </a:p>
        </p:txBody>
      </p:sp>
      <p:sp>
        <p:nvSpPr>
          <p:cNvPr id="5" name="Text Placeholder 3">
            <a:extLst>
              <a:ext uri="{FF2B5EF4-FFF2-40B4-BE49-F238E27FC236}">
                <a16:creationId xmlns:a16="http://schemas.microsoft.com/office/drawing/2014/main" id="{F6A35D09-C8F9-68F5-8689-3C12BE7D15E9}"/>
              </a:ext>
            </a:extLst>
          </p:cNvPr>
          <p:cNvSpPr txBox="1">
            <a:spLocks/>
          </p:cNvSpPr>
          <p:nvPr/>
        </p:nvSpPr>
        <p:spPr>
          <a:xfrm>
            <a:off x="437390" y="300101"/>
            <a:ext cx="5363564" cy="228026"/>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solidFill>
                  <a:schemeClr val="tx1"/>
                </a:solidFill>
              </a:rPr>
              <a:t>HALLO HAPPINESS</a:t>
            </a:r>
          </a:p>
        </p:txBody>
      </p:sp>
      <p:cxnSp>
        <p:nvCxnSpPr>
          <p:cNvPr id="6" name="Straight Connector 5">
            <a:extLst>
              <a:ext uri="{FF2B5EF4-FFF2-40B4-BE49-F238E27FC236}">
                <a16:creationId xmlns:a16="http://schemas.microsoft.com/office/drawing/2014/main" id="{2D85A589-448C-53B2-6931-38733377BD99}"/>
              </a:ext>
            </a:extLst>
          </p:cNvPr>
          <p:cNvCxnSpPr>
            <a:cxnSpLocks/>
          </p:cNvCxnSpPr>
          <p:nvPr/>
        </p:nvCxnSpPr>
        <p:spPr>
          <a:xfrm>
            <a:off x="437390" y="583661"/>
            <a:ext cx="2407410" cy="0"/>
          </a:xfrm>
          <a:prstGeom prst="line">
            <a:avLst/>
          </a:prstGeom>
          <a:noFill/>
          <a:ln w="12700" cap="flat" cmpd="sng" algn="ctr">
            <a:solidFill>
              <a:srgbClr val="DCCF7F"/>
            </a:solidFill>
            <a:prstDash val="solid"/>
            <a:miter lim="800000"/>
          </a:ln>
          <a:effectLst/>
        </p:spPr>
      </p:cxnSp>
      <mc:AlternateContent xmlns:mc="http://schemas.openxmlformats.org/markup-compatibility/2006">
        <mc:Choice xmlns:p14="http://schemas.microsoft.com/office/powerpoint/2010/main" Requires="p14">
          <p:contentPart p14:bwMode="auto" r:id="rId2">
            <p14:nvContentPartPr>
              <p14:cNvPr id="3" name="Inkt 2">
                <a:extLst>
                  <a:ext uri="{FF2B5EF4-FFF2-40B4-BE49-F238E27FC236}">
                    <a16:creationId xmlns:a16="http://schemas.microsoft.com/office/drawing/2014/main" id="{1A8283CF-7B95-A752-E575-6D03C9A49952}"/>
                  </a:ext>
                </a:extLst>
              </p14:cNvPr>
              <p14:cNvContentPartPr/>
              <p14:nvPr/>
            </p14:nvContentPartPr>
            <p14:xfrm>
              <a:off x="3891829" y="2298480"/>
              <a:ext cx="13368" cy="13368"/>
            </p14:xfrm>
          </p:contentPart>
        </mc:Choice>
        <mc:Fallback>
          <p:pic>
            <p:nvPicPr>
              <p:cNvPr id="3" name="Inkt 2">
                <a:extLst>
                  <a:ext uri="{FF2B5EF4-FFF2-40B4-BE49-F238E27FC236}">
                    <a16:creationId xmlns:a16="http://schemas.microsoft.com/office/drawing/2014/main" id="{1A8283CF-7B95-A752-E575-6D03C9A49952}"/>
                  </a:ext>
                </a:extLst>
              </p:cNvPr>
              <p:cNvPicPr/>
              <p:nvPr/>
            </p:nvPicPr>
            <p:blipFill>
              <a:blip r:embed="rId3"/>
              <a:stretch>
                <a:fillRect/>
              </a:stretch>
            </p:blipFill>
            <p:spPr>
              <a:xfrm>
                <a:off x="3669029" y="1630080"/>
                <a:ext cx="454512" cy="1336800"/>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4" name="Inkt 3">
                <a:extLst>
                  <a:ext uri="{FF2B5EF4-FFF2-40B4-BE49-F238E27FC236}">
                    <a16:creationId xmlns:a16="http://schemas.microsoft.com/office/drawing/2014/main" id="{126E04D9-AAE6-8F3B-7F4D-1A81CBDD0CD3}"/>
                  </a:ext>
                </a:extLst>
              </p14:cNvPr>
              <p14:cNvContentPartPr/>
              <p14:nvPr/>
            </p14:nvContentPartPr>
            <p14:xfrm>
              <a:off x="3528584" y="2562484"/>
              <a:ext cx="13368" cy="13368"/>
            </p14:xfrm>
          </p:contentPart>
        </mc:Choice>
        <mc:Fallback>
          <p:pic>
            <p:nvPicPr>
              <p:cNvPr id="4" name="Inkt 3">
                <a:extLst>
                  <a:ext uri="{FF2B5EF4-FFF2-40B4-BE49-F238E27FC236}">
                    <a16:creationId xmlns:a16="http://schemas.microsoft.com/office/drawing/2014/main" id="{126E04D9-AAE6-8F3B-7F4D-1A81CBDD0CD3}"/>
                  </a:ext>
                </a:extLst>
              </p:cNvPr>
              <p:cNvPicPr/>
              <p:nvPr/>
            </p:nvPicPr>
            <p:blipFill>
              <a:blip r:embed="rId5"/>
              <a:stretch>
                <a:fillRect/>
              </a:stretch>
            </p:blipFill>
            <p:spPr>
              <a:xfrm>
                <a:off x="2860184" y="2511069"/>
                <a:ext cx="1336800" cy="11517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7" name="Inkt 6">
                <a:extLst>
                  <a:ext uri="{FF2B5EF4-FFF2-40B4-BE49-F238E27FC236}">
                    <a16:creationId xmlns:a16="http://schemas.microsoft.com/office/drawing/2014/main" id="{2101B46B-FAE7-B22D-51CF-D3E4FAB5AB37}"/>
                  </a:ext>
                </a:extLst>
              </p14:cNvPr>
              <p14:cNvContentPartPr/>
              <p14:nvPr/>
            </p14:nvContentPartPr>
            <p14:xfrm>
              <a:off x="3371401" y="2443282"/>
              <a:ext cx="13368" cy="13368"/>
            </p14:xfrm>
          </p:contentPart>
        </mc:Choice>
        <mc:Fallback>
          <p:pic>
            <p:nvPicPr>
              <p:cNvPr id="7" name="Inkt 6">
                <a:extLst>
                  <a:ext uri="{FF2B5EF4-FFF2-40B4-BE49-F238E27FC236}">
                    <a16:creationId xmlns:a16="http://schemas.microsoft.com/office/drawing/2014/main" id="{2101B46B-FAE7-B22D-51CF-D3E4FAB5AB37}"/>
                  </a:ext>
                </a:extLst>
              </p:cNvPr>
              <p:cNvPicPr/>
              <p:nvPr/>
            </p:nvPicPr>
            <p:blipFill>
              <a:blip r:embed="rId7"/>
              <a:stretch>
                <a:fillRect/>
              </a:stretch>
            </p:blipFill>
            <p:spPr>
              <a:xfrm>
                <a:off x="2703001" y="2359732"/>
                <a:ext cx="1336800" cy="178797"/>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8" name="Inkt 7">
                <a:extLst>
                  <a:ext uri="{FF2B5EF4-FFF2-40B4-BE49-F238E27FC236}">
                    <a16:creationId xmlns:a16="http://schemas.microsoft.com/office/drawing/2014/main" id="{A63A2894-18FD-4E38-497D-8F7B4939E033}"/>
                  </a:ext>
                </a:extLst>
              </p14:cNvPr>
              <p14:cNvContentPartPr/>
              <p14:nvPr/>
            </p14:nvContentPartPr>
            <p14:xfrm>
              <a:off x="3471246" y="3113409"/>
              <a:ext cx="13368" cy="13368"/>
            </p14:xfrm>
          </p:contentPart>
        </mc:Choice>
        <mc:Fallback>
          <p:pic>
            <p:nvPicPr>
              <p:cNvPr id="8" name="Inkt 7">
                <a:extLst>
                  <a:ext uri="{FF2B5EF4-FFF2-40B4-BE49-F238E27FC236}">
                    <a16:creationId xmlns:a16="http://schemas.microsoft.com/office/drawing/2014/main" id="{A63A2894-18FD-4E38-497D-8F7B4939E033}"/>
                  </a:ext>
                </a:extLst>
              </p:cNvPr>
              <p:cNvPicPr/>
              <p:nvPr/>
            </p:nvPicPr>
            <p:blipFill>
              <a:blip r:embed="rId9"/>
              <a:stretch>
                <a:fillRect/>
              </a:stretch>
            </p:blipFill>
            <p:spPr>
              <a:xfrm>
                <a:off x="2802846" y="2890609"/>
                <a:ext cx="1336800" cy="454512"/>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9" name="Inkt 8">
                <a:extLst>
                  <a:ext uri="{FF2B5EF4-FFF2-40B4-BE49-F238E27FC236}">
                    <a16:creationId xmlns:a16="http://schemas.microsoft.com/office/drawing/2014/main" id="{037577AF-AB29-AA71-3A57-AF2A6F63D2A3}"/>
                  </a:ext>
                </a:extLst>
              </p14:cNvPr>
              <p14:cNvContentPartPr/>
              <p14:nvPr/>
            </p14:nvContentPartPr>
            <p14:xfrm>
              <a:off x="-679230" y="4184420"/>
              <a:ext cx="13368" cy="13368"/>
            </p14:xfrm>
          </p:contentPart>
        </mc:Choice>
        <mc:Fallback>
          <p:pic>
            <p:nvPicPr>
              <p:cNvPr id="9" name="Inkt 8">
                <a:extLst>
                  <a:ext uri="{FF2B5EF4-FFF2-40B4-BE49-F238E27FC236}">
                    <a16:creationId xmlns:a16="http://schemas.microsoft.com/office/drawing/2014/main" id="{037577AF-AB29-AA71-3A57-AF2A6F63D2A3}"/>
                  </a:ext>
                </a:extLst>
              </p:cNvPr>
              <p:cNvPicPr/>
              <p:nvPr/>
            </p:nvPicPr>
            <p:blipFill>
              <a:blip r:embed="rId11"/>
              <a:stretch>
                <a:fillRect/>
              </a:stretch>
            </p:blipFill>
            <p:spPr>
              <a:xfrm>
                <a:off x="-1347630" y="3516020"/>
                <a:ext cx="1336800" cy="1336800"/>
              </a:xfrm>
              <a:prstGeom prst="rect">
                <a:avLst/>
              </a:prstGeom>
            </p:spPr>
          </p:pic>
        </mc:Fallback>
      </mc:AlternateContent>
    </p:spTree>
    <p:extLst>
      <p:ext uri="{BB962C8B-B14F-4D97-AF65-F5344CB8AC3E}">
        <p14:creationId xmlns:p14="http://schemas.microsoft.com/office/powerpoint/2010/main" val="30747062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DE5992-3AD4-BEBF-91EF-C74744A628F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8CA56D3-38D6-8FAF-7F1C-99DF720B702F}"/>
              </a:ext>
            </a:extLst>
          </p:cNvPr>
          <p:cNvSpPr>
            <a:spLocks noGrp="1"/>
          </p:cNvSpPr>
          <p:nvPr>
            <p:ph type="body" sz="quarter" idx="18"/>
          </p:nvPr>
        </p:nvSpPr>
        <p:spPr>
          <a:xfrm>
            <a:off x="914852" y="2772215"/>
            <a:ext cx="10362296" cy="1313569"/>
          </a:xfrm>
        </p:spPr>
        <p:txBody>
          <a:bodyPr lIns="91440" tIns="45720" rIns="91440" bIns="45720" anchor="ctr"/>
          <a:lstStyle/>
          <a:p>
            <a:pPr>
              <a:lnSpc>
                <a:spcPct val="100000"/>
              </a:lnSpc>
            </a:pPr>
            <a:r>
              <a:rPr lang="en-GB" sz="4000" err="1">
                <a:latin typeface="Avenir Next LT Pro" panose="020B0504020202020204" pitchFamily="34" charset="77"/>
              </a:rPr>
              <a:t>Een</a:t>
            </a:r>
            <a:r>
              <a:rPr lang="en-GB" sz="4000">
                <a:latin typeface="Avenir Next LT Pro" panose="020B0504020202020204" pitchFamily="34" charset="77"/>
              </a:rPr>
              <a:t> mix van </a:t>
            </a:r>
            <a:r>
              <a:rPr lang="en-GB" sz="4000" err="1">
                <a:gradFill>
                  <a:gsLst>
                    <a:gs pos="0">
                      <a:srgbClr val="B89B57"/>
                    </a:gs>
                    <a:gs pos="50442">
                      <a:srgbClr val="DCCF81"/>
                    </a:gs>
                    <a:gs pos="99000">
                      <a:srgbClr val="B89B57"/>
                    </a:gs>
                  </a:gsLst>
                  <a:lin ang="2700000" scaled="1"/>
                </a:gradFill>
                <a:latin typeface="Avenir Next LT Pro" panose="020B0504020202020204" pitchFamily="34" charset="77"/>
              </a:rPr>
              <a:t>Nederlandse</a:t>
            </a:r>
            <a:r>
              <a:rPr lang="en-GB" sz="4000">
                <a:gradFill>
                  <a:gsLst>
                    <a:gs pos="0">
                      <a:srgbClr val="B89B57"/>
                    </a:gs>
                    <a:gs pos="50442">
                      <a:srgbClr val="DCCF81"/>
                    </a:gs>
                    <a:gs pos="99000">
                      <a:srgbClr val="B89B57"/>
                    </a:gs>
                  </a:gsLst>
                  <a:lin ang="2700000" scaled="1"/>
                </a:gradFill>
                <a:latin typeface="Avenir Next LT Pro" panose="020B0504020202020204" pitchFamily="34" charset="77"/>
              </a:rPr>
              <a:t>, </a:t>
            </a:r>
            <a:r>
              <a:rPr lang="en-GB" sz="4000" err="1">
                <a:gradFill>
                  <a:gsLst>
                    <a:gs pos="0">
                      <a:srgbClr val="B89B57"/>
                    </a:gs>
                    <a:gs pos="50442">
                      <a:srgbClr val="DCCF81"/>
                    </a:gs>
                    <a:gs pos="99000">
                      <a:srgbClr val="B89B57"/>
                    </a:gs>
                  </a:gsLst>
                  <a:lin ang="2700000" scaled="1"/>
                </a:gradFill>
                <a:latin typeface="Avenir Next LT Pro" panose="020B0504020202020204" pitchFamily="34" charset="77"/>
              </a:rPr>
              <a:t>Vlaamse</a:t>
            </a:r>
            <a:r>
              <a:rPr lang="en-GB" sz="4000">
                <a:gradFill>
                  <a:gsLst>
                    <a:gs pos="0">
                      <a:srgbClr val="B89B57"/>
                    </a:gs>
                    <a:gs pos="50442">
                      <a:srgbClr val="DCCF81"/>
                    </a:gs>
                    <a:gs pos="99000">
                      <a:srgbClr val="B89B57"/>
                    </a:gs>
                  </a:gsLst>
                  <a:lin ang="2700000" scaled="1"/>
                </a:gradFill>
                <a:latin typeface="Avenir Next LT Pro" panose="020B0504020202020204" pitchFamily="34" charset="77"/>
              </a:rPr>
              <a:t> </a:t>
            </a:r>
            <a:r>
              <a:rPr lang="en-GB" sz="4000" err="1">
                <a:gradFill>
                  <a:gsLst>
                    <a:gs pos="0">
                      <a:srgbClr val="B89B57"/>
                    </a:gs>
                    <a:gs pos="50442">
                      <a:srgbClr val="DCCF81"/>
                    </a:gs>
                    <a:gs pos="99000">
                      <a:srgbClr val="B89B57"/>
                    </a:gs>
                  </a:gsLst>
                  <a:lin ang="2700000" scaled="1"/>
                </a:gradFill>
                <a:latin typeface="Avenir Next LT Pro" panose="020B0504020202020204" pitchFamily="34" charset="77"/>
              </a:rPr>
              <a:t>en</a:t>
            </a:r>
            <a:r>
              <a:rPr lang="en-GB" sz="4000">
                <a:gradFill>
                  <a:gsLst>
                    <a:gs pos="0">
                      <a:srgbClr val="B89B57"/>
                    </a:gs>
                    <a:gs pos="50442">
                      <a:srgbClr val="DCCF81"/>
                    </a:gs>
                    <a:gs pos="99000">
                      <a:srgbClr val="B89B57"/>
                    </a:gs>
                  </a:gsLst>
                  <a:lin ang="2700000" scaled="1"/>
                </a:gradFill>
                <a:latin typeface="Avenir Next LT Pro" panose="020B0504020202020204" pitchFamily="34" charset="77"/>
              </a:rPr>
              <a:t> </a:t>
            </a:r>
            <a:r>
              <a:rPr lang="en-GB" sz="4000" err="1">
                <a:gradFill>
                  <a:gsLst>
                    <a:gs pos="0">
                      <a:srgbClr val="B89B57"/>
                    </a:gs>
                    <a:gs pos="50442">
                      <a:srgbClr val="DCCF81"/>
                    </a:gs>
                    <a:gs pos="99000">
                      <a:srgbClr val="B89B57"/>
                    </a:gs>
                  </a:gsLst>
                  <a:lin ang="2700000" scaled="1"/>
                </a:gradFill>
                <a:latin typeface="Avenir Next LT Pro" panose="020B0504020202020204" pitchFamily="34" charset="77"/>
              </a:rPr>
              <a:t>Franse</a:t>
            </a:r>
            <a:r>
              <a:rPr lang="en-GB" sz="4000">
                <a:gradFill>
                  <a:gsLst>
                    <a:gs pos="0">
                      <a:srgbClr val="B89B57"/>
                    </a:gs>
                    <a:gs pos="50442">
                      <a:srgbClr val="DCCF81"/>
                    </a:gs>
                    <a:gs pos="99000">
                      <a:srgbClr val="B89B57"/>
                    </a:gs>
                  </a:gsLst>
                  <a:lin ang="2700000" scaled="1"/>
                </a:gradFill>
                <a:latin typeface="Avenir Next LT Pro" panose="020B0504020202020204" pitchFamily="34" charset="77"/>
              </a:rPr>
              <a:t> ‘native speakers’</a:t>
            </a:r>
            <a:r>
              <a:rPr lang="en-GB" sz="4000">
                <a:latin typeface="Avenir Next LT Pro" panose="020B0504020202020204" pitchFamily="34" charset="77"/>
              </a:rPr>
              <a:t> met het </a:t>
            </a:r>
            <a:r>
              <a:rPr lang="en-GB" sz="4000" err="1">
                <a:latin typeface="Avenir Next LT Pro" panose="020B0504020202020204" pitchFamily="34" charset="77"/>
              </a:rPr>
              <a:t>juiste</a:t>
            </a:r>
            <a:r>
              <a:rPr lang="en-GB" sz="4000">
                <a:latin typeface="Avenir Next LT Pro" panose="020B0504020202020204" pitchFamily="34" charset="77"/>
              </a:rPr>
              <a:t> talent </a:t>
            </a:r>
            <a:r>
              <a:rPr lang="en-GB" sz="4000" err="1">
                <a:latin typeface="Avenir Next LT Pro" panose="020B0504020202020204" pitchFamily="34" charset="77"/>
              </a:rPr>
              <a:t>en</a:t>
            </a:r>
            <a:r>
              <a:rPr lang="en-GB" sz="4000">
                <a:latin typeface="Avenir Next LT Pro" panose="020B0504020202020204" pitchFamily="34" charset="77"/>
              </a:rPr>
              <a:t> </a:t>
            </a:r>
            <a:r>
              <a:rPr lang="en-GB" sz="4000" err="1">
                <a:latin typeface="Avenir Next LT Pro" panose="020B0504020202020204" pitchFamily="34" charset="77"/>
              </a:rPr>
              <a:t>ervaring</a:t>
            </a:r>
            <a:r>
              <a:rPr lang="en-GB" sz="4000">
                <a:latin typeface="Avenir Next LT Pro" panose="020B0504020202020204" pitchFamily="34" charset="77"/>
              </a:rPr>
              <a:t> om het </a:t>
            </a:r>
            <a:r>
              <a:rPr lang="en-GB" sz="4000" err="1">
                <a:latin typeface="Avenir Next LT Pro" panose="020B0504020202020204" pitchFamily="34" charset="77"/>
              </a:rPr>
              <a:t>beste</a:t>
            </a:r>
            <a:r>
              <a:rPr lang="en-GB" sz="4000">
                <a:latin typeface="Avenir Next LT Pro" panose="020B0504020202020204" pitchFamily="34" charset="77"/>
              </a:rPr>
              <a:t> </a:t>
            </a:r>
            <a:r>
              <a:rPr lang="en-GB" sz="4000" err="1">
                <a:latin typeface="Avenir Next LT Pro" panose="020B0504020202020204" pitchFamily="34" charset="77"/>
              </a:rPr>
              <a:t>werk</a:t>
            </a:r>
            <a:r>
              <a:rPr lang="en-GB" sz="4000">
                <a:latin typeface="Avenir Next LT Pro" panose="020B0504020202020204" pitchFamily="34" charset="77"/>
              </a:rPr>
              <a:t> </a:t>
            </a:r>
            <a:r>
              <a:rPr lang="en-GB" sz="4000" err="1">
                <a:latin typeface="Avenir Next LT Pro" panose="020B0504020202020204" pitchFamily="34" charset="77"/>
              </a:rPr>
              <a:t>te</a:t>
            </a:r>
            <a:r>
              <a:rPr lang="en-GB" sz="4000">
                <a:latin typeface="Avenir Next LT Pro" panose="020B0504020202020204" pitchFamily="34" charset="77"/>
              </a:rPr>
              <a:t> </a:t>
            </a:r>
            <a:r>
              <a:rPr lang="en-GB" sz="4000" err="1">
                <a:latin typeface="Avenir Next LT Pro" panose="020B0504020202020204" pitchFamily="34" charset="77"/>
              </a:rPr>
              <a:t>kunnen</a:t>
            </a:r>
            <a:r>
              <a:rPr lang="en-GB" sz="4000">
                <a:latin typeface="Avenir Next LT Pro" panose="020B0504020202020204" pitchFamily="34" charset="77"/>
              </a:rPr>
              <a:t> </a:t>
            </a:r>
            <a:r>
              <a:rPr lang="en-GB" sz="4000" err="1">
                <a:latin typeface="Avenir Next LT Pro" panose="020B0504020202020204" pitchFamily="34" charset="77"/>
              </a:rPr>
              <a:t>leveren</a:t>
            </a:r>
            <a:r>
              <a:rPr lang="en-GB" sz="4000">
                <a:latin typeface="Avenir Next LT Pro" panose="020B0504020202020204" pitchFamily="34" charset="77"/>
              </a:rPr>
              <a:t> op basis van </a:t>
            </a:r>
            <a:r>
              <a:rPr lang="en-GB" sz="4000" err="1">
                <a:latin typeface="Avenir Next LT Pro" panose="020B0504020202020204" pitchFamily="34" charset="77"/>
              </a:rPr>
              <a:t>jullie</a:t>
            </a:r>
            <a:r>
              <a:rPr lang="en-GB" sz="4000">
                <a:latin typeface="Avenir Next LT Pro" panose="020B0504020202020204" pitchFamily="34" charset="77"/>
              </a:rPr>
              <a:t> </a:t>
            </a:r>
            <a:r>
              <a:rPr lang="en-GB" sz="4000" err="1">
                <a:latin typeface="Avenir Next LT Pro" panose="020B0504020202020204" pitchFamily="34" charset="77"/>
              </a:rPr>
              <a:t>uitdagingen</a:t>
            </a:r>
            <a:r>
              <a:rPr lang="en-GB" sz="4000">
                <a:latin typeface="Avenir Next LT Pro" panose="020B0504020202020204" pitchFamily="34" charset="77"/>
              </a:rPr>
              <a:t>. </a:t>
            </a:r>
          </a:p>
        </p:txBody>
      </p:sp>
      <p:sp>
        <p:nvSpPr>
          <p:cNvPr id="5" name="Text Placeholder 3">
            <a:extLst>
              <a:ext uri="{FF2B5EF4-FFF2-40B4-BE49-F238E27FC236}">
                <a16:creationId xmlns:a16="http://schemas.microsoft.com/office/drawing/2014/main" id="{0BD6DD03-17FF-B6A1-01F4-250E832842E1}"/>
              </a:ext>
            </a:extLst>
          </p:cNvPr>
          <p:cNvSpPr txBox="1">
            <a:spLocks/>
          </p:cNvSpPr>
          <p:nvPr/>
        </p:nvSpPr>
        <p:spPr>
          <a:xfrm>
            <a:off x="437390" y="300101"/>
            <a:ext cx="5363564" cy="228026"/>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solidFill>
                  <a:schemeClr val="tx1"/>
                </a:solidFill>
              </a:rPr>
              <a:t>HALLO HAPPINESS</a:t>
            </a:r>
          </a:p>
        </p:txBody>
      </p:sp>
      <p:cxnSp>
        <p:nvCxnSpPr>
          <p:cNvPr id="6" name="Straight Connector 5">
            <a:extLst>
              <a:ext uri="{FF2B5EF4-FFF2-40B4-BE49-F238E27FC236}">
                <a16:creationId xmlns:a16="http://schemas.microsoft.com/office/drawing/2014/main" id="{0B3DA9B0-6933-5658-8A9A-0417008AEEA4}"/>
              </a:ext>
            </a:extLst>
          </p:cNvPr>
          <p:cNvCxnSpPr>
            <a:cxnSpLocks/>
          </p:cNvCxnSpPr>
          <p:nvPr/>
        </p:nvCxnSpPr>
        <p:spPr>
          <a:xfrm>
            <a:off x="437390" y="583661"/>
            <a:ext cx="2407410" cy="0"/>
          </a:xfrm>
          <a:prstGeom prst="line">
            <a:avLst/>
          </a:prstGeom>
          <a:noFill/>
          <a:ln w="12700" cap="flat" cmpd="sng" algn="ctr">
            <a:solidFill>
              <a:srgbClr val="DCCF7F"/>
            </a:solidFill>
            <a:prstDash val="solid"/>
            <a:miter lim="800000"/>
          </a:ln>
          <a:effectLst/>
        </p:spPr>
      </p:cxnSp>
      <mc:AlternateContent xmlns:mc="http://schemas.openxmlformats.org/markup-compatibility/2006">
        <mc:Choice xmlns:p14="http://schemas.microsoft.com/office/powerpoint/2010/main" Requires="p14">
          <p:contentPart p14:bwMode="auto" r:id="rId2">
            <p14:nvContentPartPr>
              <p14:cNvPr id="3" name="Inkt 2">
                <a:extLst>
                  <a:ext uri="{FF2B5EF4-FFF2-40B4-BE49-F238E27FC236}">
                    <a16:creationId xmlns:a16="http://schemas.microsoft.com/office/drawing/2014/main" id="{85CDA174-FCB4-36B8-4E69-E742585B7F02}"/>
                  </a:ext>
                </a:extLst>
              </p14:cNvPr>
              <p14:cNvContentPartPr/>
              <p14:nvPr/>
            </p14:nvContentPartPr>
            <p14:xfrm>
              <a:off x="3891829" y="2298480"/>
              <a:ext cx="13368" cy="13368"/>
            </p14:xfrm>
          </p:contentPart>
        </mc:Choice>
        <mc:Fallback>
          <p:pic>
            <p:nvPicPr>
              <p:cNvPr id="3" name="Inkt 2">
                <a:extLst>
                  <a:ext uri="{FF2B5EF4-FFF2-40B4-BE49-F238E27FC236}">
                    <a16:creationId xmlns:a16="http://schemas.microsoft.com/office/drawing/2014/main" id="{85CDA174-FCB4-36B8-4E69-E742585B7F02}"/>
                  </a:ext>
                </a:extLst>
              </p:cNvPr>
              <p:cNvPicPr/>
              <p:nvPr/>
            </p:nvPicPr>
            <p:blipFill>
              <a:blip r:embed="rId3"/>
              <a:stretch>
                <a:fillRect/>
              </a:stretch>
            </p:blipFill>
            <p:spPr>
              <a:xfrm>
                <a:off x="3669029" y="1630080"/>
                <a:ext cx="454512" cy="1336800"/>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4" name="Inkt 3">
                <a:extLst>
                  <a:ext uri="{FF2B5EF4-FFF2-40B4-BE49-F238E27FC236}">
                    <a16:creationId xmlns:a16="http://schemas.microsoft.com/office/drawing/2014/main" id="{7A1C9CCB-6C6B-B931-8936-2F997D46092C}"/>
                  </a:ext>
                </a:extLst>
              </p14:cNvPr>
              <p14:cNvContentPartPr/>
              <p14:nvPr/>
            </p14:nvContentPartPr>
            <p14:xfrm>
              <a:off x="3528584" y="2562484"/>
              <a:ext cx="13368" cy="13368"/>
            </p14:xfrm>
          </p:contentPart>
        </mc:Choice>
        <mc:Fallback>
          <p:pic>
            <p:nvPicPr>
              <p:cNvPr id="4" name="Inkt 3">
                <a:extLst>
                  <a:ext uri="{FF2B5EF4-FFF2-40B4-BE49-F238E27FC236}">
                    <a16:creationId xmlns:a16="http://schemas.microsoft.com/office/drawing/2014/main" id="{7A1C9CCB-6C6B-B931-8936-2F997D46092C}"/>
                  </a:ext>
                </a:extLst>
              </p:cNvPr>
              <p:cNvPicPr/>
              <p:nvPr/>
            </p:nvPicPr>
            <p:blipFill>
              <a:blip r:embed="rId5"/>
              <a:stretch>
                <a:fillRect/>
              </a:stretch>
            </p:blipFill>
            <p:spPr>
              <a:xfrm>
                <a:off x="2860184" y="2511069"/>
                <a:ext cx="1336800" cy="11517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7" name="Inkt 6">
                <a:extLst>
                  <a:ext uri="{FF2B5EF4-FFF2-40B4-BE49-F238E27FC236}">
                    <a16:creationId xmlns:a16="http://schemas.microsoft.com/office/drawing/2014/main" id="{B21F371A-5254-6531-CF47-12E68030E6C9}"/>
                  </a:ext>
                </a:extLst>
              </p14:cNvPr>
              <p14:cNvContentPartPr/>
              <p14:nvPr/>
            </p14:nvContentPartPr>
            <p14:xfrm>
              <a:off x="3371401" y="2443282"/>
              <a:ext cx="13368" cy="13368"/>
            </p14:xfrm>
          </p:contentPart>
        </mc:Choice>
        <mc:Fallback>
          <p:pic>
            <p:nvPicPr>
              <p:cNvPr id="7" name="Inkt 6">
                <a:extLst>
                  <a:ext uri="{FF2B5EF4-FFF2-40B4-BE49-F238E27FC236}">
                    <a16:creationId xmlns:a16="http://schemas.microsoft.com/office/drawing/2014/main" id="{B21F371A-5254-6531-CF47-12E68030E6C9}"/>
                  </a:ext>
                </a:extLst>
              </p:cNvPr>
              <p:cNvPicPr/>
              <p:nvPr/>
            </p:nvPicPr>
            <p:blipFill>
              <a:blip r:embed="rId7"/>
              <a:stretch>
                <a:fillRect/>
              </a:stretch>
            </p:blipFill>
            <p:spPr>
              <a:xfrm>
                <a:off x="2703001" y="2359732"/>
                <a:ext cx="1336800" cy="178797"/>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8" name="Inkt 7">
                <a:extLst>
                  <a:ext uri="{FF2B5EF4-FFF2-40B4-BE49-F238E27FC236}">
                    <a16:creationId xmlns:a16="http://schemas.microsoft.com/office/drawing/2014/main" id="{E5E30AB4-9D0A-794D-E58A-BFA0E038DA82}"/>
                  </a:ext>
                </a:extLst>
              </p14:cNvPr>
              <p14:cNvContentPartPr/>
              <p14:nvPr/>
            </p14:nvContentPartPr>
            <p14:xfrm>
              <a:off x="3471246" y="3113409"/>
              <a:ext cx="13368" cy="13368"/>
            </p14:xfrm>
          </p:contentPart>
        </mc:Choice>
        <mc:Fallback>
          <p:pic>
            <p:nvPicPr>
              <p:cNvPr id="8" name="Inkt 7">
                <a:extLst>
                  <a:ext uri="{FF2B5EF4-FFF2-40B4-BE49-F238E27FC236}">
                    <a16:creationId xmlns:a16="http://schemas.microsoft.com/office/drawing/2014/main" id="{E5E30AB4-9D0A-794D-E58A-BFA0E038DA82}"/>
                  </a:ext>
                </a:extLst>
              </p:cNvPr>
              <p:cNvPicPr/>
              <p:nvPr/>
            </p:nvPicPr>
            <p:blipFill>
              <a:blip r:embed="rId9"/>
              <a:stretch>
                <a:fillRect/>
              </a:stretch>
            </p:blipFill>
            <p:spPr>
              <a:xfrm>
                <a:off x="2802846" y="2890609"/>
                <a:ext cx="1336800" cy="454512"/>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9" name="Inkt 8">
                <a:extLst>
                  <a:ext uri="{FF2B5EF4-FFF2-40B4-BE49-F238E27FC236}">
                    <a16:creationId xmlns:a16="http://schemas.microsoft.com/office/drawing/2014/main" id="{046D792D-4C77-C1DC-6AB7-77CEE6D79F30}"/>
                  </a:ext>
                </a:extLst>
              </p14:cNvPr>
              <p14:cNvContentPartPr/>
              <p14:nvPr/>
            </p14:nvContentPartPr>
            <p14:xfrm>
              <a:off x="-679230" y="4184420"/>
              <a:ext cx="13368" cy="13368"/>
            </p14:xfrm>
          </p:contentPart>
        </mc:Choice>
        <mc:Fallback>
          <p:pic>
            <p:nvPicPr>
              <p:cNvPr id="9" name="Inkt 8">
                <a:extLst>
                  <a:ext uri="{FF2B5EF4-FFF2-40B4-BE49-F238E27FC236}">
                    <a16:creationId xmlns:a16="http://schemas.microsoft.com/office/drawing/2014/main" id="{046D792D-4C77-C1DC-6AB7-77CEE6D79F30}"/>
                  </a:ext>
                </a:extLst>
              </p:cNvPr>
              <p:cNvPicPr/>
              <p:nvPr/>
            </p:nvPicPr>
            <p:blipFill>
              <a:blip r:embed="rId11"/>
              <a:stretch>
                <a:fillRect/>
              </a:stretch>
            </p:blipFill>
            <p:spPr>
              <a:xfrm>
                <a:off x="-1347630" y="3516020"/>
                <a:ext cx="1336800" cy="1336800"/>
              </a:xfrm>
              <a:prstGeom prst="rect">
                <a:avLst/>
              </a:prstGeom>
            </p:spPr>
          </p:pic>
        </mc:Fallback>
      </mc:AlternateContent>
    </p:spTree>
    <p:extLst>
      <p:ext uri="{BB962C8B-B14F-4D97-AF65-F5344CB8AC3E}">
        <p14:creationId xmlns:p14="http://schemas.microsoft.com/office/powerpoint/2010/main" val="27730372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1857CC-8308-35E4-EC18-283067344D4E}"/>
              </a:ext>
            </a:extLst>
          </p:cNvPr>
          <p:cNvSpPr>
            <a:spLocks noGrp="1"/>
          </p:cNvSpPr>
          <p:nvPr>
            <p:ph type="body" sz="quarter" idx="11"/>
          </p:nvPr>
        </p:nvSpPr>
        <p:spPr>
          <a:xfrm>
            <a:off x="1705510" y="0"/>
            <a:ext cx="8780980" cy="6858000"/>
          </a:xfrm>
        </p:spPr>
        <p:txBody>
          <a:bodyPr lIns="91440" tIns="45720" rIns="91440" bIns="45720" anchor="ctr">
            <a:noAutofit/>
          </a:bodyPr>
          <a:lstStyle/>
          <a:p>
            <a:r>
              <a:rPr lang="en-GB" sz="50000" b="1" i="1">
                <a:gradFill>
                  <a:gsLst>
                    <a:gs pos="0">
                      <a:srgbClr val="B89B57"/>
                    </a:gs>
                    <a:gs pos="50000">
                      <a:srgbClr val="DCD081"/>
                    </a:gs>
                    <a:gs pos="100000">
                      <a:srgbClr val="B89B57"/>
                    </a:gs>
                  </a:gsLst>
                  <a:lin ang="2700000" scaled="1"/>
                </a:gradFill>
                <a:latin typeface="Bodoni MT Black" panose="02070603080606020203" pitchFamily="18" charset="77"/>
              </a:rPr>
              <a:t>1</a:t>
            </a:r>
          </a:p>
        </p:txBody>
      </p:sp>
      <p:sp>
        <p:nvSpPr>
          <p:cNvPr id="3" name="Text Placeholder 2">
            <a:extLst>
              <a:ext uri="{FF2B5EF4-FFF2-40B4-BE49-F238E27FC236}">
                <a16:creationId xmlns:a16="http://schemas.microsoft.com/office/drawing/2014/main" id="{479BF544-110C-B2FE-EBA6-0D2BC1E5F373}"/>
              </a:ext>
            </a:extLst>
          </p:cNvPr>
          <p:cNvSpPr>
            <a:spLocks noGrp="1"/>
          </p:cNvSpPr>
          <p:nvPr>
            <p:ph type="body" sz="quarter" idx="18"/>
          </p:nvPr>
        </p:nvSpPr>
        <p:spPr>
          <a:xfrm>
            <a:off x="914852" y="2311121"/>
            <a:ext cx="10362296" cy="2021401"/>
          </a:xfrm>
        </p:spPr>
        <p:txBody>
          <a:bodyPr lIns="91440" tIns="45720" rIns="91440" bIns="45720" anchor="ctr"/>
          <a:lstStyle/>
          <a:p>
            <a:pPr>
              <a:lnSpc>
                <a:spcPts val="5000"/>
              </a:lnSpc>
            </a:pPr>
            <a:r>
              <a:rPr lang="en-GB">
                <a:latin typeface="Avenir Next LT Pro"/>
              </a:rPr>
              <a:t>Happiness Anywhere team</a:t>
            </a:r>
          </a:p>
        </p:txBody>
      </p:sp>
    </p:spTree>
    <p:extLst>
      <p:ext uri="{BB962C8B-B14F-4D97-AF65-F5344CB8AC3E}">
        <p14:creationId xmlns:p14="http://schemas.microsoft.com/office/powerpoint/2010/main" val="30709963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837D7013-8B7E-49FB-CC41-EB386818A935}"/>
              </a:ext>
            </a:extLst>
          </p:cNvPr>
          <p:cNvSpPr txBox="1">
            <a:spLocks/>
          </p:cNvSpPr>
          <p:nvPr/>
        </p:nvSpPr>
        <p:spPr>
          <a:xfrm>
            <a:off x="437390" y="300101"/>
            <a:ext cx="5363564" cy="228026"/>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spcAft>
                <a:spcPts val="0"/>
              </a:spcAft>
              <a:buClrTx/>
              <a:buSzTx/>
              <a:tabLst/>
              <a:defRPr/>
            </a:pPr>
            <a:r>
              <a:rPr lang="en-GB">
                <a:solidFill>
                  <a:srgbClr val="7B818B"/>
                </a:solidFill>
                <a:latin typeface="AvenirNext LT Pro Bold" panose="020B0504020202020204" pitchFamily="34" charset="77"/>
              </a:rPr>
              <a:t>TEAM SET UP</a:t>
            </a:r>
          </a:p>
        </p:txBody>
      </p:sp>
      <p:cxnSp>
        <p:nvCxnSpPr>
          <p:cNvPr id="3" name="Straight Connector 5">
            <a:extLst>
              <a:ext uri="{FF2B5EF4-FFF2-40B4-BE49-F238E27FC236}">
                <a16:creationId xmlns:a16="http://schemas.microsoft.com/office/drawing/2014/main" id="{BED3221A-F29E-43E5-6A28-08F770D7720E}"/>
              </a:ext>
            </a:extLst>
          </p:cNvPr>
          <p:cNvCxnSpPr>
            <a:cxnSpLocks/>
          </p:cNvCxnSpPr>
          <p:nvPr/>
        </p:nvCxnSpPr>
        <p:spPr>
          <a:xfrm>
            <a:off x="437390" y="546308"/>
            <a:ext cx="1860642" cy="0"/>
          </a:xfrm>
          <a:prstGeom prst="line">
            <a:avLst/>
          </a:prstGeom>
          <a:noFill/>
          <a:ln w="12700" cap="flat" cmpd="sng" algn="ctr">
            <a:solidFill>
              <a:srgbClr val="DCCF7F"/>
            </a:solidFill>
            <a:prstDash val="solid"/>
            <a:miter lim="800000"/>
          </a:ln>
          <a:effectLst/>
        </p:spPr>
      </p:cxnSp>
      <p:sp>
        <p:nvSpPr>
          <p:cNvPr id="5" name="Subtitle 2">
            <a:extLst>
              <a:ext uri="{FF2B5EF4-FFF2-40B4-BE49-F238E27FC236}">
                <a16:creationId xmlns:a16="http://schemas.microsoft.com/office/drawing/2014/main" id="{499001B5-4516-A57F-3529-3998361D5D54}"/>
              </a:ext>
            </a:extLst>
          </p:cNvPr>
          <p:cNvSpPr txBox="1">
            <a:spLocks/>
          </p:cNvSpPr>
          <p:nvPr/>
        </p:nvSpPr>
        <p:spPr>
          <a:xfrm>
            <a:off x="1524001" y="1311237"/>
            <a:ext cx="9144000" cy="1346200"/>
          </a:xfrm>
          <a:prstGeom prst="rect">
            <a:avLst/>
          </a:prstGeom>
          <a:noFill/>
          <a:ln>
            <a:solidFill>
              <a:srgbClr val="B89B57"/>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solidFill>
                <a:srgbClr val="7B818B"/>
              </a:solidFill>
              <a:latin typeface="Avenir Next LT Pro" panose="020B0504020202020204" pitchFamily="34" charset="77"/>
            </a:endParaRPr>
          </a:p>
          <a:p>
            <a:pPr marL="0" indent="0" algn="ctr">
              <a:buNone/>
            </a:pPr>
            <a:r>
              <a:rPr lang="nl-NL" sz="1700">
                <a:solidFill>
                  <a:srgbClr val="7B818B"/>
                </a:solidFill>
                <a:latin typeface="Avenir Next LT Pro" panose="020B0504020202020204" pitchFamily="34" charset="77"/>
              </a:rPr>
              <a:t>Eindverantwoordelijk voor al het werk (brand </a:t>
            </a:r>
            <a:r>
              <a:rPr lang="nl-NL" sz="1700" err="1">
                <a:solidFill>
                  <a:srgbClr val="7B818B"/>
                </a:solidFill>
                <a:latin typeface="Avenir Next LT Pro" panose="020B0504020202020204" pitchFamily="34" charset="77"/>
              </a:rPr>
              <a:t>strategy</a:t>
            </a:r>
            <a:r>
              <a:rPr lang="nl-NL" sz="1700">
                <a:solidFill>
                  <a:srgbClr val="7B818B"/>
                </a:solidFill>
                <a:latin typeface="Avenir Next LT Pro" panose="020B0504020202020204" pitchFamily="34" charset="77"/>
              </a:rPr>
              <a:t>, campagne ontwikkeling, </a:t>
            </a:r>
            <a:r>
              <a:rPr lang="nl-NL" sz="1700" err="1">
                <a:solidFill>
                  <a:srgbClr val="7B818B"/>
                </a:solidFill>
                <a:latin typeface="Avenir Next LT Pro" panose="020B0504020202020204" pitchFamily="34" charset="77"/>
              </a:rPr>
              <a:t>key</a:t>
            </a:r>
            <a:r>
              <a:rPr lang="nl-NL" sz="1700">
                <a:solidFill>
                  <a:srgbClr val="7B818B"/>
                </a:solidFill>
                <a:latin typeface="Avenir Next LT Pro" panose="020B0504020202020204" pitchFamily="34" charset="77"/>
              </a:rPr>
              <a:t> assets development &amp; productie, overzien en aansturen alle markten)</a:t>
            </a:r>
          </a:p>
          <a:p>
            <a:endParaRPr lang="nl-NL">
              <a:solidFill>
                <a:srgbClr val="7B818B"/>
              </a:solidFill>
              <a:latin typeface="Avenir Next LT Pro" panose="020B0504020202020204" pitchFamily="34" charset="77"/>
            </a:endParaRPr>
          </a:p>
        </p:txBody>
      </p:sp>
      <p:sp>
        <p:nvSpPr>
          <p:cNvPr id="6" name="Subtitle 2">
            <a:extLst>
              <a:ext uri="{FF2B5EF4-FFF2-40B4-BE49-F238E27FC236}">
                <a16:creationId xmlns:a16="http://schemas.microsoft.com/office/drawing/2014/main" id="{BDB230E4-EFC8-CA0A-80AF-90F89D8BA816}"/>
              </a:ext>
            </a:extLst>
          </p:cNvPr>
          <p:cNvSpPr txBox="1">
            <a:spLocks/>
          </p:cNvSpPr>
          <p:nvPr/>
        </p:nvSpPr>
        <p:spPr>
          <a:xfrm>
            <a:off x="1522069" y="3803802"/>
            <a:ext cx="9144000" cy="1819533"/>
          </a:xfrm>
          <a:prstGeom prst="rect">
            <a:avLst/>
          </a:prstGeom>
          <a:noFill/>
          <a:ln>
            <a:solidFill>
              <a:srgbClr val="B89B57"/>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nl-NL" sz="1600">
                <a:solidFill>
                  <a:srgbClr val="7B818B"/>
                </a:solidFill>
                <a:latin typeface="Avenir Next LT Pro"/>
              </a:rPr>
              <a:t>DAY TO DAY TEAM NEDERLAND &amp; BELGIE</a:t>
            </a:r>
          </a:p>
          <a:p>
            <a:r>
              <a:rPr lang="nl-NL" sz="1600">
                <a:solidFill>
                  <a:srgbClr val="7B818B"/>
                </a:solidFill>
                <a:latin typeface="Avenir Next LT Pro"/>
              </a:rPr>
              <a:t>Verantwoordelijk voor alle uitwerking &amp; productie in Nederland &amp; België – in 3 talen:</a:t>
            </a:r>
            <a:br>
              <a:rPr lang="nl-NL" sz="1600">
                <a:latin typeface="Avenir Next LT Pro" panose="020B0504020202020204" pitchFamily="34" charset="77"/>
              </a:rPr>
            </a:br>
            <a:r>
              <a:rPr lang="nl-NL" sz="1600">
                <a:solidFill>
                  <a:srgbClr val="7B818B"/>
                </a:solidFill>
                <a:latin typeface="Avenir Next LT Pro"/>
              </a:rPr>
              <a:t>Nederlands, Frans, Vlaams</a:t>
            </a:r>
          </a:p>
          <a:p>
            <a:endParaRPr lang="nl-NL" sz="1600">
              <a:solidFill>
                <a:srgbClr val="7B818B"/>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6C3F5200-92C0-4A53-3BC4-0278C3118800}"/>
              </a:ext>
            </a:extLst>
          </p:cNvPr>
          <p:cNvSpPr/>
          <p:nvPr/>
        </p:nvSpPr>
        <p:spPr>
          <a:xfrm>
            <a:off x="1522069" y="3443469"/>
            <a:ext cx="9144000" cy="369332"/>
          </a:xfrm>
          <a:prstGeom prst="rect">
            <a:avLst/>
          </a:prstGeom>
          <a:solidFill>
            <a:srgbClr val="B89B57"/>
          </a:solidFill>
          <a:ln>
            <a:solidFill>
              <a:srgbClr val="B89B57"/>
            </a:solidFill>
          </a:ln>
        </p:spPr>
        <p:txBody>
          <a:bodyPr wrap="square" lIns="91440" tIns="45720" rIns="91440" bIns="45720" rtlCol="0" anchor="t">
            <a:spAutoFit/>
          </a:bodyPr>
          <a:lstStyle/>
          <a:p>
            <a:pPr algn="ctr"/>
            <a:r>
              <a:rPr lang="en-GB">
                <a:solidFill>
                  <a:schemeClr val="bg1"/>
                </a:solidFill>
                <a:latin typeface="Avenir Next LT Pro"/>
              </a:rPr>
              <a:t>EXECUTIE TEAM NEDERLAND &amp; BELGIE (LUX &amp; BE)</a:t>
            </a:r>
          </a:p>
        </p:txBody>
      </p:sp>
      <p:sp>
        <p:nvSpPr>
          <p:cNvPr id="8" name="TextBox 7">
            <a:extLst>
              <a:ext uri="{FF2B5EF4-FFF2-40B4-BE49-F238E27FC236}">
                <a16:creationId xmlns:a16="http://schemas.microsoft.com/office/drawing/2014/main" id="{C22DC415-13F3-C77E-3DA9-A0A9C6B94935}"/>
              </a:ext>
            </a:extLst>
          </p:cNvPr>
          <p:cNvSpPr txBox="1"/>
          <p:nvPr/>
        </p:nvSpPr>
        <p:spPr>
          <a:xfrm>
            <a:off x="1523999" y="1290008"/>
            <a:ext cx="9144001" cy="369332"/>
          </a:xfrm>
          <a:prstGeom prst="rect">
            <a:avLst/>
          </a:prstGeom>
          <a:solidFill>
            <a:srgbClr val="B89B57"/>
          </a:solidFill>
          <a:ln>
            <a:solidFill>
              <a:srgbClr val="B89B57"/>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800" u="none" strike="noStrike" kern="1200" cap="none" spc="0" normalizeH="0" baseline="0" noProof="0">
                <a:ln>
                  <a:noFill/>
                </a:ln>
                <a:solidFill>
                  <a:schemeClr val="bg1"/>
                </a:solidFill>
                <a:effectLst/>
                <a:uLnTx/>
                <a:uFillTx/>
                <a:latin typeface="Avenir Next LT Pro" panose="020B0504020202020204" pitchFamily="34" charset="77"/>
              </a:rPr>
              <a:t>CORE BRAND TEAM (HA &amp; HB) </a:t>
            </a:r>
          </a:p>
        </p:txBody>
      </p:sp>
      <p:sp>
        <p:nvSpPr>
          <p:cNvPr id="9" name="Up-down Arrow 8">
            <a:extLst>
              <a:ext uri="{FF2B5EF4-FFF2-40B4-BE49-F238E27FC236}">
                <a16:creationId xmlns:a16="http://schemas.microsoft.com/office/drawing/2014/main" id="{BD8DF42F-4E2F-E5B1-4AE0-B4A811BA0DC1}"/>
              </a:ext>
            </a:extLst>
          </p:cNvPr>
          <p:cNvSpPr/>
          <p:nvPr/>
        </p:nvSpPr>
        <p:spPr>
          <a:xfrm>
            <a:off x="5910261" y="2788679"/>
            <a:ext cx="367616" cy="487922"/>
          </a:xfrm>
          <a:prstGeom prst="upDownArrow">
            <a:avLst/>
          </a:prstGeom>
          <a:solidFill>
            <a:srgbClr val="7B81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7B818B"/>
              </a:solidFill>
              <a:latin typeface="Avenir Next LT Pro" panose="020B0504020202020204" pitchFamily="34" charset="77"/>
            </a:endParaRPr>
          </a:p>
        </p:txBody>
      </p:sp>
    </p:spTree>
    <p:extLst>
      <p:ext uri="{BB962C8B-B14F-4D97-AF65-F5344CB8AC3E}">
        <p14:creationId xmlns:p14="http://schemas.microsoft.com/office/powerpoint/2010/main" val="38537401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riangle 14">
            <a:extLst>
              <a:ext uri="{FF2B5EF4-FFF2-40B4-BE49-F238E27FC236}">
                <a16:creationId xmlns:a16="http://schemas.microsoft.com/office/drawing/2014/main" id="{C1BCD9A6-6AB7-B9C1-E871-63EBF79FF4C6}"/>
              </a:ext>
            </a:extLst>
          </p:cNvPr>
          <p:cNvSpPr/>
          <p:nvPr/>
        </p:nvSpPr>
        <p:spPr>
          <a:xfrm>
            <a:off x="3864429" y="1542011"/>
            <a:ext cx="4463143" cy="3773978"/>
          </a:xfrm>
          <a:prstGeom prst="triangle">
            <a:avLst/>
          </a:prstGeom>
          <a:noFill/>
          <a:ln w="38100">
            <a:solidFill>
              <a:srgbClr val="B89B5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u="none" strike="noStrike" kern="1200" cap="none" spc="0" normalizeH="0" baseline="0" noProof="0">
              <a:ln>
                <a:noFill/>
              </a:ln>
              <a:solidFill>
                <a:srgbClr val="7B818B"/>
              </a:solidFill>
              <a:effectLst/>
              <a:uLnTx/>
              <a:uFillTx/>
              <a:latin typeface="AvenirNext LT Pro Bold" panose="020B0504020202020204" pitchFamily="34" charset="77"/>
            </a:endParaRPr>
          </a:p>
        </p:txBody>
      </p:sp>
      <p:sp>
        <p:nvSpPr>
          <p:cNvPr id="16" name="Text Placeholder 3">
            <a:extLst>
              <a:ext uri="{FF2B5EF4-FFF2-40B4-BE49-F238E27FC236}">
                <a16:creationId xmlns:a16="http://schemas.microsoft.com/office/drawing/2014/main" id="{A886F7B5-1647-D94B-7200-14086A0A91D7}"/>
              </a:ext>
            </a:extLst>
          </p:cNvPr>
          <p:cNvSpPr txBox="1">
            <a:spLocks/>
          </p:cNvSpPr>
          <p:nvPr/>
        </p:nvSpPr>
        <p:spPr>
          <a:xfrm>
            <a:off x="4628421" y="1135085"/>
            <a:ext cx="2935158" cy="227501"/>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800" spc="300">
                <a:solidFill>
                  <a:srgbClr val="7B818B"/>
                </a:solidFill>
                <a:latin typeface="AvenirNext LT Pro Bold" panose="020B0504020202020204" pitchFamily="34" charset="77"/>
              </a:rPr>
              <a:t>CREATIVE</a:t>
            </a:r>
          </a:p>
        </p:txBody>
      </p:sp>
      <p:sp>
        <p:nvSpPr>
          <p:cNvPr id="17" name="Text Placeholder 3">
            <a:extLst>
              <a:ext uri="{FF2B5EF4-FFF2-40B4-BE49-F238E27FC236}">
                <a16:creationId xmlns:a16="http://schemas.microsoft.com/office/drawing/2014/main" id="{75593E4F-4AEB-45AF-49DE-70FA8F98F37F}"/>
              </a:ext>
            </a:extLst>
          </p:cNvPr>
          <p:cNvSpPr txBox="1">
            <a:spLocks/>
          </p:cNvSpPr>
          <p:nvPr/>
        </p:nvSpPr>
        <p:spPr>
          <a:xfrm>
            <a:off x="7489890" y="5495059"/>
            <a:ext cx="1675363" cy="227501"/>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800" spc="300">
                <a:solidFill>
                  <a:srgbClr val="7B818B"/>
                </a:solidFill>
                <a:latin typeface="AvenirNext LT Pro Bold" panose="020B0504020202020204" pitchFamily="34" charset="77"/>
              </a:rPr>
              <a:t>STRATEGY</a:t>
            </a:r>
          </a:p>
        </p:txBody>
      </p:sp>
      <p:sp>
        <p:nvSpPr>
          <p:cNvPr id="18" name="Text Placeholder 3">
            <a:extLst>
              <a:ext uri="{FF2B5EF4-FFF2-40B4-BE49-F238E27FC236}">
                <a16:creationId xmlns:a16="http://schemas.microsoft.com/office/drawing/2014/main" id="{6DFEC8E2-CC71-12F5-FF62-6F4E93D84C3B}"/>
              </a:ext>
            </a:extLst>
          </p:cNvPr>
          <p:cNvSpPr txBox="1">
            <a:spLocks/>
          </p:cNvSpPr>
          <p:nvPr/>
        </p:nvSpPr>
        <p:spPr>
          <a:xfrm>
            <a:off x="3026747" y="5495058"/>
            <a:ext cx="1675363" cy="227501"/>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800" spc="300">
                <a:solidFill>
                  <a:srgbClr val="7B818B"/>
                </a:solidFill>
                <a:latin typeface="AvenirNext LT Pro Bold" panose="020B0504020202020204" pitchFamily="34" charset="77"/>
              </a:rPr>
              <a:t>BUSINESS</a:t>
            </a:r>
          </a:p>
        </p:txBody>
      </p:sp>
      <p:sp>
        <p:nvSpPr>
          <p:cNvPr id="19" name="TextBox 18">
            <a:extLst>
              <a:ext uri="{FF2B5EF4-FFF2-40B4-BE49-F238E27FC236}">
                <a16:creationId xmlns:a16="http://schemas.microsoft.com/office/drawing/2014/main" id="{656EC1F5-5719-B2EE-36CD-A3D77BCD4F83}"/>
              </a:ext>
            </a:extLst>
          </p:cNvPr>
          <p:cNvSpPr txBox="1"/>
          <p:nvPr/>
        </p:nvSpPr>
        <p:spPr>
          <a:xfrm>
            <a:off x="5165616" y="3809568"/>
            <a:ext cx="1860766"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2400" u="none" strike="noStrike" kern="1200" cap="none" spc="0" normalizeH="0" baseline="0" noProof="0">
                <a:ln>
                  <a:noFill/>
                </a:ln>
                <a:solidFill>
                  <a:srgbClr val="7B818B"/>
                </a:solidFill>
                <a:effectLst/>
                <a:uLnTx/>
                <a:uFillTx/>
                <a:latin typeface="AvenirNext LT Pro Bold" panose="020B0504020202020204" pitchFamily="34" charset="77"/>
              </a:rPr>
              <a:t>Creati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2400" u="none" strike="noStrike" kern="1200" cap="none" spc="0" normalizeH="0" baseline="0" noProof="0">
                <a:ln>
                  <a:noFill/>
                </a:ln>
                <a:solidFill>
                  <a:srgbClr val="7B818B"/>
                </a:solidFill>
                <a:effectLst/>
                <a:uLnTx/>
                <a:uFillTx/>
                <a:latin typeface="AvenirNext LT Pro Bold" panose="020B0504020202020204" pitchFamily="34" charset="77"/>
              </a:rPr>
              <a:t>Management</a:t>
            </a:r>
          </a:p>
        </p:txBody>
      </p:sp>
      <p:pic>
        <p:nvPicPr>
          <p:cNvPr id="20" name="joey and nik.jpeg">
            <a:extLst>
              <a:ext uri="{FF2B5EF4-FFF2-40B4-BE49-F238E27FC236}">
                <a16:creationId xmlns:a16="http://schemas.microsoft.com/office/drawing/2014/main" id="{AC26C4C9-5BBD-9EF3-E3C2-0C6BC6FAD2F5}"/>
              </a:ext>
            </a:extLst>
          </p:cNvPr>
          <p:cNvPicPr>
            <a:picLocks/>
          </p:cNvPicPr>
          <p:nvPr/>
        </p:nvPicPr>
        <p:blipFill>
          <a:blip r:embed="rId2" cstate="screen">
            <a:extLst>
              <a:ext uri="{28A0092B-C50C-407E-A947-70E740481C1C}">
                <a14:useLocalDpi xmlns:a14="http://schemas.microsoft.com/office/drawing/2010/main"/>
              </a:ext>
            </a:extLst>
          </a:blip>
          <a:srcRect/>
          <a:stretch/>
        </p:blipFill>
        <p:spPr>
          <a:xfrm>
            <a:off x="7356186" y="583661"/>
            <a:ext cx="1260000" cy="1260000"/>
          </a:xfrm>
          <a:prstGeom prst="ellipse">
            <a:avLst/>
          </a:prstGeom>
          <a:noFill/>
          <a:ln>
            <a:noFill/>
          </a:ln>
        </p:spPr>
      </p:pic>
      <p:pic>
        <p:nvPicPr>
          <p:cNvPr id="22" name="joey and nik.jpeg">
            <a:extLst>
              <a:ext uri="{FF2B5EF4-FFF2-40B4-BE49-F238E27FC236}">
                <a16:creationId xmlns:a16="http://schemas.microsoft.com/office/drawing/2014/main" id="{820B64CC-F863-40DB-5115-18890545746C}"/>
              </a:ext>
            </a:extLst>
          </p:cNvPr>
          <p:cNvPicPr>
            <a:picLocks/>
          </p:cNvPicPr>
          <p:nvPr/>
        </p:nvPicPr>
        <p:blipFill>
          <a:blip r:embed="rId3" cstate="screen">
            <a:extLst>
              <a:ext uri="{28A0092B-C50C-407E-A947-70E740481C1C}">
                <a14:useLocalDpi xmlns:a14="http://schemas.microsoft.com/office/drawing/2010/main"/>
              </a:ext>
            </a:extLst>
          </a:blip>
          <a:srcRect/>
          <a:stretch/>
        </p:blipFill>
        <p:spPr>
          <a:xfrm>
            <a:off x="9233685" y="3429000"/>
            <a:ext cx="1260000" cy="1260000"/>
          </a:xfrm>
          <a:prstGeom prst="ellipse">
            <a:avLst/>
          </a:prstGeom>
          <a:noFill/>
          <a:ln>
            <a:noFill/>
          </a:ln>
        </p:spPr>
      </p:pic>
      <p:pic>
        <p:nvPicPr>
          <p:cNvPr id="23" name="Picture Placeholder 20">
            <a:extLst>
              <a:ext uri="{FF2B5EF4-FFF2-40B4-BE49-F238E27FC236}">
                <a16:creationId xmlns:a16="http://schemas.microsoft.com/office/drawing/2014/main" id="{E504F343-3E97-A328-0469-CE0809F35BD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519886" y="1295152"/>
            <a:ext cx="1260000" cy="1259919"/>
          </a:xfrm>
          <a:prstGeom prst="ellipse">
            <a:avLst/>
          </a:prstGeom>
          <a:noFill/>
          <a:ln>
            <a:noFill/>
          </a:ln>
        </p:spPr>
      </p:pic>
      <p:sp>
        <p:nvSpPr>
          <p:cNvPr id="24" name="TextBox 23">
            <a:extLst>
              <a:ext uri="{FF2B5EF4-FFF2-40B4-BE49-F238E27FC236}">
                <a16:creationId xmlns:a16="http://schemas.microsoft.com/office/drawing/2014/main" id="{A7B806A3-B086-2B70-6094-CE7E2D7E7D40}"/>
              </a:ext>
            </a:extLst>
          </p:cNvPr>
          <p:cNvSpPr txBox="1"/>
          <p:nvPr/>
        </p:nvSpPr>
        <p:spPr>
          <a:xfrm>
            <a:off x="8745161" y="1903617"/>
            <a:ext cx="2238897" cy="276999"/>
          </a:xfrm>
          <a:prstGeom prst="rect">
            <a:avLst/>
          </a:prstGeom>
          <a:noFill/>
        </p:spPr>
        <p:txBody>
          <a:bodyPr wrap="square">
            <a:spAutoFit/>
          </a:bodyPr>
          <a:lstStyle/>
          <a:p>
            <a:pPr algn="ctr"/>
            <a:r>
              <a:rPr lang="en-NL" sz="1200" spc="300">
                <a:solidFill>
                  <a:srgbClr val="7B818B"/>
                </a:solidFill>
                <a:latin typeface="AvenirNext LT Pro Bold" panose="020B0504020202020204" pitchFamily="34" charset="77"/>
              </a:rPr>
              <a:t>NIK SLUIJS</a:t>
            </a:r>
          </a:p>
        </p:txBody>
      </p:sp>
      <p:sp>
        <p:nvSpPr>
          <p:cNvPr id="25" name="TextBox 24">
            <a:extLst>
              <a:ext uri="{FF2B5EF4-FFF2-40B4-BE49-F238E27FC236}">
                <a16:creationId xmlns:a16="http://schemas.microsoft.com/office/drawing/2014/main" id="{105C8F08-52E3-996C-5F1E-5CBF05A4FF6D}"/>
              </a:ext>
            </a:extLst>
          </p:cNvPr>
          <p:cNvSpPr txBox="1"/>
          <p:nvPr/>
        </p:nvSpPr>
        <p:spPr>
          <a:xfrm>
            <a:off x="6954391" y="1909089"/>
            <a:ext cx="2063590" cy="276999"/>
          </a:xfrm>
          <a:prstGeom prst="rect">
            <a:avLst/>
          </a:prstGeom>
          <a:noFill/>
        </p:spPr>
        <p:txBody>
          <a:bodyPr wrap="square">
            <a:spAutoFit/>
          </a:bodyPr>
          <a:lstStyle/>
          <a:p>
            <a:pPr algn="ctr"/>
            <a:r>
              <a:rPr lang="en-GB" sz="1200" spc="300">
                <a:solidFill>
                  <a:srgbClr val="7B818B"/>
                </a:solidFill>
                <a:latin typeface="AvenirNext LT Pro Bold" panose="020B0504020202020204" pitchFamily="34" charset="77"/>
              </a:rPr>
              <a:t>JOEY BOETERS</a:t>
            </a:r>
            <a:endParaRPr lang="en-NL" sz="1200" spc="300">
              <a:solidFill>
                <a:srgbClr val="7B818B"/>
              </a:solidFill>
              <a:latin typeface="AvenirNext LT Pro Bold" panose="020B0504020202020204" pitchFamily="34" charset="77"/>
            </a:endParaRPr>
          </a:p>
        </p:txBody>
      </p:sp>
      <p:sp>
        <p:nvSpPr>
          <p:cNvPr id="26" name="TextBox 25">
            <a:extLst>
              <a:ext uri="{FF2B5EF4-FFF2-40B4-BE49-F238E27FC236}">
                <a16:creationId xmlns:a16="http://schemas.microsoft.com/office/drawing/2014/main" id="{13044A23-CED8-286F-3CBA-9C76CF4B6908}"/>
              </a:ext>
            </a:extLst>
          </p:cNvPr>
          <p:cNvSpPr txBox="1"/>
          <p:nvPr/>
        </p:nvSpPr>
        <p:spPr>
          <a:xfrm>
            <a:off x="8860904" y="4789214"/>
            <a:ext cx="2005562" cy="276999"/>
          </a:xfrm>
          <a:prstGeom prst="rect">
            <a:avLst/>
          </a:prstGeom>
          <a:noFill/>
        </p:spPr>
        <p:txBody>
          <a:bodyPr wrap="square">
            <a:spAutoFit/>
          </a:bodyPr>
          <a:lstStyle/>
          <a:p>
            <a:pPr algn="ctr"/>
            <a:r>
              <a:rPr lang="en-GB" sz="1200" spc="300">
                <a:solidFill>
                  <a:srgbClr val="7B818B"/>
                </a:solidFill>
                <a:latin typeface="AvenirNext LT Pro Bold" panose="020B0504020202020204" pitchFamily="34" charset="77"/>
              </a:rPr>
              <a:t>DAAN DE RAAF</a:t>
            </a:r>
            <a:endParaRPr lang="en-NL" sz="1200" spc="300">
              <a:solidFill>
                <a:srgbClr val="7B818B"/>
              </a:solidFill>
              <a:latin typeface="AvenirNext LT Pro Bold" panose="020B0504020202020204" pitchFamily="34" charset="77"/>
            </a:endParaRPr>
          </a:p>
        </p:txBody>
      </p:sp>
      <p:sp>
        <p:nvSpPr>
          <p:cNvPr id="27" name="TextBox 26">
            <a:extLst>
              <a:ext uri="{FF2B5EF4-FFF2-40B4-BE49-F238E27FC236}">
                <a16:creationId xmlns:a16="http://schemas.microsoft.com/office/drawing/2014/main" id="{824F1C84-7629-4590-3EB0-1E813FEF4C89}"/>
              </a:ext>
            </a:extLst>
          </p:cNvPr>
          <p:cNvSpPr txBox="1"/>
          <p:nvPr/>
        </p:nvSpPr>
        <p:spPr>
          <a:xfrm>
            <a:off x="1222892" y="2655946"/>
            <a:ext cx="1853988" cy="276999"/>
          </a:xfrm>
          <a:prstGeom prst="rect">
            <a:avLst/>
          </a:prstGeom>
          <a:noFill/>
        </p:spPr>
        <p:txBody>
          <a:bodyPr wrap="square">
            <a:spAutoFit/>
          </a:bodyPr>
          <a:lstStyle/>
          <a:p>
            <a:pPr algn="ctr"/>
            <a:r>
              <a:rPr lang="en-NL" sz="1200" spc="300">
                <a:solidFill>
                  <a:srgbClr val="7B818B"/>
                </a:solidFill>
                <a:latin typeface="AvenirNext LT Pro Bold" panose="020B0504020202020204" pitchFamily="34" charset="77"/>
              </a:rPr>
              <a:t>IRIS MINNEMA</a:t>
            </a:r>
          </a:p>
        </p:txBody>
      </p:sp>
      <p:sp>
        <p:nvSpPr>
          <p:cNvPr id="28" name="TextBox 27">
            <a:extLst>
              <a:ext uri="{FF2B5EF4-FFF2-40B4-BE49-F238E27FC236}">
                <a16:creationId xmlns:a16="http://schemas.microsoft.com/office/drawing/2014/main" id="{A8247EAB-BD47-A97D-4DA2-D4F5335B65C8}"/>
              </a:ext>
            </a:extLst>
          </p:cNvPr>
          <p:cNvSpPr txBox="1"/>
          <p:nvPr/>
        </p:nvSpPr>
        <p:spPr>
          <a:xfrm>
            <a:off x="9082485" y="2285677"/>
            <a:ext cx="1562400" cy="830997"/>
          </a:xfrm>
          <a:prstGeom prst="rect">
            <a:avLst/>
          </a:prstGeom>
          <a:noFill/>
        </p:spPr>
        <p:txBody>
          <a:bodyPr wrap="square">
            <a:spAutoFit/>
          </a:bodyPr>
          <a:lstStyle/>
          <a:p>
            <a:pPr algn="ctr"/>
            <a:r>
              <a:rPr lang="en-GB" sz="1200">
                <a:solidFill>
                  <a:srgbClr val="7B818B"/>
                </a:solidFill>
                <a:latin typeface="AvenirNext LT Pro Bold" panose="020B0504020202020204" pitchFamily="34" charset="77"/>
              </a:rPr>
              <a:t>Creative Director</a:t>
            </a:r>
          </a:p>
          <a:p>
            <a:pPr algn="ctr"/>
            <a:r>
              <a:rPr lang="en-GB" sz="1200">
                <a:solidFill>
                  <a:srgbClr val="7B818B"/>
                </a:solidFill>
                <a:latin typeface="AvenirNext LT Pro Bold" panose="020B0504020202020204" pitchFamily="34" charset="77"/>
              </a:rPr>
              <a:t>&amp; Co-founder Amsterdam</a:t>
            </a:r>
            <a:endParaRPr lang="en-NL" sz="1200">
              <a:solidFill>
                <a:srgbClr val="7B818B"/>
              </a:solidFill>
              <a:latin typeface="AvenirNext LT Pro Bold" panose="020B0504020202020204" pitchFamily="34" charset="77"/>
            </a:endParaRPr>
          </a:p>
          <a:p>
            <a:pPr algn="ctr"/>
            <a:endParaRPr lang="en-GB" sz="1200">
              <a:solidFill>
                <a:srgbClr val="7B818B"/>
              </a:solidFill>
              <a:latin typeface="AvenirNext LT Pro Bold" panose="020B0504020202020204" pitchFamily="34" charset="77"/>
            </a:endParaRPr>
          </a:p>
        </p:txBody>
      </p:sp>
      <p:sp>
        <p:nvSpPr>
          <p:cNvPr id="29" name="TextBox 28">
            <a:extLst>
              <a:ext uri="{FF2B5EF4-FFF2-40B4-BE49-F238E27FC236}">
                <a16:creationId xmlns:a16="http://schemas.microsoft.com/office/drawing/2014/main" id="{46A13A11-7533-0AA4-1319-B74BA368E368}"/>
              </a:ext>
            </a:extLst>
          </p:cNvPr>
          <p:cNvSpPr txBox="1"/>
          <p:nvPr/>
        </p:nvSpPr>
        <p:spPr>
          <a:xfrm>
            <a:off x="7204987" y="2287490"/>
            <a:ext cx="1562399" cy="646331"/>
          </a:xfrm>
          <a:prstGeom prst="rect">
            <a:avLst/>
          </a:prstGeom>
          <a:noFill/>
        </p:spPr>
        <p:txBody>
          <a:bodyPr wrap="square">
            <a:spAutoFit/>
          </a:bodyPr>
          <a:lstStyle/>
          <a:p>
            <a:pPr algn="ctr"/>
            <a:r>
              <a:rPr lang="en-GB" sz="1200">
                <a:solidFill>
                  <a:srgbClr val="7B818B"/>
                </a:solidFill>
                <a:latin typeface="AvenirNext LT Pro Bold" panose="020B0504020202020204" pitchFamily="34" charset="77"/>
              </a:rPr>
              <a:t>Creative partner</a:t>
            </a:r>
          </a:p>
          <a:p>
            <a:pPr algn="ctr"/>
            <a:r>
              <a:rPr lang="en-GB" sz="1200">
                <a:solidFill>
                  <a:srgbClr val="7B818B"/>
                </a:solidFill>
                <a:latin typeface="AvenirNext LT Pro Bold" panose="020B0504020202020204" pitchFamily="34" charset="77"/>
              </a:rPr>
              <a:t>&amp; Co-founder Amsterdam</a:t>
            </a:r>
            <a:endParaRPr lang="en-NL" sz="1200">
              <a:solidFill>
                <a:srgbClr val="7B818B"/>
              </a:solidFill>
              <a:latin typeface="AvenirNext LT Pro Bold" panose="020B0504020202020204" pitchFamily="34" charset="77"/>
            </a:endParaRPr>
          </a:p>
        </p:txBody>
      </p:sp>
      <p:sp>
        <p:nvSpPr>
          <p:cNvPr id="30" name="TextBox 29">
            <a:extLst>
              <a:ext uri="{FF2B5EF4-FFF2-40B4-BE49-F238E27FC236}">
                <a16:creationId xmlns:a16="http://schemas.microsoft.com/office/drawing/2014/main" id="{67B85753-0E4A-9E30-D2D1-28FF55DE9AFB}"/>
              </a:ext>
            </a:extLst>
          </p:cNvPr>
          <p:cNvSpPr txBox="1"/>
          <p:nvPr/>
        </p:nvSpPr>
        <p:spPr>
          <a:xfrm>
            <a:off x="9082486" y="5108562"/>
            <a:ext cx="1562399" cy="646331"/>
          </a:xfrm>
          <a:prstGeom prst="rect">
            <a:avLst/>
          </a:prstGeom>
          <a:noFill/>
        </p:spPr>
        <p:txBody>
          <a:bodyPr wrap="square">
            <a:spAutoFit/>
          </a:bodyPr>
          <a:lstStyle/>
          <a:p>
            <a:pPr algn="ctr"/>
            <a:r>
              <a:rPr lang="en-GB" sz="1200">
                <a:solidFill>
                  <a:srgbClr val="7B818B"/>
                </a:solidFill>
                <a:latin typeface="AvenirNext LT Pro Bold" panose="020B0504020202020204" pitchFamily="34" charset="77"/>
              </a:rPr>
              <a:t>Strategy partner</a:t>
            </a:r>
          </a:p>
          <a:p>
            <a:pPr algn="ctr"/>
            <a:r>
              <a:rPr lang="en-GB" sz="1200">
                <a:solidFill>
                  <a:srgbClr val="7B818B"/>
                </a:solidFill>
                <a:latin typeface="AvenirNext LT Pro Bold" panose="020B0504020202020204" pitchFamily="34" charset="77"/>
              </a:rPr>
              <a:t>&amp; Co-founder Amsterdam</a:t>
            </a:r>
            <a:endParaRPr lang="en-NL" sz="1200">
              <a:solidFill>
                <a:srgbClr val="7B818B"/>
              </a:solidFill>
              <a:latin typeface="AvenirNext LT Pro Bold" panose="020B0504020202020204" pitchFamily="34" charset="77"/>
            </a:endParaRPr>
          </a:p>
        </p:txBody>
      </p:sp>
      <p:sp>
        <p:nvSpPr>
          <p:cNvPr id="31" name="TextBox 30">
            <a:extLst>
              <a:ext uri="{FF2B5EF4-FFF2-40B4-BE49-F238E27FC236}">
                <a16:creationId xmlns:a16="http://schemas.microsoft.com/office/drawing/2014/main" id="{5FF5DC7D-735B-0360-AB2F-54624382F425}"/>
              </a:ext>
            </a:extLst>
          </p:cNvPr>
          <p:cNvSpPr txBox="1"/>
          <p:nvPr/>
        </p:nvSpPr>
        <p:spPr>
          <a:xfrm>
            <a:off x="1368686" y="2945602"/>
            <a:ext cx="1562400" cy="646331"/>
          </a:xfrm>
          <a:prstGeom prst="rect">
            <a:avLst/>
          </a:prstGeom>
          <a:noFill/>
        </p:spPr>
        <p:txBody>
          <a:bodyPr wrap="square">
            <a:spAutoFit/>
          </a:bodyPr>
          <a:lstStyle/>
          <a:p>
            <a:pPr algn="ctr"/>
            <a:r>
              <a:rPr lang="en-GB" sz="1200">
                <a:solidFill>
                  <a:srgbClr val="7B818B"/>
                </a:solidFill>
                <a:latin typeface="AvenirNext LT Pro Bold" panose="020B0504020202020204" pitchFamily="34" charset="77"/>
              </a:rPr>
              <a:t>Business partner</a:t>
            </a:r>
          </a:p>
          <a:p>
            <a:pPr algn="ctr"/>
            <a:r>
              <a:rPr lang="en-GB" sz="1200">
                <a:solidFill>
                  <a:srgbClr val="7B818B"/>
                </a:solidFill>
                <a:latin typeface="AvenirNext LT Pro Bold" panose="020B0504020202020204" pitchFamily="34" charset="77"/>
              </a:rPr>
              <a:t>&amp; Co-founder Amsterdam</a:t>
            </a:r>
            <a:endParaRPr lang="en-NL" sz="1200">
              <a:solidFill>
                <a:srgbClr val="7B818B"/>
              </a:solidFill>
              <a:latin typeface="AvenirNext LT Pro Bold" panose="020B0504020202020204" pitchFamily="34" charset="77"/>
            </a:endParaRPr>
          </a:p>
        </p:txBody>
      </p:sp>
      <p:cxnSp>
        <p:nvCxnSpPr>
          <p:cNvPr id="32" name="Straight Connector 31">
            <a:extLst>
              <a:ext uri="{FF2B5EF4-FFF2-40B4-BE49-F238E27FC236}">
                <a16:creationId xmlns:a16="http://schemas.microsoft.com/office/drawing/2014/main" id="{5FEC04E8-1D7A-1A8B-40F5-AF8DAB303977}"/>
              </a:ext>
            </a:extLst>
          </p:cNvPr>
          <p:cNvCxnSpPr>
            <a:cxnSpLocks/>
          </p:cNvCxnSpPr>
          <p:nvPr/>
        </p:nvCxnSpPr>
        <p:spPr>
          <a:xfrm>
            <a:off x="1869611" y="2945602"/>
            <a:ext cx="560550" cy="0"/>
          </a:xfrm>
          <a:prstGeom prst="line">
            <a:avLst/>
          </a:prstGeom>
          <a:ln w="9525">
            <a:solidFill>
              <a:srgbClr val="00666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D7025AC-A658-4D19-F46C-611583609F3B}"/>
              </a:ext>
            </a:extLst>
          </p:cNvPr>
          <p:cNvCxnSpPr>
            <a:cxnSpLocks/>
          </p:cNvCxnSpPr>
          <p:nvPr/>
        </p:nvCxnSpPr>
        <p:spPr>
          <a:xfrm>
            <a:off x="9583410" y="5108562"/>
            <a:ext cx="560550" cy="0"/>
          </a:xfrm>
          <a:prstGeom prst="line">
            <a:avLst/>
          </a:prstGeom>
          <a:ln w="9525">
            <a:solidFill>
              <a:srgbClr val="00666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E0A59D7-DA07-9584-AE5C-94F87C6FF87D}"/>
              </a:ext>
            </a:extLst>
          </p:cNvPr>
          <p:cNvCxnSpPr>
            <a:cxnSpLocks/>
          </p:cNvCxnSpPr>
          <p:nvPr/>
        </p:nvCxnSpPr>
        <p:spPr>
          <a:xfrm>
            <a:off x="7705911" y="2227533"/>
            <a:ext cx="560550" cy="0"/>
          </a:xfrm>
          <a:prstGeom prst="line">
            <a:avLst/>
          </a:prstGeom>
          <a:ln w="9525">
            <a:solidFill>
              <a:srgbClr val="00666B"/>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123073-7B0E-5142-9C4E-2A0A0CEF6BA2}"/>
              </a:ext>
            </a:extLst>
          </p:cNvPr>
          <p:cNvCxnSpPr>
            <a:cxnSpLocks/>
          </p:cNvCxnSpPr>
          <p:nvPr/>
        </p:nvCxnSpPr>
        <p:spPr>
          <a:xfrm>
            <a:off x="9583410" y="2238291"/>
            <a:ext cx="560550" cy="0"/>
          </a:xfrm>
          <a:prstGeom prst="line">
            <a:avLst/>
          </a:prstGeom>
          <a:ln w="9525">
            <a:solidFill>
              <a:srgbClr val="00666B"/>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0A8FC21-CA2A-46A4-43C8-512C88E756DD}"/>
              </a:ext>
            </a:extLst>
          </p:cNvPr>
          <p:cNvSpPr txBox="1"/>
          <p:nvPr/>
        </p:nvSpPr>
        <p:spPr>
          <a:xfrm>
            <a:off x="1079580" y="5013228"/>
            <a:ext cx="2140612" cy="461665"/>
          </a:xfrm>
          <a:prstGeom prst="rect">
            <a:avLst/>
          </a:prstGeom>
          <a:noFill/>
        </p:spPr>
        <p:txBody>
          <a:bodyPr wrap="square">
            <a:spAutoFit/>
          </a:bodyPr>
          <a:lstStyle/>
          <a:p>
            <a:pPr algn="ctr"/>
            <a:r>
              <a:rPr lang="en-NL" sz="1200" spc="300">
                <a:latin typeface="AvenirNext LT Pro Bold" panose="020B0504020202020204" pitchFamily="34" charset="77"/>
              </a:rPr>
              <a:t>MATTIAS</a:t>
            </a:r>
          </a:p>
          <a:p>
            <a:pPr algn="ctr"/>
            <a:r>
              <a:rPr lang="en-NL" sz="1200" spc="300">
                <a:latin typeface="AvenirNext LT Pro Bold" panose="020B0504020202020204" pitchFamily="34" charset="77"/>
              </a:rPr>
              <a:t>VERMEIRE</a:t>
            </a:r>
          </a:p>
        </p:txBody>
      </p:sp>
      <p:cxnSp>
        <p:nvCxnSpPr>
          <p:cNvPr id="38" name="Straight Connector 37">
            <a:extLst>
              <a:ext uri="{FF2B5EF4-FFF2-40B4-BE49-F238E27FC236}">
                <a16:creationId xmlns:a16="http://schemas.microsoft.com/office/drawing/2014/main" id="{1CD08743-CF97-A1C9-B3CA-DABC19EAB1C4}"/>
              </a:ext>
            </a:extLst>
          </p:cNvPr>
          <p:cNvCxnSpPr>
            <a:cxnSpLocks/>
          </p:cNvCxnSpPr>
          <p:nvPr/>
        </p:nvCxnSpPr>
        <p:spPr>
          <a:xfrm>
            <a:off x="1869611" y="5485896"/>
            <a:ext cx="560550" cy="0"/>
          </a:xfrm>
          <a:prstGeom prst="line">
            <a:avLst/>
          </a:prstGeom>
          <a:ln w="9525">
            <a:solidFill>
              <a:srgbClr val="00666B"/>
            </a:solidFill>
          </a:ln>
        </p:spPr>
        <p:style>
          <a:lnRef idx="1">
            <a:schemeClr val="accent1"/>
          </a:lnRef>
          <a:fillRef idx="0">
            <a:schemeClr val="accent1"/>
          </a:fillRef>
          <a:effectRef idx="0">
            <a:schemeClr val="accent1"/>
          </a:effectRef>
          <a:fontRef idx="minor">
            <a:schemeClr val="tx1"/>
          </a:fontRef>
        </p:style>
      </p:cxnSp>
      <p:pic>
        <p:nvPicPr>
          <p:cNvPr id="2" name="Picture Placeholder 20">
            <a:extLst>
              <a:ext uri="{FF2B5EF4-FFF2-40B4-BE49-F238E27FC236}">
                <a16:creationId xmlns:a16="http://schemas.microsoft.com/office/drawing/2014/main" id="{F90CBD1A-8DBE-6075-AF6F-6197AAB609B2}"/>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9233685" y="620041"/>
            <a:ext cx="1260000" cy="1259919"/>
          </a:xfrm>
          <a:prstGeom prst="ellipse">
            <a:avLst/>
          </a:prstGeom>
          <a:ln>
            <a:noFill/>
          </a:ln>
        </p:spPr>
      </p:pic>
      <p:sp>
        <p:nvSpPr>
          <p:cNvPr id="3" name="TextBox 2">
            <a:extLst>
              <a:ext uri="{FF2B5EF4-FFF2-40B4-BE49-F238E27FC236}">
                <a16:creationId xmlns:a16="http://schemas.microsoft.com/office/drawing/2014/main" id="{B7E72A5D-3AD1-753E-3737-41516AA67DAA}"/>
              </a:ext>
            </a:extLst>
          </p:cNvPr>
          <p:cNvSpPr txBox="1"/>
          <p:nvPr/>
        </p:nvSpPr>
        <p:spPr>
          <a:xfrm>
            <a:off x="1231171" y="5506062"/>
            <a:ext cx="1795576" cy="830997"/>
          </a:xfrm>
          <a:prstGeom prst="rect">
            <a:avLst/>
          </a:prstGeom>
          <a:noFill/>
        </p:spPr>
        <p:txBody>
          <a:bodyPr wrap="square">
            <a:spAutoFit/>
          </a:bodyPr>
          <a:lstStyle/>
          <a:p>
            <a:pPr algn="ctr">
              <a:defRPr/>
            </a:pPr>
            <a:r>
              <a:rPr lang="en-GB" sz="1200">
                <a:solidFill>
                  <a:srgbClr val="7B818B"/>
                </a:solidFill>
                <a:latin typeface="AvenirNext LT Pro Bold" panose="020B0504020202020204" pitchFamily="34" charset="77"/>
              </a:rPr>
              <a:t>Business/Account Director</a:t>
            </a:r>
          </a:p>
          <a:p>
            <a:pPr algn="ctr">
              <a:defRPr/>
            </a:pPr>
            <a:r>
              <a:rPr lang="en-GB" sz="1200">
                <a:solidFill>
                  <a:srgbClr val="7B818B"/>
                </a:solidFill>
                <a:latin typeface="AvenirNext LT Pro Bold" panose="020B0504020202020204" pitchFamily="34" charset="77"/>
              </a:rPr>
              <a:t>Happiness Anywhere</a:t>
            </a:r>
          </a:p>
          <a:p>
            <a:pPr algn="ctr">
              <a:defRPr/>
            </a:pPr>
            <a:r>
              <a:rPr lang="en-GB" sz="1200">
                <a:solidFill>
                  <a:srgbClr val="7B818B"/>
                </a:solidFill>
                <a:latin typeface="AvenirNext LT Pro Bold" panose="020B0504020202020204" pitchFamily="34" charset="77"/>
              </a:rPr>
              <a:t>Brussel</a:t>
            </a:r>
            <a:endParaRPr lang="en-NL" sz="1200">
              <a:solidFill>
                <a:srgbClr val="7B818B"/>
              </a:solidFill>
              <a:latin typeface="AvenirNext LT Pro Bold" panose="020B0504020202020204" pitchFamily="34" charset="77"/>
            </a:endParaRPr>
          </a:p>
        </p:txBody>
      </p:sp>
      <p:pic>
        <p:nvPicPr>
          <p:cNvPr id="5" name="Picture Placeholder 8" descr="A person posing for the camera&#10;&#10;Description automatically generated">
            <a:extLst>
              <a:ext uri="{FF2B5EF4-FFF2-40B4-BE49-F238E27FC236}">
                <a16:creationId xmlns:a16="http://schemas.microsoft.com/office/drawing/2014/main" id="{F7E7148C-515A-7F57-6920-E97F7A2E97A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507636" y="3724240"/>
            <a:ext cx="1260081" cy="1260000"/>
          </a:xfrm>
          <a:prstGeom prst="ellipse">
            <a:avLst/>
          </a:prstGeom>
          <a:ln w="57150">
            <a:noFill/>
          </a:ln>
        </p:spPr>
      </p:pic>
      <p:sp>
        <p:nvSpPr>
          <p:cNvPr id="4" name="Text Placeholder 3">
            <a:extLst>
              <a:ext uri="{FF2B5EF4-FFF2-40B4-BE49-F238E27FC236}">
                <a16:creationId xmlns:a16="http://schemas.microsoft.com/office/drawing/2014/main" id="{6A0104BA-A695-F107-1A51-F0155B5EE7A0}"/>
              </a:ext>
            </a:extLst>
          </p:cNvPr>
          <p:cNvSpPr txBox="1">
            <a:spLocks/>
          </p:cNvSpPr>
          <p:nvPr/>
        </p:nvSpPr>
        <p:spPr>
          <a:xfrm>
            <a:off x="437390" y="300101"/>
            <a:ext cx="5363564" cy="228026"/>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spcAft>
                <a:spcPts val="0"/>
              </a:spcAft>
              <a:buClrTx/>
              <a:buSzTx/>
              <a:tabLst/>
              <a:defRPr/>
            </a:pPr>
            <a:r>
              <a:rPr lang="en-GB">
                <a:solidFill>
                  <a:srgbClr val="7B818B"/>
                </a:solidFill>
                <a:latin typeface="AvenirNext LT Pro Bold" panose="020B0504020202020204" pitchFamily="34" charset="77"/>
              </a:rPr>
              <a:t>TEAM SET UP</a:t>
            </a:r>
          </a:p>
        </p:txBody>
      </p:sp>
      <p:cxnSp>
        <p:nvCxnSpPr>
          <p:cNvPr id="6" name="Straight Connector 5">
            <a:extLst>
              <a:ext uri="{FF2B5EF4-FFF2-40B4-BE49-F238E27FC236}">
                <a16:creationId xmlns:a16="http://schemas.microsoft.com/office/drawing/2014/main" id="{2159F65F-F289-85FF-DD11-283DF33DE887}"/>
              </a:ext>
            </a:extLst>
          </p:cNvPr>
          <p:cNvCxnSpPr>
            <a:cxnSpLocks/>
          </p:cNvCxnSpPr>
          <p:nvPr/>
        </p:nvCxnSpPr>
        <p:spPr>
          <a:xfrm>
            <a:off x="437390" y="546308"/>
            <a:ext cx="1860642" cy="0"/>
          </a:xfrm>
          <a:prstGeom prst="line">
            <a:avLst/>
          </a:prstGeom>
          <a:noFill/>
          <a:ln w="12700" cap="flat" cmpd="sng" algn="ctr">
            <a:solidFill>
              <a:srgbClr val="DCCF7F"/>
            </a:solidFill>
            <a:prstDash val="solid"/>
            <a:miter lim="800000"/>
          </a:ln>
          <a:effectLst/>
        </p:spPr>
      </p:cxnSp>
    </p:spTree>
    <p:extLst>
      <p:ext uri="{BB962C8B-B14F-4D97-AF65-F5344CB8AC3E}">
        <p14:creationId xmlns:p14="http://schemas.microsoft.com/office/powerpoint/2010/main" val="10257742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Oval 42">
            <a:extLst>
              <a:ext uri="{FF2B5EF4-FFF2-40B4-BE49-F238E27FC236}">
                <a16:creationId xmlns:a16="http://schemas.microsoft.com/office/drawing/2014/main" id="{B3C126C1-003E-C46E-E2FD-EE36EBE8C7A0}"/>
              </a:ext>
            </a:extLst>
          </p:cNvPr>
          <p:cNvSpPr/>
          <p:nvPr/>
        </p:nvSpPr>
        <p:spPr>
          <a:xfrm>
            <a:off x="10811797" y="5219570"/>
            <a:ext cx="1267908" cy="152773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latin typeface="Avenir Next LT Pro" panose="020B0504020202020204" pitchFamily="34" charset="77"/>
            </a:endParaRPr>
          </a:p>
        </p:txBody>
      </p:sp>
      <p:sp>
        <p:nvSpPr>
          <p:cNvPr id="26" name="Text Placeholder 3">
            <a:extLst>
              <a:ext uri="{FF2B5EF4-FFF2-40B4-BE49-F238E27FC236}">
                <a16:creationId xmlns:a16="http://schemas.microsoft.com/office/drawing/2014/main" id="{94C5EE69-7490-DAE2-14E0-CF563B95DEC2}"/>
              </a:ext>
            </a:extLst>
          </p:cNvPr>
          <p:cNvSpPr txBox="1">
            <a:spLocks/>
          </p:cNvSpPr>
          <p:nvPr/>
        </p:nvSpPr>
        <p:spPr>
          <a:xfrm>
            <a:off x="1435253" y="744007"/>
            <a:ext cx="2935158" cy="227501"/>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spc="300">
                <a:gradFill>
                  <a:gsLst>
                    <a:gs pos="100000">
                      <a:srgbClr val="B89B57"/>
                    </a:gs>
                    <a:gs pos="0">
                      <a:srgbClr val="B89B57"/>
                    </a:gs>
                    <a:gs pos="50000">
                      <a:srgbClr val="DCD081"/>
                    </a:gs>
                  </a:gsLst>
                  <a:lin ang="2700000" scaled="1"/>
                </a:gradFill>
                <a:latin typeface="Avenir Next LT Pro" panose="020B0504020202020204" pitchFamily="34" charset="77"/>
              </a:rPr>
              <a:t>CREATIVE</a:t>
            </a:r>
          </a:p>
        </p:txBody>
      </p:sp>
      <p:pic>
        <p:nvPicPr>
          <p:cNvPr id="9" name="joey and nik.jpeg">
            <a:extLst>
              <a:ext uri="{FF2B5EF4-FFF2-40B4-BE49-F238E27FC236}">
                <a16:creationId xmlns:a16="http://schemas.microsoft.com/office/drawing/2014/main" id="{6C887B74-B65A-9919-14D5-C790803B5B6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50710" y="1294315"/>
            <a:ext cx="1123491" cy="1143173"/>
          </a:xfrm>
          <a:custGeom>
            <a:avLst/>
            <a:gdLst/>
            <a:ahLst/>
            <a:cxnLst>
              <a:cxn ang="0">
                <a:pos x="wd2" y="hd2"/>
              </a:cxn>
              <a:cxn ang="5400000">
                <a:pos x="wd2" y="hd2"/>
              </a:cxn>
              <a:cxn ang="10800000">
                <a:pos x="wd2" y="hd2"/>
              </a:cxn>
              <a:cxn ang="16200000">
                <a:pos x="wd2" y="hd2"/>
              </a:cxn>
            </a:cxnLst>
            <a:rect l="0" t="0" r="r" b="b"/>
            <a:pathLst>
              <a:path w="19679" h="20595" extrusionOk="0">
                <a:moveTo>
                  <a:pt x="9839" y="0"/>
                </a:moveTo>
                <a:cubicBezTo>
                  <a:pt x="7321" y="0"/>
                  <a:pt x="4803" y="1006"/>
                  <a:pt x="2882" y="3017"/>
                </a:cubicBezTo>
                <a:cubicBezTo>
                  <a:pt x="-961" y="7039"/>
                  <a:pt x="-961" y="13557"/>
                  <a:pt x="2882" y="17578"/>
                </a:cubicBezTo>
                <a:cubicBezTo>
                  <a:pt x="6724" y="21600"/>
                  <a:pt x="12954" y="21600"/>
                  <a:pt x="16796" y="17578"/>
                </a:cubicBezTo>
                <a:cubicBezTo>
                  <a:pt x="20639" y="13557"/>
                  <a:pt x="20639" y="7039"/>
                  <a:pt x="16796" y="3017"/>
                </a:cubicBezTo>
                <a:cubicBezTo>
                  <a:pt x="14875" y="1006"/>
                  <a:pt x="12357" y="0"/>
                  <a:pt x="9839" y="0"/>
                </a:cubicBezTo>
                <a:close/>
              </a:path>
            </a:pathLst>
          </a:custGeom>
          <a:ln w="12700">
            <a:miter lim="400000"/>
          </a:ln>
        </p:spPr>
      </p:pic>
      <p:pic>
        <p:nvPicPr>
          <p:cNvPr id="10" name="joey and nik.jpeg">
            <a:extLst>
              <a:ext uri="{FF2B5EF4-FFF2-40B4-BE49-F238E27FC236}">
                <a16:creationId xmlns:a16="http://schemas.microsoft.com/office/drawing/2014/main" id="{610E2BBA-F971-292E-8532-CEC4C332549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491123" y="1294316"/>
            <a:ext cx="1123490" cy="1143172"/>
          </a:xfrm>
          <a:custGeom>
            <a:avLst/>
            <a:gdLst/>
            <a:ahLst/>
            <a:cxnLst>
              <a:cxn ang="0">
                <a:pos x="wd2" y="hd2"/>
              </a:cxn>
              <a:cxn ang="5400000">
                <a:pos x="wd2" y="hd2"/>
              </a:cxn>
              <a:cxn ang="10800000">
                <a:pos x="wd2" y="hd2"/>
              </a:cxn>
              <a:cxn ang="16200000">
                <a:pos x="wd2" y="hd2"/>
              </a:cxn>
            </a:cxnLst>
            <a:rect l="0" t="0" r="r" b="b"/>
            <a:pathLst>
              <a:path w="19679" h="20595" extrusionOk="0">
                <a:moveTo>
                  <a:pt x="9839" y="0"/>
                </a:moveTo>
                <a:cubicBezTo>
                  <a:pt x="7321" y="0"/>
                  <a:pt x="4803" y="1006"/>
                  <a:pt x="2882" y="3017"/>
                </a:cubicBezTo>
                <a:cubicBezTo>
                  <a:pt x="-961" y="7039"/>
                  <a:pt x="-961" y="13557"/>
                  <a:pt x="2882" y="17578"/>
                </a:cubicBezTo>
                <a:cubicBezTo>
                  <a:pt x="6724" y="21600"/>
                  <a:pt x="12954" y="21600"/>
                  <a:pt x="16796" y="17578"/>
                </a:cubicBezTo>
                <a:cubicBezTo>
                  <a:pt x="20639" y="13557"/>
                  <a:pt x="20639" y="7039"/>
                  <a:pt x="16796" y="3017"/>
                </a:cubicBezTo>
                <a:cubicBezTo>
                  <a:pt x="14875" y="1006"/>
                  <a:pt x="12357" y="0"/>
                  <a:pt x="9839" y="0"/>
                </a:cubicBezTo>
                <a:close/>
              </a:path>
            </a:pathLst>
          </a:custGeom>
          <a:ln w="12700">
            <a:miter lim="400000"/>
          </a:ln>
        </p:spPr>
      </p:pic>
      <p:sp>
        <p:nvSpPr>
          <p:cNvPr id="15" name="TextBox 14">
            <a:extLst>
              <a:ext uri="{FF2B5EF4-FFF2-40B4-BE49-F238E27FC236}">
                <a16:creationId xmlns:a16="http://schemas.microsoft.com/office/drawing/2014/main" id="{54042CAC-E222-0330-57F5-06E3B6124C95}"/>
              </a:ext>
            </a:extLst>
          </p:cNvPr>
          <p:cNvSpPr txBox="1"/>
          <p:nvPr/>
        </p:nvSpPr>
        <p:spPr>
          <a:xfrm>
            <a:off x="1300315" y="2516638"/>
            <a:ext cx="1645447" cy="215444"/>
          </a:xfrm>
          <a:prstGeom prst="rect">
            <a:avLst/>
          </a:prstGeom>
          <a:noFill/>
        </p:spPr>
        <p:txBody>
          <a:bodyPr wrap="square">
            <a:spAutoFit/>
          </a:bodyPr>
          <a:lstStyle/>
          <a:p>
            <a:pPr algn="ctr"/>
            <a:r>
              <a:rPr lang="en-GB" sz="800" b="1" spc="300">
                <a:latin typeface="Avenir Next LT Pro" panose="020B0504020202020204" pitchFamily="34" charset="77"/>
              </a:rPr>
              <a:t>NIK SLUIJS</a:t>
            </a:r>
            <a:endParaRPr lang="en-NL" sz="800" b="1" spc="300">
              <a:latin typeface="Avenir Next LT Pro" panose="020B0504020202020204" pitchFamily="34" charset="77"/>
            </a:endParaRPr>
          </a:p>
        </p:txBody>
      </p:sp>
      <p:cxnSp>
        <p:nvCxnSpPr>
          <p:cNvPr id="18" name="Straight Connector 17">
            <a:extLst>
              <a:ext uri="{FF2B5EF4-FFF2-40B4-BE49-F238E27FC236}">
                <a16:creationId xmlns:a16="http://schemas.microsoft.com/office/drawing/2014/main" id="{137B0D90-660D-BF7E-FEBD-056F0BF71D3A}"/>
              </a:ext>
            </a:extLst>
          </p:cNvPr>
          <p:cNvCxnSpPr>
            <a:cxnSpLocks/>
          </p:cNvCxnSpPr>
          <p:nvPr/>
        </p:nvCxnSpPr>
        <p:spPr>
          <a:xfrm>
            <a:off x="1842763" y="2761767"/>
            <a:ext cx="560550" cy="0"/>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52DF5CC-9FEC-7EEE-0CEB-0842C01B6863}"/>
              </a:ext>
            </a:extLst>
          </p:cNvPr>
          <p:cNvCxnSpPr>
            <a:cxnSpLocks/>
          </p:cNvCxnSpPr>
          <p:nvPr/>
        </p:nvCxnSpPr>
        <p:spPr>
          <a:xfrm>
            <a:off x="3402350" y="2761767"/>
            <a:ext cx="560550" cy="0"/>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0F1E27E-92BE-96EF-EEB9-35A92015B732}"/>
              </a:ext>
            </a:extLst>
          </p:cNvPr>
          <p:cNvSpPr txBox="1"/>
          <p:nvPr/>
        </p:nvSpPr>
        <p:spPr>
          <a:xfrm>
            <a:off x="2859902" y="2516638"/>
            <a:ext cx="1645447" cy="215444"/>
          </a:xfrm>
          <a:prstGeom prst="rect">
            <a:avLst/>
          </a:prstGeom>
          <a:noFill/>
        </p:spPr>
        <p:txBody>
          <a:bodyPr wrap="square">
            <a:spAutoFit/>
          </a:bodyPr>
          <a:lstStyle/>
          <a:p>
            <a:pPr algn="ctr"/>
            <a:r>
              <a:rPr lang="en-GB" sz="800" b="1" spc="300">
                <a:latin typeface="Avenir Next LT Pro" panose="020B0504020202020204" pitchFamily="34" charset="77"/>
              </a:rPr>
              <a:t>JOEY BOETERS</a:t>
            </a:r>
            <a:endParaRPr lang="en-NL" sz="800" b="1" spc="300">
              <a:latin typeface="Avenir Next LT Pro" panose="020B0504020202020204" pitchFamily="34" charset="77"/>
            </a:endParaRPr>
          </a:p>
        </p:txBody>
      </p:sp>
      <p:sp>
        <p:nvSpPr>
          <p:cNvPr id="32" name="TextBox 31">
            <a:extLst>
              <a:ext uri="{FF2B5EF4-FFF2-40B4-BE49-F238E27FC236}">
                <a16:creationId xmlns:a16="http://schemas.microsoft.com/office/drawing/2014/main" id="{855FEBA8-67EA-6EEF-02B7-3C64BA973D6B}"/>
              </a:ext>
            </a:extLst>
          </p:cNvPr>
          <p:cNvSpPr txBox="1"/>
          <p:nvPr/>
        </p:nvSpPr>
        <p:spPr>
          <a:xfrm>
            <a:off x="1300315" y="2796725"/>
            <a:ext cx="1645447" cy="338554"/>
          </a:xfrm>
          <a:prstGeom prst="rect">
            <a:avLst/>
          </a:prstGeom>
          <a:noFill/>
        </p:spPr>
        <p:txBody>
          <a:bodyPr wrap="square">
            <a:spAutoFit/>
          </a:bodyPr>
          <a:lstStyle/>
          <a:p>
            <a:pPr algn="ctr"/>
            <a:r>
              <a:rPr lang="en-GB" sz="800">
                <a:latin typeface="Avenir Next LT Pro" panose="020B0504020202020204" pitchFamily="34" charset="77"/>
              </a:rPr>
              <a:t>Creative partner</a:t>
            </a:r>
          </a:p>
          <a:p>
            <a:pPr algn="ctr"/>
            <a:r>
              <a:rPr lang="en-GB" sz="800">
                <a:latin typeface="Avenir Next LT Pro" panose="020B0504020202020204" pitchFamily="34" charset="77"/>
              </a:rPr>
              <a:t>&amp; Co-founder</a:t>
            </a:r>
            <a:endParaRPr lang="en-NL" sz="800">
              <a:latin typeface="Avenir Next LT Pro" panose="020B0504020202020204" pitchFamily="34" charset="77"/>
            </a:endParaRPr>
          </a:p>
        </p:txBody>
      </p:sp>
      <p:sp>
        <p:nvSpPr>
          <p:cNvPr id="33" name="TextBox 32">
            <a:extLst>
              <a:ext uri="{FF2B5EF4-FFF2-40B4-BE49-F238E27FC236}">
                <a16:creationId xmlns:a16="http://schemas.microsoft.com/office/drawing/2014/main" id="{7D55F4B1-39E9-1126-FB5B-923786ED6BD4}"/>
              </a:ext>
            </a:extLst>
          </p:cNvPr>
          <p:cNvSpPr txBox="1"/>
          <p:nvPr/>
        </p:nvSpPr>
        <p:spPr>
          <a:xfrm>
            <a:off x="2859902" y="2796725"/>
            <a:ext cx="1645447" cy="338554"/>
          </a:xfrm>
          <a:prstGeom prst="rect">
            <a:avLst/>
          </a:prstGeom>
          <a:noFill/>
        </p:spPr>
        <p:txBody>
          <a:bodyPr wrap="square">
            <a:spAutoFit/>
          </a:bodyPr>
          <a:lstStyle/>
          <a:p>
            <a:pPr algn="ctr"/>
            <a:r>
              <a:rPr lang="en-GB" sz="800">
                <a:latin typeface="Avenir Next LT Pro" panose="020B0504020202020204" pitchFamily="34" charset="77"/>
              </a:rPr>
              <a:t>Creative partner</a:t>
            </a:r>
          </a:p>
          <a:p>
            <a:pPr algn="ctr"/>
            <a:r>
              <a:rPr lang="en-GB" sz="800">
                <a:latin typeface="Avenir Next LT Pro" panose="020B0504020202020204" pitchFamily="34" charset="77"/>
              </a:rPr>
              <a:t>&amp; Co-founder</a:t>
            </a:r>
            <a:endParaRPr lang="en-NL" sz="800">
              <a:latin typeface="Avenir Next LT Pro" panose="020B0504020202020204" pitchFamily="34" charset="77"/>
            </a:endParaRPr>
          </a:p>
        </p:txBody>
      </p:sp>
      <p:pic>
        <p:nvPicPr>
          <p:cNvPr id="2" name="joey and nik.jpeg">
            <a:extLst>
              <a:ext uri="{FF2B5EF4-FFF2-40B4-BE49-F238E27FC236}">
                <a16:creationId xmlns:a16="http://schemas.microsoft.com/office/drawing/2014/main" id="{F2B55906-7609-45D1-E6A1-FAE85CC75A40}"/>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5285632" y="1282288"/>
            <a:ext cx="1123491" cy="1143173"/>
          </a:xfrm>
          <a:custGeom>
            <a:avLst/>
            <a:gdLst/>
            <a:ahLst/>
            <a:cxnLst>
              <a:cxn ang="0">
                <a:pos x="wd2" y="hd2"/>
              </a:cxn>
              <a:cxn ang="5400000">
                <a:pos x="wd2" y="hd2"/>
              </a:cxn>
              <a:cxn ang="10800000">
                <a:pos x="wd2" y="hd2"/>
              </a:cxn>
              <a:cxn ang="16200000">
                <a:pos x="wd2" y="hd2"/>
              </a:cxn>
            </a:cxnLst>
            <a:rect l="0" t="0" r="r" b="b"/>
            <a:pathLst>
              <a:path w="19679" h="20595" extrusionOk="0">
                <a:moveTo>
                  <a:pt x="9839" y="0"/>
                </a:moveTo>
                <a:cubicBezTo>
                  <a:pt x="7321" y="0"/>
                  <a:pt x="4803" y="1006"/>
                  <a:pt x="2882" y="3017"/>
                </a:cubicBezTo>
                <a:cubicBezTo>
                  <a:pt x="-961" y="7039"/>
                  <a:pt x="-961" y="13557"/>
                  <a:pt x="2882" y="17578"/>
                </a:cubicBezTo>
                <a:cubicBezTo>
                  <a:pt x="6724" y="21600"/>
                  <a:pt x="12954" y="21600"/>
                  <a:pt x="16796" y="17578"/>
                </a:cubicBezTo>
                <a:cubicBezTo>
                  <a:pt x="20639" y="13557"/>
                  <a:pt x="20639" y="7039"/>
                  <a:pt x="16796" y="3017"/>
                </a:cubicBezTo>
                <a:cubicBezTo>
                  <a:pt x="14875" y="1006"/>
                  <a:pt x="12357" y="0"/>
                  <a:pt x="9839" y="0"/>
                </a:cubicBezTo>
                <a:close/>
              </a:path>
            </a:pathLst>
          </a:custGeom>
          <a:ln w="12700">
            <a:miter lim="400000"/>
          </a:ln>
        </p:spPr>
      </p:pic>
      <p:grpSp>
        <p:nvGrpSpPr>
          <p:cNvPr id="37" name="Group 36">
            <a:extLst>
              <a:ext uri="{FF2B5EF4-FFF2-40B4-BE49-F238E27FC236}">
                <a16:creationId xmlns:a16="http://schemas.microsoft.com/office/drawing/2014/main" id="{68F59C0E-C10D-DF93-A974-0BEAA0BE060E}"/>
              </a:ext>
            </a:extLst>
          </p:cNvPr>
          <p:cNvGrpSpPr/>
          <p:nvPr/>
        </p:nvGrpSpPr>
        <p:grpSpPr>
          <a:xfrm>
            <a:off x="5009695" y="744007"/>
            <a:ext cx="1720481" cy="2391272"/>
            <a:chOff x="7717082" y="876087"/>
            <a:chExt cx="1720481" cy="2391272"/>
          </a:xfrm>
        </p:grpSpPr>
        <p:cxnSp>
          <p:nvCxnSpPr>
            <p:cNvPr id="19" name="Straight Connector 18">
              <a:extLst>
                <a:ext uri="{FF2B5EF4-FFF2-40B4-BE49-F238E27FC236}">
                  <a16:creationId xmlns:a16="http://schemas.microsoft.com/office/drawing/2014/main" id="{5ABB8C47-85AD-1CFC-54DC-80DA3B4D0E43}"/>
                </a:ext>
              </a:extLst>
            </p:cNvPr>
            <p:cNvCxnSpPr>
              <a:cxnSpLocks/>
            </p:cNvCxnSpPr>
            <p:nvPr/>
          </p:nvCxnSpPr>
          <p:spPr>
            <a:xfrm>
              <a:off x="8334564" y="2893847"/>
              <a:ext cx="560550" cy="0"/>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2226D024-B91E-3C90-9476-62550497BAF3}"/>
                </a:ext>
              </a:extLst>
            </p:cNvPr>
            <p:cNvSpPr txBox="1">
              <a:spLocks/>
            </p:cNvSpPr>
            <p:nvPr/>
          </p:nvSpPr>
          <p:spPr>
            <a:xfrm>
              <a:off x="7717082" y="876087"/>
              <a:ext cx="1675363" cy="227501"/>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spc="300">
                  <a:gradFill>
                    <a:gsLst>
                      <a:gs pos="100000">
                        <a:srgbClr val="B89B57"/>
                      </a:gs>
                      <a:gs pos="0">
                        <a:srgbClr val="B89B57"/>
                      </a:gs>
                      <a:gs pos="50000">
                        <a:srgbClr val="DCD081"/>
                      </a:gs>
                    </a:gsLst>
                    <a:lin ang="2700000" scaled="1"/>
                  </a:gradFill>
                  <a:latin typeface="Avenir Next LT Pro" panose="020B0504020202020204" pitchFamily="34" charset="77"/>
                </a:rPr>
                <a:t>STRATEGY</a:t>
              </a:r>
            </a:p>
          </p:txBody>
        </p:sp>
        <p:sp>
          <p:nvSpPr>
            <p:cNvPr id="30" name="TextBox 29">
              <a:extLst>
                <a:ext uri="{FF2B5EF4-FFF2-40B4-BE49-F238E27FC236}">
                  <a16:creationId xmlns:a16="http://schemas.microsoft.com/office/drawing/2014/main" id="{5F7DE5FC-25BE-21D0-A2AF-5820C32B7752}"/>
                </a:ext>
              </a:extLst>
            </p:cNvPr>
            <p:cNvSpPr txBox="1"/>
            <p:nvPr/>
          </p:nvSpPr>
          <p:spPr>
            <a:xfrm>
              <a:off x="7792116" y="2648718"/>
              <a:ext cx="1645447" cy="215444"/>
            </a:xfrm>
            <a:prstGeom prst="rect">
              <a:avLst/>
            </a:prstGeom>
            <a:noFill/>
          </p:spPr>
          <p:txBody>
            <a:bodyPr wrap="square">
              <a:spAutoFit/>
            </a:bodyPr>
            <a:lstStyle/>
            <a:p>
              <a:pPr algn="ctr"/>
              <a:r>
                <a:rPr lang="en-GB" sz="800" b="1" spc="300">
                  <a:latin typeface="Avenir Next LT Pro" panose="020B0504020202020204" pitchFamily="34" charset="77"/>
                </a:rPr>
                <a:t>DAAN DE RAAF</a:t>
              </a:r>
              <a:endParaRPr lang="en-NL" sz="800" b="1" spc="300">
                <a:latin typeface="Avenir Next LT Pro" panose="020B0504020202020204" pitchFamily="34" charset="77"/>
              </a:endParaRPr>
            </a:p>
          </p:txBody>
        </p:sp>
        <p:sp>
          <p:nvSpPr>
            <p:cNvPr id="34" name="TextBox 33">
              <a:extLst>
                <a:ext uri="{FF2B5EF4-FFF2-40B4-BE49-F238E27FC236}">
                  <a16:creationId xmlns:a16="http://schemas.microsoft.com/office/drawing/2014/main" id="{CCC0D9F4-67F0-4CD8-3E9F-95FE9DFE16DB}"/>
                </a:ext>
              </a:extLst>
            </p:cNvPr>
            <p:cNvSpPr txBox="1"/>
            <p:nvPr/>
          </p:nvSpPr>
          <p:spPr>
            <a:xfrm>
              <a:off x="7792116" y="2928805"/>
              <a:ext cx="1645447" cy="338554"/>
            </a:xfrm>
            <a:prstGeom prst="rect">
              <a:avLst/>
            </a:prstGeom>
            <a:noFill/>
          </p:spPr>
          <p:txBody>
            <a:bodyPr wrap="square">
              <a:spAutoFit/>
            </a:bodyPr>
            <a:lstStyle/>
            <a:p>
              <a:pPr algn="ctr"/>
              <a:r>
                <a:rPr lang="en-GB" sz="800">
                  <a:latin typeface="Avenir Next LT Pro" panose="020B0504020202020204" pitchFamily="34" charset="77"/>
                </a:rPr>
                <a:t>Strategy partner</a:t>
              </a:r>
            </a:p>
            <a:p>
              <a:pPr algn="ctr"/>
              <a:r>
                <a:rPr lang="en-GB" sz="800">
                  <a:latin typeface="Avenir Next LT Pro" panose="020B0504020202020204" pitchFamily="34" charset="77"/>
                </a:rPr>
                <a:t>&amp; Co-founder</a:t>
              </a:r>
              <a:endParaRPr lang="en-NL" sz="800">
                <a:latin typeface="Avenir Next LT Pro" panose="020B0504020202020204" pitchFamily="34" charset="77"/>
              </a:endParaRPr>
            </a:p>
          </p:txBody>
        </p:sp>
      </p:grpSp>
      <p:grpSp>
        <p:nvGrpSpPr>
          <p:cNvPr id="36" name="Group 35">
            <a:extLst>
              <a:ext uri="{FF2B5EF4-FFF2-40B4-BE49-F238E27FC236}">
                <a16:creationId xmlns:a16="http://schemas.microsoft.com/office/drawing/2014/main" id="{EEB1BCCD-D99C-823E-1842-F9461CEA96C2}"/>
              </a:ext>
            </a:extLst>
          </p:cNvPr>
          <p:cNvGrpSpPr/>
          <p:nvPr/>
        </p:nvGrpSpPr>
        <p:grpSpPr>
          <a:xfrm>
            <a:off x="7475532" y="1276479"/>
            <a:ext cx="1458688" cy="1821538"/>
            <a:chOff x="10058371" y="1331608"/>
            <a:chExt cx="1645447" cy="1961825"/>
          </a:xfrm>
        </p:grpSpPr>
        <p:pic>
          <p:nvPicPr>
            <p:cNvPr id="11" name="Picture Placeholder 20">
              <a:extLst>
                <a:ext uri="{FF2B5EF4-FFF2-40B4-BE49-F238E27FC236}">
                  <a16:creationId xmlns:a16="http://schemas.microsoft.com/office/drawing/2014/main" id="{9E92B01B-E244-027F-512C-644DDF47D6C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0247426" y="1331608"/>
              <a:ext cx="1267334" cy="1267252"/>
            </a:xfrm>
            <a:prstGeom prst="ellipse">
              <a:avLst/>
            </a:prstGeom>
          </p:spPr>
        </p:pic>
        <p:cxnSp>
          <p:nvCxnSpPr>
            <p:cNvPr id="17" name="Straight Connector 16">
              <a:extLst>
                <a:ext uri="{FF2B5EF4-FFF2-40B4-BE49-F238E27FC236}">
                  <a16:creationId xmlns:a16="http://schemas.microsoft.com/office/drawing/2014/main" id="{5991DC10-E9CE-283A-3E79-A99AC0809995}"/>
                </a:ext>
              </a:extLst>
            </p:cNvPr>
            <p:cNvCxnSpPr>
              <a:cxnSpLocks/>
            </p:cNvCxnSpPr>
            <p:nvPr/>
          </p:nvCxnSpPr>
          <p:spPr>
            <a:xfrm>
              <a:off x="10600819" y="2893847"/>
              <a:ext cx="560550" cy="0"/>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FB45426D-1144-3EA0-DD6E-550099BA7635}"/>
                </a:ext>
              </a:extLst>
            </p:cNvPr>
            <p:cNvSpPr txBox="1"/>
            <p:nvPr/>
          </p:nvSpPr>
          <p:spPr>
            <a:xfrm>
              <a:off x="10058371" y="2648718"/>
              <a:ext cx="1645447" cy="232037"/>
            </a:xfrm>
            <a:prstGeom prst="rect">
              <a:avLst/>
            </a:prstGeom>
            <a:noFill/>
          </p:spPr>
          <p:txBody>
            <a:bodyPr wrap="square">
              <a:spAutoFit/>
            </a:bodyPr>
            <a:lstStyle/>
            <a:p>
              <a:pPr algn="ctr"/>
              <a:r>
                <a:rPr lang="en-GB" sz="800" b="1" spc="300">
                  <a:latin typeface="Avenir Next LT Pro" panose="020B0504020202020204" pitchFamily="34" charset="77"/>
                </a:rPr>
                <a:t>IRIS MINNEMA</a:t>
              </a:r>
              <a:endParaRPr lang="en-NL" sz="800" b="1" spc="300">
                <a:latin typeface="Avenir Next LT Pro" panose="020B0504020202020204" pitchFamily="34" charset="77"/>
              </a:endParaRPr>
            </a:p>
          </p:txBody>
        </p:sp>
        <p:sp>
          <p:nvSpPr>
            <p:cNvPr id="35" name="TextBox 34">
              <a:extLst>
                <a:ext uri="{FF2B5EF4-FFF2-40B4-BE49-F238E27FC236}">
                  <a16:creationId xmlns:a16="http://schemas.microsoft.com/office/drawing/2014/main" id="{AB36D7FC-4B48-B918-C9D3-97C08A444B0C}"/>
                </a:ext>
              </a:extLst>
            </p:cNvPr>
            <p:cNvSpPr txBox="1"/>
            <p:nvPr/>
          </p:nvSpPr>
          <p:spPr>
            <a:xfrm>
              <a:off x="10058371" y="2928805"/>
              <a:ext cx="1645447" cy="364628"/>
            </a:xfrm>
            <a:prstGeom prst="rect">
              <a:avLst/>
            </a:prstGeom>
            <a:noFill/>
          </p:spPr>
          <p:txBody>
            <a:bodyPr wrap="square">
              <a:spAutoFit/>
            </a:bodyPr>
            <a:lstStyle/>
            <a:p>
              <a:pPr algn="ctr"/>
              <a:r>
                <a:rPr lang="en-GB" sz="800">
                  <a:latin typeface="Avenir Next LT Pro" panose="020B0504020202020204" pitchFamily="34" charset="77"/>
                </a:rPr>
                <a:t>CEO</a:t>
              </a:r>
            </a:p>
            <a:p>
              <a:pPr algn="ctr"/>
              <a:r>
                <a:rPr lang="en-GB" sz="800">
                  <a:latin typeface="Avenir Next LT Pro" panose="020B0504020202020204" pitchFamily="34" charset="77"/>
                </a:rPr>
                <a:t>&amp; Co-founder</a:t>
              </a:r>
              <a:endParaRPr lang="en-NL" sz="800">
                <a:latin typeface="Avenir Next LT Pro" panose="020B0504020202020204" pitchFamily="34" charset="77"/>
              </a:endParaRPr>
            </a:p>
          </p:txBody>
        </p:sp>
      </p:grpSp>
      <p:grpSp>
        <p:nvGrpSpPr>
          <p:cNvPr id="3" name="Group 2">
            <a:extLst>
              <a:ext uri="{FF2B5EF4-FFF2-40B4-BE49-F238E27FC236}">
                <a16:creationId xmlns:a16="http://schemas.microsoft.com/office/drawing/2014/main" id="{0B9E9AB6-EDE1-5F09-621E-48C90E82546B}"/>
              </a:ext>
            </a:extLst>
          </p:cNvPr>
          <p:cNvGrpSpPr/>
          <p:nvPr/>
        </p:nvGrpSpPr>
        <p:grpSpPr>
          <a:xfrm>
            <a:off x="8266210" y="732132"/>
            <a:ext cx="2628085" cy="2391272"/>
            <a:chOff x="9205731" y="876087"/>
            <a:chExt cx="2628085" cy="2391272"/>
          </a:xfrm>
        </p:grpSpPr>
        <p:cxnSp>
          <p:nvCxnSpPr>
            <p:cNvPr id="5" name="Straight Connector 4">
              <a:extLst>
                <a:ext uri="{FF2B5EF4-FFF2-40B4-BE49-F238E27FC236}">
                  <a16:creationId xmlns:a16="http://schemas.microsoft.com/office/drawing/2014/main" id="{9FF03C6B-0E77-0D79-5DCB-F97357944DAF}"/>
                </a:ext>
              </a:extLst>
            </p:cNvPr>
            <p:cNvCxnSpPr>
              <a:cxnSpLocks/>
            </p:cNvCxnSpPr>
            <p:nvPr/>
          </p:nvCxnSpPr>
          <p:spPr>
            <a:xfrm>
              <a:off x="10600819" y="2893847"/>
              <a:ext cx="560550" cy="0"/>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sp>
          <p:nvSpPr>
            <p:cNvPr id="6" name="Text Placeholder 3">
              <a:extLst>
                <a:ext uri="{FF2B5EF4-FFF2-40B4-BE49-F238E27FC236}">
                  <a16:creationId xmlns:a16="http://schemas.microsoft.com/office/drawing/2014/main" id="{2CAAFE8B-F1DF-4EFB-73CC-1119F0C8D671}"/>
                </a:ext>
              </a:extLst>
            </p:cNvPr>
            <p:cNvSpPr txBox="1">
              <a:spLocks/>
            </p:cNvSpPr>
            <p:nvPr/>
          </p:nvSpPr>
          <p:spPr>
            <a:xfrm>
              <a:off x="9205731" y="876087"/>
              <a:ext cx="1675363" cy="227501"/>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spc="300">
                  <a:gradFill>
                    <a:gsLst>
                      <a:gs pos="100000">
                        <a:srgbClr val="B89B57"/>
                      </a:gs>
                      <a:gs pos="0">
                        <a:srgbClr val="B89B57"/>
                      </a:gs>
                      <a:gs pos="50000">
                        <a:srgbClr val="DCD081"/>
                      </a:gs>
                    </a:gsLst>
                    <a:lin ang="2700000" scaled="1"/>
                  </a:gradFill>
                  <a:latin typeface="Avenir Next LT Pro" panose="020B0504020202020204" pitchFamily="34" charset="77"/>
                </a:rPr>
                <a:t>BUSINESS</a:t>
              </a:r>
            </a:p>
          </p:txBody>
        </p:sp>
        <p:sp>
          <p:nvSpPr>
            <p:cNvPr id="7" name="TextBox 6">
              <a:extLst>
                <a:ext uri="{FF2B5EF4-FFF2-40B4-BE49-F238E27FC236}">
                  <a16:creationId xmlns:a16="http://schemas.microsoft.com/office/drawing/2014/main" id="{BED52A9A-5722-6003-A147-66E84627C429}"/>
                </a:ext>
              </a:extLst>
            </p:cNvPr>
            <p:cNvSpPr txBox="1"/>
            <p:nvPr/>
          </p:nvSpPr>
          <p:spPr>
            <a:xfrm>
              <a:off x="9928369" y="2637675"/>
              <a:ext cx="1905447" cy="215444"/>
            </a:xfrm>
            <a:prstGeom prst="rect">
              <a:avLst/>
            </a:prstGeom>
            <a:noFill/>
          </p:spPr>
          <p:txBody>
            <a:bodyPr wrap="square">
              <a:spAutoFit/>
            </a:bodyPr>
            <a:lstStyle/>
            <a:p>
              <a:pPr algn="ctr"/>
              <a:r>
                <a:rPr lang="en-NL" sz="800" b="1" spc="300">
                  <a:latin typeface="Avenir Next LT Pro" panose="020B0504020202020204" pitchFamily="34" charset="77"/>
                </a:rPr>
                <a:t>MATTIAS VERMEIRE </a:t>
              </a:r>
            </a:p>
          </p:txBody>
        </p:sp>
        <p:sp>
          <p:nvSpPr>
            <p:cNvPr id="8" name="TextBox 7">
              <a:extLst>
                <a:ext uri="{FF2B5EF4-FFF2-40B4-BE49-F238E27FC236}">
                  <a16:creationId xmlns:a16="http://schemas.microsoft.com/office/drawing/2014/main" id="{8D1867EB-DAA9-8C09-68C4-DF294693B1E7}"/>
                </a:ext>
              </a:extLst>
            </p:cNvPr>
            <p:cNvSpPr txBox="1"/>
            <p:nvPr/>
          </p:nvSpPr>
          <p:spPr>
            <a:xfrm>
              <a:off x="10058371" y="2928805"/>
              <a:ext cx="1645447" cy="338554"/>
            </a:xfrm>
            <a:prstGeom prst="rect">
              <a:avLst/>
            </a:prstGeom>
            <a:noFill/>
          </p:spPr>
          <p:txBody>
            <a:bodyPr wrap="square">
              <a:spAutoFit/>
            </a:bodyPr>
            <a:lstStyle/>
            <a:p>
              <a:pPr algn="ctr"/>
              <a:r>
                <a:rPr lang="en-GB" sz="800">
                  <a:latin typeface="Avenir Next LT Pro" panose="020B0504020202020204" pitchFamily="34" charset="77"/>
                </a:rPr>
                <a:t>Business / Account Director</a:t>
              </a:r>
            </a:p>
            <a:p>
              <a:pPr algn="ctr"/>
              <a:r>
                <a:rPr lang="en-GB" sz="800">
                  <a:latin typeface="Avenir Next LT Pro" panose="020B0504020202020204" pitchFamily="34" charset="77"/>
                </a:rPr>
                <a:t>&amp; Partner</a:t>
              </a:r>
              <a:endParaRPr lang="en-NL" sz="800">
                <a:latin typeface="Avenir Next LT Pro" panose="020B0504020202020204" pitchFamily="34" charset="77"/>
              </a:endParaRPr>
            </a:p>
          </p:txBody>
        </p:sp>
      </p:grpSp>
      <p:pic>
        <p:nvPicPr>
          <p:cNvPr id="12" name="Picture Placeholder 8" descr="A person posing for the camera&#10;&#10;Description automatically generated">
            <a:extLst>
              <a:ext uri="{FF2B5EF4-FFF2-40B4-BE49-F238E27FC236}">
                <a16:creationId xmlns:a16="http://schemas.microsoft.com/office/drawing/2014/main" id="{08BFF803-6CC0-CBF2-5D94-839C04F4CE1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232956" y="1252728"/>
            <a:ext cx="1156525" cy="1156451"/>
          </a:xfrm>
          <a:prstGeom prst="ellipse">
            <a:avLst/>
          </a:prstGeom>
          <a:ln w="57150">
            <a:noFill/>
          </a:ln>
        </p:spPr>
      </p:pic>
      <p:sp>
        <p:nvSpPr>
          <p:cNvPr id="4" name="TextBox 3">
            <a:extLst>
              <a:ext uri="{FF2B5EF4-FFF2-40B4-BE49-F238E27FC236}">
                <a16:creationId xmlns:a16="http://schemas.microsoft.com/office/drawing/2014/main" id="{2D8A6FAD-4801-D347-40D7-50416710E91B}"/>
              </a:ext>
            </a:extLst>
          </p:cNvPr>
          <p:cNvSpPr txBox="1"/>
          <p:nvPr/>
        </p:nvSpPr>
        <p:spPr>
          <a:xfrm rot="16200000">
            <a:off x="-572303" y="1722483"/>
            <a:ext cx="2361019" cy="341632"/>
          </a:xfrm>
          <a:prstGeom prst="rect">
            <a:avLst/>
          </a:prstGeom>
          <a:noFill/>
          <a:ln>
            <a:solidFill>
              <a:srgbClr val="B89B57"/>
            </a:solidFill>
          </a:ln>
        </p:spPr>
        <p:txBody>
          <a:bodyPr wrap="square" rtlCol="0">
            <a:spAutoFit/>
          </a:bodyPr>
          <a:lstStyle/>
          <a:p>
            <a:pPr algn="ctr">
              <a:lnSpc>
                <a:spcPct val="90000"/>
              </a:lnSpc>
              <a:spcBef>
                <a:spcPts val="1000"/>
              </a:spcBef>
            </a:pPr>
            <a:r>
              <a:rPr lang="en-GB" spc="300">
                <a:gradFill>
                  <a:gsLst>
                    <a:gs pos="100000">
                      <a:srgbClr val="B89B57"/>
                    </a:gs>
                    <a:gs pos="0">
                      <a:srgbClr val="B89B57"/>
                    </a:gs>
                    <a:gs pos="50000">
                      <a:srgbClr val="DCD081"/>
                    </a:gs>
                  </a:gsLst>
                  <a:lin ang="2700000" scaled="1"/>
                </a:gradFill>
                <a:uFill>
                  <a:solidFill>
                    <a:srgbClr val="DCCF7F"/>
                  </a:solidFill>
                </a:uFill>
                <a:latin typeface="Avenir Next LT Pro" panose="020B0504020202020204" pitchFamily="34" charset="77"/>
                <a:cs typeface="Arial" panose="020B0604020202020204" pitchFamily="34" charset="0"/>
              </a:rPr>
              <a:t>CORE TEAM</a:t>
            </a:r>
          </a:p>
        </p:txBody>
      </p:sp>
      <p:sp>
        <p:nvSpPr>
          <p:cNvPr id="13" name="TextBox 12">
            <a:extLst>
              <a:ext uri="{FF2B5EF4-FFF2-40B4-BE49-F238E27FC236}">
                <a16:creationId xmlns:a16="http://schemas.microsoft.com/office/drawing/2014/main" id="{FED6E178-D596-3426-6661-516392FEEB0A}"/>
              </a:ext>
            </a:extLst>
          </p:cNvPr>
          <p:cNvSpPr txBox="1"/>
          <p:nvPr/>
        </p:nvSpPr>
        <p:spPr>
          <a:xfrm rot="16200000">
            <a:off x="-834462" y="4722862"/>
            <a:ext cx="2955797" cy="341632"/>
          </a:xfrm>
          <a:prstGeom prst="rect">
            <a:avLst/>
          </a:prstGeom>
          <a:noFill/>
          <a:ln>
            <a:solidFill>
              <a:srgbClr val="B89B57"/>
            </a:solidFill>
          </a:ln>
        </p:spPr>
        <p:txBody>
          <a:bodyPr wrap="square" rtlCol="0">
            <a:spAutoFit/>
          </a:bodyPr>
          <a:lstStyle/>
          <a:p>
            <a:pPr algn="ctr">
              <a:lnSpc>
                <a:spcPct val="90000"/>
              </a:lnSpc>
              <a:spcBef>
                <a:spcPts val="1000"/>
              </a:spcBef>
            </a:pPr>
            <a:r>
              <a:rPr lang="en-GB" spc="300">
                <a:gradFill>
                  <a:gsLst>
                    <a:gs pos="100000">
                      <a:srgbClr val="B89B57"/>
                    </a:gs>
                    <a:gs pos="0">
                      <a:srgbClr val="B89B57"/>
                    </a:gs>
                    <a:gs pos="50000">
                      <a:srgbClr val="DCD081"/>
                    </a:gs>
                  </a:gsLst>
                  <a:lin ang="2700000" scaled="1"/>
                </a:gradFill>
                <a:uFill>
                  <a:solidFill>
                    <a:srgbClr val="DCCF7F"/>
                  </a:solidFill>
                </a:uFill>
                <a:latin typeface="Avenir Next LT Pro" panose="020B0504020202020204" pitchFamily="34" charset="77"/>
                <a:cs typeface="Arial" panose="020B0604020202020204" pitchFamily="34" charset="0"/>
              </a:rPr>
              <a:t>EXECUTION TEAM</a:t>
            </a:r>
          </a:p>
        </p:txBody>
      </p:sp>
      <p:sp>
        <p:nvSpPr>
          <p:cNvPr id="21" name="TextBox 20">
            <a:extLst>
              <a:ext uri="{FF2B5EF4-FFF2-40B4-BE49-F238E27FC236}">
                <a16:creationId xmlns:a16="http://schemas.microsoft.com/office/drawing/2014/main" id="{071238FB-1FA3-F026-2480-393245E25F1E}"/>
              </a:ext>
            </a:extLst>
          </p:cNvPr>
          <p:cNvSpPr txBox="1"/>
          <p:nvPr/>
        </p:nvSpPr>
        <p:spPr>
          <a:xfrm>
            <a:off x="1300315" y="4671151"/>
            <a:ext cx="1645447" cy="215444"/>
          </a:xfrm>
          <a:prstGeom prst="rect">
            <a:avLst/>
          </a:prstGeom>
          <a:noFill/>
        </p:spPr>
        <p:txBody>
          <a:bodyPr wrap="square">
            <a:spAutoFit/>
          </a:bodyPr>
          <a:lstStyle/>
          <a:p>
            <a:pPr algn="ctr"/>
            <a:r>
              <a:rPr lang="en-GB" sz="800" b="1" spc="300">
                <a:latin typeface="Avenir Next LT Pro" panose="020B0504020202020204" pitchFamily="34" charset="77"/>
              </a:rPr>
              <a:t>GIL GAUNIAUX</a:t>
            </a:r>
            <a:endParaRPr lang="en-NL" sz="800" b="1" spc="300">
              <a:latin typeface="Avenir Next LT Pro" panose="020B0504020202020204" pitchFamily="34" charset="77"/>
            </a:endParaRPr>
          </a:p>
        </p:txBody>
      </p:sp>
      <p:cxnSp>
        <p:nvCxnSpPr>
          <p:cNvPr id="22" name="Straight Connector 21">
            <a:extLst>
              <a:ext uri="{FF2B5EF4-FFF2-40B4-BE49-F238E27FC236}">
                <a16:creationId xmlns:a16="http://schemas.microsoft.com/office/drawing/2014/main" id="{2E64B575-0EBC-6844-7F84-A9437B7099C2}"/>
              </a:ext>
            </a:extLst>
          </p:cNvPr>
          <p:cNvCxnSpPr>
            <a:cxnSpLocks/>
          </p:cNvCxnSpPr>
          <p:nvPr/>
        </p:nvCxnSpPr>
        <p:spPr>
          <a:xfrm>
            <a:off x="1842763" y="4916280"/>
            <a:ext cx="560550" cy="0"/>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868F84-48ED-8355-29A1-D1B3529612EE}"/>
              </a:ext>
            </a:extLst>
          </p:cNvPr>
          <p:cNvCxnSpPr>
            <a:cxnSpLocks/>
          </p:cNvCxnSpPr>
          <p:nvPr/>
        </p:nvCxnSpPr>
        <p:spPr>
          <a:xfrm>
            <a:off x="3553578" y="4925485"/>
            <a:ext cx="560550" cy="0"/>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670B4F3-46A0-11BD-2EB3-F7B262C51A26}"/>
              </a:ext>
            </a:extLst>
          </p:cNvPr>
          <p:cNvSpPr txBox="1"/>
          <p:nvPr/>
        </p:nvSpPr>
        <p:spPr>
          <a:xfrm>
            <a:off x="2829822" y="4673137"/>
            <a:ext cx="1970152" cy="215444"/>
          </a:xfrm>
          <a:prstGeom prst="rect">
            <a:avLst/>
          </a:prstGeom>
          <a:noFill/>
        </p:spPr>
        <p:txBody>
          <a:bodyPr wrap="square">
            <a:spAutoFit/>
          </a:bodyPr>
          <a:lstStyle/>
          <a:p>
            <a:pPr algn="ctr"/>
            <a:r>
              <a:rPr lang="en-GB" sz="800" b="1" spc="300">
                <a:latin typeface="Avenir Next LT Pro" panose="020B0504020202020204" pitchFamily="34" charset="77"/>
              </a:rPr>
              <a:t>THIBAUT CASTAING</a:t>
            </a:r>
            <a:endParaRPr lang="en-NL" sz="800" b="1" spc="300">
              <a:latin typeface="Avenir Next LT Pro" panose="020B0504020202020204" pitchFamily="34" charset="77"/>
            </a:endParaRPr>
          </a:p>
        </p:txBody>
      </p:sp>
      <p:sp>
        <p:nvSpPr>
          <p:cNvPr id="25" name="TextBox 24">
            <a:extLst>
              <a:ext uri="{FF2B5EF4-FFF2-40B4-BE49-F238E27FC236}">
                <a16:creationId xmlns:a16="http://schemas.microsoft.com/office/drawing/2014/main" id="{D0246A02-A569-DA33-FF0B-CD6BD294BC48}"/>
              </a:ext>
            </a:extLst>
          </p:cNvPr>
          <p:cNvSpPr txBox="1"/>
          <p:nvPr/>
        </p:nvSpPr>
        <p:spPr>
          <a:xfrm>
            <a:off x="1300315" y="4951238"/>
            <a:ext cx="1645447" cy="215444"/>
          </a:xfrm>
          <a:prstGeom prst="rect">
            <a:avLst/>
          </a:prstGeom>
          <a:noFill/>
        </p:spPr>
        <p:txBody>
          <a:bodyPr wrap="square">
            <a:spAutoFit/>
          </a:bodyPr>
          <a:lstStyle/>
          <a:p>
            <a:pPr algn="ctr"/>
            <a:r>
              <a:rPr lang="en-GB" sz="800">
                <a:latin typeface="Avenir Next LT Pro" panose="020B0504020202020204" pitchFamily="34" charset="77"/>
              </a:rPr>
              <a:t>Sr Creative </a:t>
            </a:r>
          </a:p>
        </p:txBody>
      </p:sp>
      <p:sp>
        <p:nvSpPr>
          <p:cNvPr id="29" name="TextBox 28">
            <a:extLst>
              <a:ext uri="{FF2B5EF4-FFF2-40B4-BE49-F238E27FC236}">
                <a16:creationId xmlns:a16="http://schemas.microsoft.com/office/drawing/2014/main" id="{53C8A68C-7A9A-50C2-93D0-6492661218BB}"/>
              </a:ext>
            </a:extLst>
          </p:cNvPr>
          <p:cNvSpPr txBox="1"/>
          <p:nvPr/>
        </p:nvSpPr>
        <p:spPr>
          <a:xfrm>
            <a:off x="3011130" y="4960443"/>
            <a:ext cx="1645447" cy="215444"/>
          </a:xfrm>
          <a:prstGeom prst="rect">
            <a:avLst/>
          </a:prstGeom>
          <a:noFill/>
        </p:spPr>
        <p:txBody>
          <a:bodyPr wrap="square">
            <a:spAutoFit/>
          </a:bodyPr>
          <a:lstStyle/>
          <a:p>
            <a:pPr algn="ctr"/>
            <a:r>
              <a:rPr lang="en-GB" sz="800">
                <a:latin typeface="Avenir Next LT Pro" panose="020B0504020202020204" pitchFamily="34" charset="77"/>
              </a:rPr>
              <a:t>Sr Creative </a:t>
            </a:r>
          </a:p>
        </p:txBody>
      </p:sp>
      <p:sp>
        <p:nvSpPr>
          <p:cNvPr id="38" name="Oval 37">
            <a:extLst>
              <a:ext uri="{FF2B5EF4-FFF2-40B4-BE49-F238E27FC236}">
                <a16:creationId xmlns:a16="http://schemas.microsoft.com/office/drawing/2014/main" id="{4EDAD7C4-D22C-9C4B-A69A-A96C97E26C60}"/>
              </a:ext>
            </a:extLst>
          </p:cNvPr>
          <p:cNvSpPr/>
          <p:nvPr/>
        </p:nvSpPr>
        <p:spPr>
          <a:xfrm>
            <a:off x="1747787" y="3442556"/>
            <a:ext cx="1123489" cy="1143173"/>
          </a:xfrm>
          <a:prstGeom prst="ellipse">
            <a:avLst/>
          </a:prstGeom>
          <a:solidFill>
            <a:schemeClr val="bg1">
              <a:lumMod val="7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venir Next LT Pro" panose="020B0504020202020204" pitchFamily="34" charset="77"/>
            </a:endParaRPr>
          </a:p>
        </p:txBody>
      </p:sp>
      <p:pic>
        <p:nvPicPr>
          <p:cNvPr id="1026" name="Picture 2">
            <a:extLst>
              <a:ext uri="{FF2B5EF4-FFF2-40B4-BE49-F238E27FC236}">
                <a16:creationId xmlns:a16="http://schemas.microsoft.com/office/drawing/2014/main" id="{085AD750-FC90-BFE4-9F8A-2C34FBB60D1D}"/>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010272" y="3442556"/>
            <a:ext cx="1137188" cy="1143173"/>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A6E0C83D-40CB-5F03-87BC-AC33EA391AA4}"/>
              </a:ext>
            </a:extLst>
          </p:cNvPr>
          <p:cNvSpPr txBox="1"/>
          <p:nvPr/>
        </p:nvSpPr>
        <p:spPr>
          <a:xfrm>
            <a:off x="6711258" y="4711098"/>
            <a:ext cx="1705516" cy="215444"/>
          </a:xfrm>
          <a:prstGeom prst="rect">
            <a:avLst/>
          </a:prstGeom>
          <a:noFill/>
        </p:spPr>
        <p:txBody>
          <a:bodyPr wrap="square">
            <a:spAutoFit/>
          </a:bodyPr>
          <a:lstStyle/>
          <a:p>
            <a:pPr algn="ctr"/>
            <a:r>
              <a:rPr lang="en-NL" sz="800" b="1" spc="300">
                <a:latin typeface="Avenir Next LT Pro" panose="020B0504020202020204" pitchFamily="34" charset="77"/>
              </a:rPr>
              <a:t>JU</a:t>
            </a:r>
            <a:r>
              <a:rPr lang="nl-BE" sz="800" b="1" spc="300">
                <a:latin typeface="Avenir Next LT Pro" panose="020B0504020202020204" pitchFamily="34" charset="77"/>
              </a:rPr>
              <a:t>L</a:t>
            </a:r>
            <a:r>
              <a:rPr lang="en-NL" sz="800" b="1" spc="300">
                <a:latin typeface="Avenir Next LT Pro" panose="020B0504020202020204" pitchFamily="34" charset="77"/>
              </a:rPr>
              <a:t>IE HENDRICKX</a:t>
            </a:r>
          </a:p>
        </p:txBody>
      </p:sp>
      <p:cxnSp>
        <p:nvCxnSpPr>
          <p:cNvPr id="46" name="Straight Connector 45">
            <a:extLst>
              <a:ext uri="{FF2B5EF4-FFF2-40B4-BE49-F238E27FC236}">
                <a16:creationId xmlns:a16="http://schemas.microsoft.com/office/drawing/2014/main" id="{74164DB0-5F91-BCD3-3BA8-298825D9AD50}"/>
              </a:ext>
            </a:extLst>
          </p:cNvPr>
          <p:cNvCxnSpPr>
            <a:cxnSpLocks/>
          </p:cNvCxnSpPr>
          <p:nvPr/>
        </p:nvCxnSpPr>
        <p:spPr>
          <a:xfrm>
            <a:off x="7289720" y="4957063"/>
            <a:ext cx="560550" cy="0"/>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FC762ECD-F80A-3233-1110-F925E4E2C7F4}"/>
              </a:ext>
            </a:extLst>
          </p:cNvPr>
          <p:cNvSpPr txBox="1"/>
          <p:nvPr/>
        </p:nvSpPr>
        <p:spPr>
          <a:xfrm>
            <a:off x="6747272" y="4992021"/>
            <a:ext cx="1645447" cy="215444"/>
          </a:xfrm>
          <a:prstGeom prst="rect">
            <a:avLst/>
          </a:prstGeom>
          <a:noFill/>
        </p:spPr>
        <p:txBody>
          <a:bodyPr wrap="square">
            <a:spAutoFit/>
          </a:bodyPr>
          <a:lstStyle/>
          <a:p>
            <a:pPr algn="ctr"/>
            <a:r>
              <a:rPr lang="en-GB" sz="800">
                <a:latin typeface="Avenir Next LT Pro" panose="020B0504020202020204" pitchFamily="34" charset="77"/>
              </a:rPr>
              <a:t>Sr Account Manager </a:t>
            </a:r>
          </a:p>
        </p:txBody>
      </p:sp>
      <p:sp>
        <p:nvSpPr>
          <p:cNvPr id="48" name="Oval 47">
            <a:extLst>
              <a:ext uri="{FF2B5EF4-FFF2-40B4-BE49-F238E27FC236}">
                <a16:creationId xmlns:a16="http://schemas.microsoft.com/office/drawing/2014/main" id="{403B3CCD-7372-9F52-CBA8-01AE370E5F98}"/>
              </a:ext>
            </a:extLst>
          </p:cNvPr>
          <p:cNvSpPr/>
          <p:nvPr/>
        </p:nvSpPr>
        <p:spPr>
          <a:xfrm>
            <a:off x="3244303" y="3449657"/>
            <a:ext cx="1123489" cy="1143173"/>
          </a:xfrm>
          <a:prstGeom prst="ellipse">
            <a:avLst/>
          </a:prstGeom>
          <a:solidFill>
            <a:schemeClr val="bg1">
              <a:lumMod val="7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venir Next LT Pro" panose="020B0504020202020204" pitchFamily="34" charset="77"/>
            </a:endParaRPr>
          </a:p>
        </p:txBody>
      </p:sp>
      <p:sp>
        <p:nvSpPr>
          <p:cNvPr id="49" name="Oval 48">
            <a:extLst>
              <a:ext uri="{FF2B5EF4-FFF2-40B4-BE49-F238E27FC236}">
                <a16:creationId xmlns:a16="http://schemas.microsoft.com/office/drawing/2014/main" id="{07CC2DC4-E98D-8F47-D1F0-B49A102B3A2D}"/>
              </a:ext>
            </a:extLst>
          </p:cNvPr>
          <p:cNvSpPr/>
          <p:nvPr/>
        </p:nvSpPr>
        <p:spPr>
          <a:xfrm>
            <a:off x="8576620" y="3428358"/>
            <a:ext cx="1123489" cy="1143173"/>
          </a:xfrm>
          <a:prstGeom prst="ellipse">
            <a:avLst/>
          </a:prstGeom>
          <a:solidFill>
            <a:schemeClr val="bg1">
              <a:lumMod val="7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venir Next LT Pro" panose="020B0504020202020204" pitchFamily="34" charset="77"/>
            </a:endParaRPr>
          </a:p>
        </p:txBody>
      </p:sp>
      <p:sp>
        <p:nvSpPr>
          <p:cNvPr id="50" name="Oval 49">
            <a:extLst>
              <a:ext uri="{FF2B5EF4-FFF2-40B4-BE49-F238E27FC236}">
                <a16:creationId xmlns:a16="http://schemas.microsoft.com/office/drawing/2014/main" id="{AFBFAC81-6C2C-37D8-7293-270163ACF08D}"/>
              </a:ext>
            </a:extLst>
          </p:cNvPr>
          <p:cNvSpPr/>
          <p:nvPr/>
        </p:nvSpPr>
        <p:spPr>
          <a:xfrm>
            <a:off x="10105519" y="3397422"/>
            <a:ext cx="1123489" cy="1143173"/>
          </a:xfrm>
          <a:prstGeom prst="ellipse">
            <a:avLst/>
          </a:prstGeom>
          <a:solidFill>
            <a:schemeClr val="bg1">
              <a:lumMod val="7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Avenir Next LT Pro" panose="020B0504020202020204" pitchFamily="34" charset="77"/>
            </a:endParaRPr>
          </a:p>
        </p:txBody>
      </p:sp>
      <p:sp>
        <p:nvSpPr>
          <p:cNvPr id="52" name="TextBox 51">
            <a:extLst>
              <a:ext uri="{FF2B5EF4-FFF2-40B4-BE49-F238E27FC236}">
                <a16:creationId xmlns:a16="http://schemas.microsoft.com/office/drawing/2014/main" id="{72899A51-3267-50E8-E1E8-796ED7372A3C}"/>
              </a:ext>
            </a:extLst>
          </p:cNvPr>
          <p:cNvSpPr txBox="1"/>
          <p:nvPr/>
        </p:nvSpPr>
        <p:spPr>
          <a:xfrm>
            <a:off x="8325106" y="4711098"/>
            <a:ext cx="1626516" cy="215444"/>
          </a:xfrm>
          <a:prstGeom prst="rect">
            <a:avLst/>
          </a:prstGeom>
          <a:noFill/>
        </p:spPr>
        <p:txBody>
          <a:bodyPr wrap="square">
            <a:spAutoFit/>
          </a:bodyPr>
          <a:lstStyle/>
          <a:p>
            <a:pPr algn="ctr"/>
            <a:r>
              <a:rPr lang="en-NL" sz="800" b="1" spc="300">
                <a:latin typeface="Avenir Next LT Pro" panose="020B0504020202020204" pitchFamily="34" charset="77"/>
              </a:rPr>
              <a:t>MORGANE JUGET </a:t>
            </a:r>
          </a:p>
        </p:txBody>
      </p:sp>
      <p:cxnSp>
        <p:nvCxnSpPr>
          <p:cNvPr id="55" name="Straight Connector 54">
            <a:extLst>
              <a:ext uri="{FF2B5EF4-FFF2-40B4-BE49-F238E27FC236}">
                <a16:creationId xmlns:a16="http://schemas.microsoft.com/office/drawing/2014/main" id="{A59A156B-5AC5-C217-2146-80595634BDB1}"/>
              </a:ext>
            </a:extLst>
          </p:cNvPr>
          <p:cNvCxnSpPr>
            <a:cxnSpLocks/>
          </p:cNvCxnSpPr>
          <p:nvPr/>
        </p:nvCxnSpPr>
        <p:spPr>
          <a:xfrm>
            <a:off x="8865077" y="4951238"/>
            <a:ext cx="560550" cy="0"/>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08F65AC-1142-C74B-161D-A2EE644D0072}"/>
              </a:ext>
            </a:extLst>
          </p:cNvPr>
          <p:cNvSpPr txBox="1"/>
          <p:nvPr/>
        </p:nvSpPr>
        <p:spPr>
          <a:xfrm>
            <a:off x="8315640" y="5004126"/>
            <a:ext cx="1645447" cy="215444"/>
          </a:xfrm>
          <a:prstGeom prst="rect">
            <a:avLst/>
          </a:prstGeom>
          <a:noFill/>
        </p:spPr>
        <p:txBody>
          <a:bodyPr wrap="square">
            <a:spAutoFit/>
          </a:bodyPr>
          <a:lstStyle/>
          <a:p>
            <a:pPr algn="ctr"/>
            <a:r>
              <a:rPr lang="en-GB" sz="800">
                <a:latin typeface="Avenir Next LT Pro" panose="020B0504020202020204" pitchFamily="34" charset="77"/>
              </a:rPr>
              <a:t>Project coordinator/AE</a:t>
            </a:r>
          </a:p>
        </p:txBody>
      </p:sp>
      <p:sp>
        <p:nvSpPr>
          <p:cNvPr id="57" name="TextBox 56">
            <a:extLst>
              <a:ext uri="{FF2B5EF4-FFF2-40B4-BE49-F238E27FC236}">
                <a16:creationId xmlns:a16="http://schemas.microsoft.com/office/drawing/2014/main" id="{E92F2CF3-9A52-884B-4B40-9FAE6E2989F9}"/>
              </a:ext>
            </a:extLst>
          </p:cNvPr>
          <p:cNvSpPr txBox="1"/>
          <p:nvPr/>
        </p:nvSpPr>
        <p:spPr>
          <a:xfrm>
            <a:off x="9941572" y="4706130"/>
            <a:ext cx="1645447" cy="215444"/>
          </a:xfrm>
          <a:prstGeom prst="rect">
            <a:avLst/>
          </a:prstGeom>
          <a:noFill/>
        </p:spPr>
        <p:txBody>
          <a:bodyPr wrap="square">
            <a:spAutoFit/>
          </a:bodyPr>
          <a:lstStyle/>
          <a:p>
            <a:pPr algn="ctr"/>
            <a:r>
              <a:rPr lang="en-US" sz="800" b="1" spc="300">
                <a:latin typeface="Avenir Next LT Pro" panose="020B0504020202020204" pitchFamily="34" charset="77"/>
              </a:rPr>
              <a:t>AXELLE VERRYDT</a:t>
            </a:r>
          </a:p>
        </p:txBody>
      </p:sp>
      <p:sp>
        <p:nvSpPr>
          <p:cNvPr id="58" name="TextBox 57">
            <a:extLst>
              <a:ext uri="{FF2B5EF4-FFF2-40B4-BE49-F238E27FC236}">
                <a16:creationId xmlns:a16="http://schemas.microsoft.com/office/drawing/2014/main" id="{11C9B8E8-AC1D-B105-2934-A6F763037479}"/>
              </a:ext>
            </a:extLst>
          </p:cNvPr>
          <p:cNvSpPr txBox="1"/>
          <p:nvPr/>
        </p:nvSpPr>
        <p:spPr>
          <a:xfrm>
            <a:off x="9860258" y="4998074"/>
            <a:ext cx="1645447" cy="215444"/>
          </a:xfrm>
          <a:prstGeom prst="rect">
            <a:avLst/>
          </a:prstGeom>
          <a:noFill/>
        </p:spPr>
        <p:txBody>
          <a:bodyPr wrap="square">
            <a:spAutoFit/>
          </a:bodyPr>
          <a:lstStyle/>
          <a:p>
            <a:pPr algn="ctr"/>
            <a:r>
              <a:rPr lang="en-GB" sz="800">
                <a:latin typeface="Avenir Next LT Pro" panose="020B0504020202020204" pitchFamily="34" charset="77"/>
              </a:rPr>
              <a:t>Project coordinator/AE</a:t>
            </a:r>
          </a:p>
        </p:txBody>
      </p:sp>
      <p:cxnSp>
        <p:nvCxnSpPr>
          <p:cNvPr id="59" name="Straight Connector 58">
            <a:extLst>
              <a:ext uri="{FF2B5EF4-FFF2-40B4-BE49-F238E27FC236}">
                <a16:creationId xmlns:a16="http://schemas.microsoft.com/office/drawing/2014/main" id="{77B91E33-F241-6BCE-79C9-E5C8D7187541}"/>
              </a:ext>
            </a:extLst>
          </p:cNvPr>
          <p:cNvCxnSpPr>
            <a:cxnSpLocks/>
          </p:cNvCxnSpPr>
          <p:nvPr/>
        </p:nvCxnSpPr>
        <p:spPr>
          <a:xfrm flipV="1">
            <a:off x="10341665" y="4929978"/>
            <a:ext cx="682632" cy="3895"/>
          </a:xfrm>
          <a:prstGeom prst="line">
            <a:avLst/>
          </a:prstGeom>
          <a:ln w="9525">
            <a:solidFill>
              <a:srgbClr val="DAC97F"/>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A18A863C-127C-CDAF-3E1B-A3A2A1D99CD9}"/>
              </a:ext>
            </a:extLst>
          </p:cNvPr>
          <p:cNvSpPr txBox="1"/>
          <p:nvPr/>
        </p:nvSpPr>
        <p:spPr>
          <a:xfrm>
            <a:off x="1487155" y="5572690"/>
            <a:ext cx="10066049" cy="754053"/>
          </a:xfrm>
          <a:prstGeom prst="rect">
            <a:avLst/>
          </a:prstGeom>
          <a:solidFill>
            <a:srgbClr val="B89B57"/>
          </a:solidFill>
          <a:ln>
            <a:noFill/>
          </a:ln>
        </p:spPr>
        <p:txBody>
          <a:bodyPr wrap="square" rtlCol="0">
            <a:spAutoFit/>
          </a:bodyPr>
          <a:lstStyle/>
          <a:p>
            <a:pPr algn="ctr"/>
            <a:r>
              <a:rPr lang="en-GB">
                <a:solidFill>
                  <a:schemeClr val="bg1"/>
                </a:solidFill>
                <a:latin typeface="Avenir Next LT Pro" panose="020B0504020202020204" pitchFamily="34" charset="77"/>
              </a:rPr>
              <a:t>CONCEPT, DESIGN, DTP, MOTION EN PRODUCTIE SUPPORT PER PROJECT</a:t>
            </a:r>
          </a:p>
          <a:p>
            <a:pPr algn="ctr"/>
            <a:endParaRPr lang="en-GB" sz="1200" spc="300">
              <a:solidFill>
                <a:schemeClr val="bg1"/>
              </a:solidFill>
              <a:latin typeface="Avenir Next LT Pro" panose="020B0504020202020204" pitchFamily="34" charset="77"/>
            </a:endParaRPr>
          </a:p>
          <a:p>
            <a:pPr algn="ctr"/>
            <a:r>
              <a:rPr lang="en-GB" sz="1300">
                <a:solidFill>
                  <a:schemeClr val="bg1"/>
                </a:solidFill>
                <a:latin typeface="Avenir Next LT Pro" panose="020B0504020202020204" pitchFamily="34" charset="77"/>
              </a:rPr>
              <a:t>via de </a:t>
            </a:r>
            <a:r>
              <a:rPr lang="en-GB" sz="1300" err="1">
                <a:solidFill>
                  <a:schemeClr val="bg1"/>
                </a:solidFill>
                <a:latin typeface="Avenir Next LT Pro" panose="020B0504020202020204" pitchFamily="34" charset="77"/>
              </a:rPr>
              <a:t>ondersteunende</a:t>
            </a:r>
            <a:r>
              <a:rPr lang="en-GB" sz="1300">
                <a:solidFill>
                  <a:schemeClr val="bg1"/>
                </a:solidFill>
                <a:latin typeface="Avenir Next LT Pro" panose="020B0504020202020204" pitchFamily="34" charset="77"/>
              </a:rPr>
              <a:t> </a:t>
            </a:r>
            <a:r>
              <a:rPr lang="en-GB" sz="1300" err="1">
                <a:solidFill>
                  <a:schemeClr val="bg1"/>
                </a:solidFill>
                <a:latin typeface="Avenir Next LT Pro" panose="020B0504020202020204" pitchFamily="34" charset="77"/>
              </a:rPr>
              <a:t>afdelingen</a:t>
            </a:r>
            <a:r>
              <a:rPr lang="en-GB" sz="1300">
                <a:solidFill>
                  <a:schemeClr val="bg1"/>
                </a:solidFill>
                <a:latin typeface="Avenir Next LT Pro" panose="020B0504020202020204" pitchFamily="34" charset="77"/>
              </a:rPr>
              <a:t> </a:t>
            </a:r>
            <a:r>
              <a:rPr lang="en-GB" sz="1300" err="1">
                <a:solidFill>
                  <a:schemeClr val="bg1"/>
                </a:solidFill>
                <a:latin typeface="Avenir Next LT Pro" panose="020B0504020202020204" pitchFamily="34" charset="77"/>
              </a:rPr>
              <a:t>binnen</a:t>
            </a:r>
            <a:r>
              <a:rPr lang="en-GB" sz="1300">
                <a:solidFill>
                  <a:schemeClr val="bg1"/>
                </a:solidFill>
                <a:latin typeface="Avenir Next LT Pro" panose="020B0504020202020204" pitchFamily="34" charset="77"/>
              </a:rPr>
              <a:t> Happiness </a:t>
            </a:r>
            <a:r>
              <a:rPr lang="en-GB" sz="1300" err="1">
                <a:solidFill>
                  <a:schemeClr val="bg1"/>
                </a:solidFill>
                <a:latin typeface="Avenir Next LT Pro" panose="020B0504020202020204" pitchFamily="34" charset="77"/>
              </a:rPr>
              <a:t>en</a:t>
            </a:r>
            <a:r>
              <a:rPr lang="en-GB" sz="1300">
                <a:solidFill>
                  <a:schemeClr val="bg1"/>
                </a:solidFill>
                <a:latin typeface="Avenir Next LT Pro" panose="020B0504020202020204" pitchFamily="34" charset="77"/>
              </a:rPr>
              <a:t> </a:t>
            </a:r>
            <a:r>
              <a:rPr lang="en-GB" sz="1300" err="1">
                <a:solidFill>
                  <a:schemeClr val="bg1"/>
                </a:solidFill>
                <a:latin typeface="Avenir Next LT Pro" panose="020B0504020202020204" pitchFamily="34" charset="77"/>
              </a:rPr>
              <a:t>waar</a:t>
            </a:r>
            <a:r>
              <a:rPr lang="en-GB" sz="1300">
                <a:solidFill>
                  <a:schemeClr val="bg1"/>
                </a:solidFill>
                <a:latin typeface="Avenir Next LT Pro" panose="020B0504020202020204" pitchFamily="34" charset="77"/>
              </a:rPr>
              <a:t> </a:t>
            </a:r>
            <a:r>
              <a:rPr lang="en-GB" sz="1300" err="1">
                <a:solidFill>
                  <a:schemeClr val="bg1"/>
                </a:solidFill>
                <a:latin typeface="Avenir Next LT Pro" panose="020B0504020202020204" pitchFamily="34" charset="77"/>
              </a:rPr>
              <a:t>nodig</a:t>
            </a:r>
            <a:r>
              <a:rPr lang="en-GB" sz="1300">
                <a:solidFill>
                  <a:schemeClr val="bg1"/>
                </a:solidFill>
                <a:latin typeface="Avenir Next LT Pro" panose="020B0504020202020204" pitchFamily="34" charset="77"/>
              </a:rPr>
              <a:t> via ‘friends of Happiness’ (3rd parties)</a:t>
            </a:r>
            <a:endParaRPr lang="en-GB" sz="1300" spc="300">
              <a:solidFill>
                <a:schemeClr val="bg1"/>
              </a:solidFill>
              <a:latin typeface="Avenir Next LT Pro" panose="020B0504020202020204" pitchFamily="34" charset="77"/>
            </a:endParaRPr>
          </a:p>
        </p:txBody>
      </p:sp>
      <p:pic>
        <p:nvPicPr>
          <p:cNvPr id="39" name="Picture Placeholder 8">
            <a:extLst>
              <a:ext uri="{FF2B5EF4-FFF2-40B4-BE49-F238E27FC236}">
                <a16:creationId xmlns:a16="http://schemas.microsoft.com/office/drawing/2014/main" id="{8F6DABE7-763D-FEB3-73EF-4B9788C86AA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567089" y="3425583"/>
            <a:ext cx="1156525" cy="1156451"/>
          </a:xfrm>
          <a:prstGeom prst="ellipse">
            <a:avLst/>
          </a:prstGeom>
          <a:ln w="57150">
            <a:noFill/>
          </a:ln>
        </p:spPr>
      </p:pic>
      <p:pic>
        <p:nvPicPr>
          <p:cNvPr id="40" name="Picture Placeholder 8">
            <a:extLst>
              <a:ext uri="{FF2B5EF4-FFF2-40B4-BE49-F238E27FC236}">
                <a16:creationId xmlns:a16="http://schemas.microsoft.com/office/drawing/2014/main" id="{11829B77-F268-A49B-EFB8-14D2BE8FDC6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104718" y="3399205"/>
            <a:ext cx="1156525" cy="1156451"/>
          </a:xfrm>
          <a:prstGeom prst="ellipse">
            <a:avLst/>
          </a:prstGeom>
          <a:ln w="57150">
            <a:noFill/>
          </a:ln>
        </p:spPr>
      </p:pic>
      <p:pic>
        <p:nvPicPr>
          <p:cNvPr id="41" name="Picture Placeholder 8">
            <a:extLst>
              <a:ext uri="{FF2B5EF4-FFF2-40B4-BE49-F238E27FC236}">
                <a16:creationId xmlns:a16="http://schemas.microsoft.com/office/drawing/2014/main" id="{D4030B84-42C4-6977-7C40-30E39BC9D3DA}"/>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747787" y="3435635"/>
            <a:ext cx="1156525" cy="1156451"/>
          </a:xfrm>
          <a:prstGeom prst="ellipse">
            <a:avLst/>
          </a:prstGeom>
          <a:ln w="57150">
            <a:noFill/>
          </a:ln>
        </p:spPr>
      </p:pic>
      <p:pic>
        <p:nvPicPr>
          <p:cNvPr id="42" name="Picture Placeholder 8">
            <a:extLst>
              <a:ext uri="{FF2B5EF4-FFF2-40B4-BE49-F238E27FC236}">
                <a16:creationId xmlns:a16="http://schemas.microsoft.com/office/drawing/2014/main" id="{EA84E3D8-1CF3-5EAA-DBF9-68506CA93E99}"/>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r="-933"/>
          <a:stretch/>
        </p:blipFill>
        <p:spPr>
          <a:xfrm>
            <a:off x="3211267" y="3426370"/>
            <a:ext cx="1156525" cy="1156451"/>
          </a:xfrm>
          <a:prstGeom prst="ellipse">
            <a:avLst/>
          </a:prstGeom>
          <a:ln w="57150">
            <a:noFill/>
          </a:ln>
        </p:spPr>
      </p:pic>
      <p:sp>
        <p:nvSpPr>
          <p:cNvPr id="14" name="Text Placeholder 3">
            <a:extLst>
              <a:ext uri="{FF2B5EF4-FFF2-40B4-BE49-F238E27FC236}">
                <a16:creationId xmlns:a16="http://schemas.microsoft.com/office/drawing/2014/main" id="{AF07D8BB-2B16-C76C-BD33-1E6D1CA122B0}"/>
              </a:ext>
            </a:extLst>
          </p:cNvPr>
          <p:cNvSpPr txBox="1">
            <a:spLocks/>
          </p:cNvSpPr>
          <p:nvPr/>
        </p:nvSpPr>
        <p:spPr>
          <a:xfrm>
            <a:off x="437390" y="300101"/>
            <a:ext cx="5363564" cy="228026"/>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kumimoji="0" lang="en-BE" sz="1050" b="0" i="0" u="none" strike="noStrike" kern="1200" cap="none" spc="600" normalizeH="0" baseline="0" dirty="0">
                <a:ln>
                  <a:noFill/>
                </a:ln>
                <a:solidFill>
                  <a:srgbClr val="282830"/>
                </a:solidFill>
                <a:effectLst/>
                <a:uLnTx/>
                <a:uFill>
                  <a:solidFill>
                    <a:srgbClr val="DCCF7F"/>
                  </a:solidFill>
                </a:uFill>
                <a:latin typeface="AvenirNext LT Pro Bold" panose="020B05040202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spcAft>
                <a:spcPts val="0"/>
              </a:spcAft>
              <a:buClrTx/>
              <a:buSzTx/>
              <a:tabLst/>
              <a:defRPr/>
            </a:pPr>
            <a:r>
              <a:rPr lang="en-GB">
                <a:solidFill>
                  <a:srgbClr val="7B818B"/>
                </a:solidFill>
                <a:latin typeface="AvenirNext LT Pro Bold" panose="020B0504020202020204" pitchFamily="34" charset="77"/>
              </a:rPr>
              <a:t>TEAM SET UP</a:t>
            </a:r>
          </a:p>
        </p:txBody>
      </p:sp>
      <p:cxnSp>
        <p:nvCxnSpPr>
          <p:cNvPr id="16" name="Straight Connector 5">
            <a:extLst>
              <a:ext uri="{FF2B5EF4-FFF2-40B4-BE49-F238E27FC236}">
                <a16:creationId xmlns:a16="http://schemas.microsoft.com/office/drawing/2014/main" id="{F6EE6DBC-FBAA-5246-8152-9B215B1E3F95}"/>
              </a:ext>
            </a:extLst>
          </p:cNvPr>
          <p:cNvCxnSpPr>
            <a:cxnSpLocks/>
          </p:cNvCxnSpPr>
          <p:nvPr/>
        </p:nvCxnSpPr>
        <p:spPr>
          <a:xfrm>
            <a:off x="437390" y="546308"/>
            <a:ext cx="1860642" cy="0"/>
          </a:xfrm>
          <a:prstGeom prst="line">
            <a:avLst/>
          </a:prstGeom>
          <a:noFill/>
          <a:ln w="12700" cap="flat" cmpd="sng" algn="ctr">
            <a:solidFill>
              <a:srgbClr val="DCCF7F"/>
            </a:solidFill>
            <a:prstDash val="solid"/>
            <a:miter lim="800000"/>
          </a:ln>
          <a:effectLst/>
        </p:spPr>
      </p:cxnSp>
    </p:spTree>
    <p:extLst>
      <p:ext uri="{BB962C8B-B14F-4D97-AF65-F5344CB8AC3E}">
        <p14:creationId xmlns:p14="http://schemas.microsoft.com/office/powerpoint/2010/main" val="30406443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APPINESS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_template2016_A4_Standard grey">
  <a:themeElements>
    <a:clrScheme name="C&amp;A 2015">
      <a:dk1>
        <a:sysClr val="windowText" lastClr="000000"/>
      </a:dk1>
      <a:lt1>
        <a:sysClr val="window" lastClr="FFFFFF"/>
      </a:lt1>
      <a:dk2>
        <a:srgbClr val="C3002F"/>
      </a:dk2>
      <a:lt2>
        <a:srgbClr val="CDB9BE"/>
      </a:lt2>
      <a:accent1>
        <a:srgbClr val="748FC9"/>
      </a:accent1>
      <a:accent2>
        <a:srgbClr val="1961AC"/>
      </a:accent2>
      <a:accent3>
        <a:srgbClr val="BDC5E6"/>
      </a:accent3>
      <a:accent4>
        <a:srgbClr val="E99892"/>
      </a:accent4>
      <a:accent5>
        <a:srgbClr val="DD5D60"/>
      </a:accent5>
      <a:accent6>
        <a:srgbClr val="FAD1CE"/>
      </a:accent6>
      <a:hlink>
        <a:srgbClr val="E2DAD7"/>
      </a:hlink>
      <a:folHlink>
        <a:srgbClr val="B4A0A4"/>
      </a:folHlink>
    </a:clrScheme>
    <a:fontScheme name="C&amp;A 2015">
      <a:majorFont>
        <a:latin typeface="CA Sans"/>
        <a:ea typeface=""/>
        <a:cs typeface=""/>
      </a:majorFont>
      <a:minorFont>
        <a:latin typeface="CA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8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800" dirty="0"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8adea91a-ba38-446b-9f59-dde0b89e20db" xsi:nil="true"/>
    <lcf76f155ced4ddcb4097134ff3c332f xmlns="8c04d107-c0af-4df4-9f6e-d39177973fb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2846ED034E27F4790A6515BD6FFA57A" ma:contentTypeVersion="13" ma:contentTypeDescription="Create a new document." ma:contentTypeScope="" ma:versionID="47ed2a404d3fd56aaf086dfe0ebd609b">
  <xsd:schema xmlns:xsd="http://www.w3.org/2001/XMLSchema" xmlns:xs="http://www.w3.org/2001/XMLSchema" xmlns:p="http://schemas.microsoft.com/office/2006/metadata/properties" xmlns:ns2="8c04d107-c0af-4df4-9f6e-d39177973fb1" xmlns:ns3="8adea91a-ba38-446b-9f59-dde0b89e20db" targetNamespace="http://schemas.microsoft.com/office/2006/metadata/properties" ma:root="true" ma:fieldsID="461b51b6591397b94671d515ad47bcbb" ns2:_="" ns3:_="">
    <xsd:import namespace="8c04d107-c0af-4df4-9f6e-d39177973fb1"/>
    <xsd:import namespace="8adea91a-ba38-446b-9f59-dde0b89e20d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04d107-c0af-4df4-9f6e-d39177973fb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ee2d42d7-7cb0-4c27-bf45-9b4ed919cb73"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adea91a-ba38-446b-9f59-dde0b89e20db"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80165621-88ca-4af6-bf86-c3ec1c5ed716}" ma:internalName="TaxCatchAll" ma:showField="CatchAllData" ma:web="8adea91a-ba38-446b-9f59-dde0b89e20d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65D436-28F2-44BF-9818-85F2ECE1E1EF}">
  <ds:schemaRefs>
    <ds:schemaRef ds:uri="http://schemas.microsoft.com/sharepoint/v3/contenttype/forms"/>
  </ds:schemaRefs>
</ds:datastoreItem>
</file>

<file path=customXml/itemProps2.xml><?xml version="1.0" encoding="utf-8"?>
<ds:datastoreItem xmlns:ds="http://schemas.openxmlformats.org/officeDocument/2006/customXml" ds:itemID="{A55BB8E9-121A-42A4-BE92-0177861D8AFD}">
  <ds:schemaRefs>
    <ds:schemaRef ds:uri="8adea91a-ba38-446b-9f59-dde0b89e20db"/>
    <ds:schemaRef ds:uri="8c04d107-c0af-4df4-9f6e-d39177973fb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56733E3-0B5F-4D5D-AF82-959FD47C8EC2}"/>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6</Slides>
  <Notes>3</Notes>
  <HiddenSlides>0</HiddenSlides>
  <ScaleCrop>false</ScaleCrop>
  <HeadingPairs>
    <vt:vector size="4" baseType="variant">
      <vt:variant>
        <vt:lpstr>Theme</vt:lpstr>
      </vt:variant>
      <vt:variant>
        <vt:i4>2</vt:i4>
      </vt:variant>
      <vt:variant>
        <vt:lpstr>Slide Titles</vt:lpstr>
      </vt:variant>
      <vt:variant>
        <vt:i4>26</vt:i4>
      </vt:variant>
    </vt:vector>
  </HeadingPairs>
  <TitlesOfParts>
    <vt:vector size="28" baseType="lpstr">
      <vt:lpstr>HAPPINESS THEME</vt:lpstr>
      <vt:lpstr>CA_template2016_A4_Standard gre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uel De Vos</dc:creator>
  <cp:revision>1</cp:revision>
  <dcterms:created xsi:type="dcterms:W3CDTF">2023-02-16T09:11:51Z</dcterms:created>
  <dcterms:modified xsi:type="dcterms:W3CDTF">2024-02-15T13:5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42846ED034E27F4790A6515BD6FFA57A</vt:lpwstr>
  </property>
</Properties>
</file>